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2.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10.xml" ContentType="application/vnd.openxmlformats-officedocument.presentationml.slideLayout+xml"/>
  <Override PartName="/ppt/theme/theme3.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4.xml" ContentType="application/vnd.openxmlformats-officedocument.them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4.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5.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6.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notesSlides/notesSlide8.xml" ContentType="application/vnd.openxmlformats-officedocument.presentationml.notesSlid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5"/>
    <p:sldMasterId id="2147485314" r:id="rId6"/>
    <p:sldMasterId id="2147485201" r:id="rId7"/>
    <p:sldMasterId id="2147485391" r:id="rId8"/>
  </p:sldMasterIdLst>
  <p:notesMasterIdLst>
    <p:notesMasterId r:id="rId18"/>
  </p:notesMasterIdLst>
  <p:handoutMasterIdLst>
    <p:handoutMasterId r:id="rId19"/>
  </p:handoutMasterIdLst>
  <p:sldIdLst>
    <p:sldId id="288" r:id="rId9"/>
    <p:sldId id="314" r:id="rId10"/>
    <p:sldId id="286" r:id="rId11"/>
    <p:sldId id="307" r:id="rId12"/>
    <p:sldId id="312" r:id="rId13"/>
    <p:sldId id="309" r:id="rId14"/>
    <p:sldId id="313" r:id="rId15"/>
    <p:sldId id="299" r:id="rId16"/>
    <p:sldId id="257" r:id="rId17"/>
  </p:sldIdLst>
  <p:sldSz cx="12192000" cy="6858000"/>
  <p:notesSz cx="6950075" cy="9236075"/>
  <p:custShowLst>
    <p:custShow name="Format Guide Workshop" id="0">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A8FFECD-67B9-4671-8B21-67391413E244}">
          <p14:sldIdLst>
            <p14:sldId id="288"/>
            <p14:sldId id="314"/>
            <p14:sldId id="286"/>
            <p14:sldId id="307"/>
            <p14:sldId id="312"/>
            <p14:sldId id="309"/>
            <p14:sldId id="313"/>
            <p14:sldId id="299"/>
            <p14:sldId id="257"/>
          </p14:sldIdLst>
        </p14:section>
      </p14:sectionLst>
    </p:ext>
    <p:ext uri="{EFAFB233-063F-42B5-8137-9DF3F51BA10A}">
      <p15:sldGuideLst xmlns:p15="http://schemas.microsoft.com/office/powerpoint/2012/main">
        <p15:guide id="4" pos="3840">
          <p15:clr>
            <a:srgbClr val="A4A3A4"/>
          </p15:clr>
        </p15:guide>
        <p15:guide id="5"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72030F-2BD4-1FC0-B078-322B077A4CA6}" name="Aryan Tah (MiddleEast)" initials="" userId="S::aryan.tah@pwc.com::7f6066b6-35e9-4d47-9d15-8917e2720a06" providerId="AD"/>
  <p188:author id="{FF2FAA1F-FE3C-17A4-EC37-A465D894C0CC}" name="Khalid Alarifi (MiddleEast)" initials="KA" userId="S::khalid.a.alarifi@pwc.com::5b880b79-0dba-489b-9b69-d1b4b009a995" providerId="AD"/>
  <p188:author id="{983E3430-DC68-9A06-E037-8159A69E4124}" name="Hisham Moussa (MiddleEast)" initials="HM" userId="S::hisham.moussa@pwc.com::cd9de583-2141-44fc-b0c5-fedd5515d81d" providerId="AD"/>
  <p188:author id="{AA364C3D-81D4-4BE2-F4AB-FE62147B7DE0}" name="Michał Wielesik (PL)" initials="M(" userId="S::michal.wielesik@pwc.com::ee878642-d1c0-462e-8483-3629d41b0eea" providerId="AD"/>
  <p188:author id="{61727B3E-A2B7-08FC-41B2-021B713F4938}" name="Richard Williams (UK)" initials="RW" userId="S::richard.s.williams@pwc.com::e3adc492-7ff7-41e0-abc5-ddcd544a3255" providerId="AD"/>
  <p188:author id="{E2992843-834C-2F55-50A9-902FD2895CE9}" name="Mateusz Kuczynski (PL)" initials="MK" userId="S::mateusz.kuczynski@pwc.com::8308a093-9a40-438c-8557-d49aabd092f2" providerId="AD"/>
  <p188:author id="{FF7E9B5E-76C0-7B1D-9271-12B3B3143BDF}" name="Norah Alwabel (MiddleEast)" initials="NA" userId="S::norah.alwabel@pwc.com::e3b21eec-5458-4318-95ce-a84852d88451" providerId="AD"/>
  <p188:author id="{6E4C6567-1230-5E16-FC5D-85C7876D98FC}" name="Saed AlShaer (MiddleEast)" initials="SA" userId="S::saed.alshaer@pwc.com::fd397f7f-2c80-4245-bd68-2eb5fcef8779" providerId="AD"/>
  <p188:author id="{FF8E5B69-70CF-4EC6-335E-912B991B22AE}" name="Bartosz Zaremba (PL)" initials="BZ" userId="S::bartosz.zaremba@pwc.com::e26e2175-9d7a-4c75-8946-df7df7f04b13" providerId="AD"/>
  <p188:author id="{A2299170-7A90-B9F6-060D-3104B6AC02A2}" name="Piotr Kuska (PL)" initials="" userId="S::piotr.kuska@pwc.com::8763e0ad-d811-4ccd-b8f8-c3ce576226d1" providerId="AD"/>
  <p188:author id="{19A2E278-3E64-5F25-7224-9220804500CB}" name="Michał Gamrot (PL)" initials="" userId="S::michal.gamrot@pwc.com::54b21dd3-25b5-445a-bd88-00ce0356fd53" providerId="AD"/>
  <p188:author id="{0027699E-F167-6E8F-18D4-C4611EAA16DE}" name="Alhadlaq, Muhammad Abdulrahman A" initials="AMAA" userId="S::maa15@illinois.edu::65a56f0a-0265-4295-af5a-77e785331d7c" providerId="AD"/>
  <p188:author id="{4B5A19BA-8079-464D-7F48-4ADB0F0C3910}" name="Maxime Clemenceau (MiddleEast)" initials="MC" userId="S::maxime.clemenceau@pwc.com::c0329b37-eb38-4db7-bf7e-afa1f199f4bb" providerId="AD"/>
  <p188:author id="{1CBA54DF-A55A-8A92-DBC1-0771EDD2DB38}" name="Youssef Boudaka" initials="YB" userId="5eb6e32e32448856" providerId="Windows Live"/>
  <p188:author id="{E78514E1-49D6-2321-A3C3-7190557A9CFF}" name="Sara Hasan Al Omary (MiddleEast)" initials="SH" userId="S::sarah.h.hasan@pwc.com::190d896e-f05a-42ac-b53f-e31c6b6e364b" providerId="AD"/>
  <p188:author id="{C97C0EE6-EE86-E9A5-6CC8-5FE8F905122C}" name="Kahfeel Hussain (MiddleEast)" initials="KH" userId="S::kahfeel.t.hussain@pwc.com::44dd8832-bc3a-437f-ab6c-eb5eea65aad5" providerId="AD"/>
  <p188:author id="{67237DE6-D61B-D8A9-054E-52EF99329355}" name="Shahad Aldosari (MiddleEast)" initials="SA" userId="S::shahad.aldosari@pwc.com::b3130664-2692-4533-822f-aaa88efcc750" providerId="AD"/>
  <p188:author id="{6F6D41FA-3C02-5C26-C45F-09475F361D63}" name="Husam Sadeh (MiddleEast)" initials="HS" userId="S::husam.sadeh@pwc.com::1167c7f5-0681-4631-adf4-f3d95c0ec054" providerId="AD"/>
  <p188:author id="{257885FB-3089-A719-8922-AE9177B6762B}" name="Mohdsalam Alhomran (MiddleEast)" initials="MA" userId="S::mohdsalam.alhomran@pwc.com::b698e47b-d2c9-4315-b6cb-37c64cf580ca" providerId="AD"/>
  <p188:author id="{C158A3FE-05A0-08E1-F5CE-562C47E35A38}" name="Damian Krawczyk (PL)" initials="" userId="S::damian.x.krawczyk@pwc.com::abd8625b-6ed8-40b2-8116-7d486840d3e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ohdsalam Alhomran (MiddleEast)" initials="MA(" lastIdx="1" clrIdx="0">
    <p:extLst>
      <p:ext uri="{19B8F6BF-5375-455C-9EA6-DF929625EA0E}">
        <p15:presenceInfo xmlns:p15="http://schemas.microsoft.com/office/powerpoint/2012/main" userId="S::mohdsalam.alhomran@pwc.com::b698e47b-d2c9-4315-b6cb-37c64cf580ca" providerId="AD"/>
      </p:ext>
    </p:extLst>
  </p:cmAuthor>
  <p:cmAuthor id="2" name="Piotr Kuska (PL)" initials="P(" lastIdx="1" clrIdx="1">
    <p:extLst>
      <p:ext uri="{19B8F6BF-5375-455C-9EA6-DF929625EA0E}">
        <p15:presenceInfo xmlns:p15="http://schemas.microsoft.com/office/powerpoint/2012/main" userId="S::piotr.kuska@pwc.com::8763e0ad-d811-4ccd-b8f8-c3ce576226d1" providerId="AD"/>
      </p:ext>
    </p:extLst>
  </p:cmAuthor>
  <p:cmAuthor id="3" name="Michał Wielesik (PL)" initials="M(" lastIdx="1" clrIdx="2">
    <p:extLst>
      <p:ext uri="{19B8F6BF-5375-455C-9EA6-DF929625EA0E}">
        <p15:presenceInfo xmlns:p15="http://schemas.microsoft.com/office/powerpoint/2012/main" userId="S::michal.wielesik@pwc.com::ee878642-d1c0-462e-8483-3629d41b0eea" providerId="AD"/>
      </p:ext>
    </p:extLst>
  </p:cmAuthor>
  <p:cmAuthor id="4" name="Shahad Aldosari (MiddleEast)" initials="SA" lastIdx="1" clrIdx="3">
    <p:extLst>
      <p:ext uri="{19B8F6BF-5375-455C-9EA6-DF929625EA0E}">
        <p15:presenceInfo xmlns:p15="http://schemas.microsoft.com/office/powerpoint/2012/main" userId="S::shahad.aldosari@pwc.com::b3130664-2692-4533-822f-aaa88efcc7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BF3"/>
    <a:srgbClr val="BFBFBF"/>
    <a:srgbClr val="0B7B7D"/>
    <a:srgbClr val="186762"/>
    <a:srgbClr val="EBF4D8"/>
    <a:srgbClr val="D5F3F7"/>
    <a:srgbClr val="000000"/>
    <a:srgbClr val="F2F2F2"/>
    <a:srgbClr val="003A37"/>
    <a:srgbClr val="9BC7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548B03-5C9F-4036-A996-CCCDEBE9B43E}" v="20592" dt="2026-01-05T13:53:24.345"/>
    <p1510:client id="{B10A2DF0-F919-41F1-84CE-B0FBA4597BDB}" v="1811" dt="2026-01-06T13:44:52.1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04" autoAdjust="0"/>
    <p:restoredTop sz="94660"/>
  </p:normalViewPr>
  <p:slideViewPr>
    <p:cSldViewPr snapToGrid="0">
      <p:cViewPr varScale="1">
        <p:scale>
          <a:sx n="144" d="100"/>
          <a:sy n="144" d="100"/>
        </p:scale>
        <p:origin x="740" y="312"/>
      </p:cViewPr>
      <p:guideLst>
        <p:guide pos="3840"/>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2.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hfeel Hussain (MiddleEast)" userId="44dd8832-bc3a-437f-ab6c-eb5eea65aad5" providerId="ADAL" clId="{E35F6880-E46C-4554-8DCA-07C0276F671F}"/>
    <pc:docChg chg="undo custSel addSld delSld modSld sldOrd modSection">
      <pc:chgData name="Kahfeel Hussain (MiddleEast)" userId="44dd8832-bc3a-437f-ab6c-eb5eea65aad5" providerId="ADAL" clId="{E35F6880-E46C-4554-8DCA-07C0276F671F}" dt="2026-01-06T13:44:52.195" v="3903"/>
      <pc:docMkLst>
        <pc:docMk/>
      </pc:docMkLst>
      <pc:sldChg chg="addSp delSp modSp add mod ord">
        <pc:chgData name="Kahfeel Hussain (MiddleEast)" userId="44dd8832-bc3a-437f-ab6c-eb5eea65aad5" providerId="ADAL" clId="{E35F6880-E46C-4554-8DCA-07C0276F671F}" dt="2026-01-06T11:49:23.439" v="2828"/>
        <pc:sldMkLst>
          <pc:docMk/>
          <pc:sldMk cId="3744230119" sldId="261"/>
        </pc:sldMkLst>
        <pc:spChg chg="mod">
          <ac:chgData name="Kahfeel Hussain (MiddleEast)" userId="44dd8832-bc3a-437f-ab6c-eb5eea65aad5" providerId="ADAL" clId="{E35F6880-E46C-4554-8DCA-07C0276F671F}" dt="2025-12-31T05:57:01.527" v="440" actId="948"/>
          <ac:spMkLst>
            <pc:docMk/>
            <pc:sldMk cId="3744230119" sldId="261"/>
            <ac:spMk id="4" creationId="{A220F8C6-53E8-0782-5E4A-EA6A4B67E55D}"/>
          </ac:spMkLst>
        </pc:spChg>
        <pc:spChg chg="add mod">
          <ac:chgData name="Kahfeel Hussain (MiddleEast)" userId="44dd8832-bc3a-437f-ab6c-eb5eea65aad5" providerId="ADAL" clId="{E35F6880-E46C-4554-8DCA-07C0276F671F}" dt="2025-12-31T06:08:24.648" v="495" actId="1076"/>
          <ac:spMkLst>
            <pc:docMk/>
            <pc:sldMk cId="3744230119" sldId="261"/>
            <ac:spMk id="13" creationId="{6ED1C885-5DD5-D6C3-1AA6-92F0E240DA36}"/>
          </ac:spMkLst>
        </pc:spChg>
        <pc:spChg chg="add mod">
          <ac:chgData name="Kahfeel Hussain (MiddleEast)" userId="44dd8832-bc3a-437f-ab6c-eb5eea65aad5" providerId="ADAL" clId="{E35F6880-E46C-4554-8DCA-07C0276F671F}" dt="2025-12-31T06:13:46.783" v="545" actId="20577"/>
          <ac:spMkLst>
            <pc:docMk/>
            <pc:sldMk cId="3744230119" sldId="261"/>
            <ac:spMk id="19" creationId="{75E5547B-E9D5-FAF7-0902-9D072D1BB8F0}"/>
          </ac:spMkLst>
        </pc:spChg>
        <pc:spChg chg="add mod">
          <ac:chgData name="Kahfeel Hussain (MiddleEast)" userId="44dd8832-bc3a-437f-ab6c-eb5eea65aad5" providerId="ADAL" clId="{E35F6880-E46C-4554-8DCA-07C0276F671F}" dt="2025-12-31T06:14:01.784" v="547" actId="1076"/>
          <ac:spMkLst>
            <pc:docMk/>
            <pc:sldMk cId="3744230119" sldId="261"/>
            <ac:spMk id="20" creationId="{EF43710C-1EE1-86F0-6394-EFB9E263A62C}"/>
          </ac:spMkLst>
        </pc:spChg>
        <pc:spChg chg="add mod">
          <ac:chgData name="Kahfeel Hussain (MiddleEast)" userId="44dd8832-bc3a-437f-ab6c-eb5eea65aad5" providerId="ADAL" clId="{E35F6880-E46C-4554-8DCA-07C0276F671F}" dt="2025-12-31T06:16:11.577" v="555" actId="6549"/>
          <ac:spMkLst>
            <pc:docMk/>
            <pc:sldMk cId="3744230119" sldId="261"/>
            <ac:spMk id="22" creationId="{18DF9BF3-5EE1-C86F-0EBF-7A17B6F9C5E0}"/>
          </ac:spMkLst>
        </pc:spChg>
        <pc:spChg chg="add mod">
          <ac:chgData name="Kahfeel Hussain (MiddleEast)" userId="44dd8832-bc3a-437f-ab6c-eb5eea65aad5" providerId="ADAL" clId="{E35F6880-E46C-4554-8DCA-07C0276F671F}" dt="2025-12-31T06:16:41.981" v="570" actId="1076"/>
          <ac:spMkLst>
            <pc:docMk/>
            <pc:sldMk cId="3744230119" sldId="261"/>
            <ac:spMk id="23" creationId="{D3263D95-F96C-A4B7-BBA6-4F9027C48E83}"/>
          </ac:spMkLst>
        </pc:spChg>
        <pc:spChg chg="add mod">
          <ac:chgData name="Kahfeel Hussain (MiddleEast)" userId="44dd8832-bc3a-437f-ab6c-eb5eea65aad5" providerId="ADAL" clId="{E35F6880-E46C-4554-8DCA-07C0276F671F}" dt="2025-12-31T06:16:55.966" v="595" actId="20577"/>
          <ac:spMkLst>
            <pc:docMk/>
            <pc:sldMk cId="3744230119" sldId="261"/>
            <ac:spMk id="25" creationId="{1B99BD19-370D-47B7-D601-FC87EE5395CD}"/>
          </ac:spMkLst>
        </pc:spChg>
        <pc:graphicFrameChg chg="mod">
          <ac:chgData name="Kahfeel Hussain (MiddleEast)" userId="44dd8832-bc3a-437f-ab6c-eb5eea65aad5" providerId="ADAL" clId="{E35F6880-E46C-4554-8DCA-07C0276F671F}" dt="2025-12-31T05:57:01.569" v="464"/>
          <ac:graphicFrameMkLst>
            <pc:docMk/>
            <pc:sldMk cId="3744230119" sldId="261"/>
            <ac:graphicFrameMk id="3" creationId="{597BCE53-7FD6-467A-596B-709BAD5E9A6F}"/>
          </ac:graphicFrameMkLst>
        </pc:graphicFrameChg>
        <pc:picChg chg="add mod">
          <ac:chgData name="Kahfeel Hussain (MiddleEast)" userId="44dd8832-bc3a-437f-ab6c-eb5eea65aad5" providerId="ADAL" clId="{E35F6880-E46C-4554-8DCA-07C0276F671F}" dt="2025-12-31T06:16:16.585" v="556" actId="1076"/>
          <ac:picMkLst>
            <pc:docMk/>
            <pc:sldMk cId="3744230119" sldId="261"/>
            <ac:picMk id="17" creationId="{7A134EEC-5DA9-FD1B-0BC5-D2C69073EC38}"/>
          </ac:picMkLst>
        </pc:picChg>
      </pc:sldChg>
      <pc:sldChg chg="ord">
        <pc:chgData name="Kahfeel Hussain (MiddleEast)" userId="44dd8832-bc3a-437f-ab6c-eb5eea65aad5" providerId="ADAL" clId="{E35F6880-E46C-4554-8DCA-07C0276F671F}" dt="2026-01-06T11:49:23.439" v="2828"/>
        <pc:sldMkLst>
          <pc:docMk/>
          <pc:sldMk cId="1323461625" sldId="263"/>
        </pc:sldMkLst>
      </pc:sldChg>
      <pc:sldChg chg="ord">
        <pc:chgData name="Kahfeel Hussain (MiddleEast)" userId="44dd8832-bc3a-437f-ab6c-eb5eea65aad5" providerId="ADAL" clId="{E35F6880-E46C-4554-8DCA-07C0276F671F}" dt="2026-01-06T11:49:23.439" v="2828"/>
        <pc:sldMkLst>
          <pc:docMk/>
          <pc:sldMk cId="3676419734" sldId="265"/>
        </pc:sldMkLst>
      </pc:sldChg>
      <pc:sldChg chg="modSp mod ord">
        <pc:chgData name="Kahfeel Hussain (MiddleEast)" userId="44dd8832-bc3a-437f-ab6c-eb5eea65aad5" providerId="ADAL" clId="{E35F6880-E46C-4554-8DCA-07C0276F671F}" dt="2026-01-06T11:49:23.439" v="2828"/>
        <pc:sldMkLst>
          <pc:docMk/>
          <pc:sldMk cId="2114789477" sldId="266"/>
        </pc:sldMkLst>
        <pc:spChg chg="mod">
          <ac:chgData name="Kahfeel Hussain (MiddleEast)" userId="44dd8832-bc3a-437f-ab6c-eb5eea65aad5" providerId="ADAL" clId="{E35F6880-E46C-4554-8DCA-07C0276F671F}" dt="2025-12-31T09:33:33.734" v="616" actId="20577"/>
          <ac:spMkLst>
            <pc:docMk/>
            <pc:sldMk cId="2114789477" sldId="266"/>
            <ac:spMk id="26" creationId="{C164BE12-8D5A-FE33-147A-66ACD4760DAD}"/>
          </ac:spMkLst>
        </pc:spChg>
        <pc:spChg chg="mod">
          <ac:chgData name="Kahfeel Hussain (MiddleEast)" userId="44dd8832-bc3a-437f-ab6c-eb5eea65aad5" providerId="ADAL" clId="{E35F6880-E46C-4554-8DCA-07C0276F671F}" dt="2025-12-31T10:02:02.214" v="619" actId="1076"/>
          <ac:spMkLst>
            <pc:docMk/>
            <pc:sldMk cId="2114789477" sldId="266"/>
            <ac:spMk id="41" creationId="{3A8A1842-9DE1-50B2-34D3-362B8B928986}"/>
          </ac:spMkLst>
        </pc:spChg>
      </pc:sldChg>
      <pc:sldChg chg="modSp mod ord">
        <pc:chgData name="Kahfeel Hussain (MiddleEast)" userId="44dd8832-bc3a-437f-ab6c-eb5eea65aad5" providerId="ADAL" clId="{E35F6880-E46C-4554-8DCA-07C0276F671F}" dt="2026-01-06T11:49:23.439" v="2828"/>
        <pc:sldMkLst>
          <pc:docMk/>
          <pc:sldMk cId="3006325013" sldId="267"/>
        </pc:sldMkLst>
      </pc:sldChg>
      <pc:sldChg chg="addSp delSp modSp add mod ord">
        <pc:chgData name="Kahfeel Hussain (MiddleEast)" userId="44dd8832-bc3a-437f-ab6c-eb5eea65aad5" providerId="ADAL" clId="{E35F6880-E46C-4554-8DCA-07C0276F671F}" dt="2026-01-06T11:49:23.439" v="2828"/>
        <pc:sldMkLst>
          <pc:docMk/>
          <pc:sldMk cId="1123256039" sldId="273"/>
        </pc:sldMkLst>
        <pc:spChg chg="mod">
          <ac:chgData name="Kahfeel Hussain (MiddleEast)" userId="44dd8832-bc3a-437f-ab6c-eb5eea65aad5" providerId="ADAL" clId="{E35F6880-E46C-4554-8DCA-07C0276F671F}" dt="2025-12-31T10:27:05.690" v="791" actId="14100"/>
          <ac:spMkLst>
            <pc:docMk/>
            <pc:sldMk cId="1123256039" sldId="273"/>
            <ac:spMk id="90" creationId="{C77373EE-F384-D41C-D4DB-203413796038}"/>
          </ac:spMkLst>
        </pc:spChg>
      </pc:sldChg>
      <pc:sldChg chg="ord">
        <pc:chgData name="Kahfeel Hussain (MiddleEast)" userId="44dd8832-bc3a-437f-ab6c-eb5eea65aad5" providerId="ADAL" clId="{E35F6880-E46C-4554-8DCA-07C0276F671F}" dt="2026-01-06T11:49:23.439" v="2828"/>
        <pc:sldMkLst>
          <pc:docMk/>
          <pc:sldMk cId="29872956" sldId="274"/>
        </pc:sldMkLst>
      </pc:sldChg>
      <pc:sldChg chg="ord">
        <pc:chgData name="Kahfeel Hussain (MiddleEast)" userId="44dd8832-bc3a-437f-ab6c-eb5eea65aad5" providerId="ADAL" clId="{E35F6880-E46C-4554-8DCA-07C0276F671F}" dt="2026-01-06T11:49:23.439" v="2828"/>
        <pc:sldMkLst>
          <pc:docMk/>
          <pc:sldMk cId="2813437918" sldId="276"/>
        </pc:sldMkLst>
      </pc:sldChg>
      <pc:sldChg chg="addSp modSp mod ord">
        <pc:chgData name="Kahfeel Hussain (MiddleEast)" userId="44dd8832-bc3a-437f-ab6c-eb5eea65aad5" providerId="ADAL" clId="{E35F6880-E46C-4554-8DCA-07C0276F671F}" dt="2026-01-06T11:49:23.439" v="2828"/>
        <pc:sldMkLst>
          <pc:docMk/>
          <pc:sldMk cId="3250220506" sldId="277"/>
        </pc:sldMkLst>
        <pc:graphicFrameChg chg="add mod modGraphic">
          <ac:chgData name="Kahfeel Hussain (MiddleEast)" userId="44dd8832-bc3a-437f-ab6c-eb5eea65aad5" providerId="ADAL" clId="{E35F6880-E46C-4554-8DCA-07C0276F671F}" dt="2025-12-31T11:54:52.944" v="819" actId="20577"/>
          <ac:graphicFrameMkLst>
            <pc:docMk/>
            <pc:sldMk cId="3250220506" sldId="277"/>
            <ac:graphicFrameMk id="4" creationId="{9C4B8F20-FB14-9558-C1A4-8F5744534980}"/>
          </ac:graphicFrameMkLst>
        </pc:graphicFrameChg>
      </pc:sldChg>
      <pc:sldChg chg="mod ord modShow">
        <pc:chgData name="Kahfeel Hussain (MiddleEast)" userId="44dd8832-bc3a-437f-ab6c-eb5eea65aad5" providerId="ADAL" clId="{E35F6880-E46C-4554-8DCA-07C0276F671F}" dt="2026-01-06T11:49:23.439" v="2828"/>
        <pc:sldMkLst>
          <pc:docMk/>
          <pc:sldMk cId="153474260" sldId="280"/>
        </pc:sldMkLst>
      </pc:sldChg>
      <pc:sldChg chg="addSp modSp mod ord">
        <pc:chgData name="Kahfeel Hussain (MiddleEast)" userId="44dd8832-bc3a-437f-ab6c-eb5eea65aad5" providerId="ADAL" clId="{E35F6880-E46C-4554-8DCA-07C0276F671F}" dt="2026-01-06T11:49:23.439" v="2828"/>
        <pc:sldMkLst>
          <pc:docMk/>
          <pc:sldMk cId="212521428" sldId="281"/>
        </pc:sldMkLst>
        <pc:spChg chg="mod">
          <ac:chgData name="Kahfeel Hussain (MiddleEast)" userId="44dd8832-bc3a-437f-ab6c-eb5eea65aad5" providerId="ADAL" clId="{E35F6880-E46C-4554-8DCA-07C0276F671F}" dt="2026-01-04T17:45:04.804" v="1932" actId="20577"/>
          <ac:spMkLst>
            <pc:docMk/>
            <pc:sldMk cId="212521428" sldId="281"/>
            <ac:spMk id="2" creationId="{A4B1A655-1B88-E83C-59BE-D873F850DE28}"/>
          </ac:spMkLst>
        </pc:spChg>
        <pc:spChg chg="add mod">
          <ac:chgData name="Kahfeel Hussain (MiddleEast)" userId="44dd8832-bc3a-437f-ab6c-eb5eea65aad5" providerId="ADAL" clId="{E35F6880-E46C-4554-8DCA-07C0276F671F}" dt="2026-01-04T17:45:29.295" v="1961" actId="14100"/>
          <ac:spMkLst>
            <pc:docMk/>
            <pc:sldMk cId="212521428" sldId="281"/>
            <ac:spMk id="5" creationId="{1158C934-0F5D-62FD-3FAF-6DC93D7E3538}"/>
          </ac:spMkLst>
        </pc:spChg>
        <pc:spChg chg="add mod">
          <ac:chgData name="Kahfeel Hussain (MiddleEast)" userId="44dd8832-bc3a-437f-ab6c-eb5eea65aad5" providerId="ADAL" clId="{E35F6880-E46C-4554-8DCA-07C0276F671F}" dt="2026-01-04T17:45:55.438" v="2049" actId="20577"/>
          <ac:spMkLst>
            <pc:docMk/>
            <pc:sldMk cId="212521428" sldId="281"/>
            <ac:spMk id="7" creationId="{C4739FF6-BA65-79CB-3AC6-1B961142F94A}"/>
          </ac:spMkLst>
        </pc:spChg>
      </pc:sldChg>
      <pc:sldChg chg="ord">
        <pc:chgData name="Kahfeel Hussain (MiddleEast)" userId="44dd8832-bc3a-437f-ab6c-eb5eea65aad5" providerId="ADAL" clId="{E35F6880-E46C-4554-8DCA-07C0276F671F}" dt="2026-01-06T11:49:23.439" v="2828"/>
        <pc:sldMkLst>
          <pc:docMk/>
          <pc:sldMk cId="2965109155" sldId="282"/>
        </pc:sldMkLst>
      </pc:sldChg>
      <pc:sldChg chg="mod ord modShow">
        <pc:chgData name="Kahfeel Hussain (MiddleEast)" userId="44dd8832-bc3a-437f-ab6c-eb5eea65aad5" providerId="ADAL" clId="{E35F6880-E46C-4554-8DCA-07C0276F671F}" dt="2026-01-06T11:49:23.439" v="2828"/>
        <pc:sldMkLst>
          <pc:docMk/>
          <pc:sldMk cId="3693496644" sldId="283"/>
        </pc:sldMkLst>
      </pc:sldChg>
      <pc:sldChg chg="mod ord modShow">
        <pc:chgData name="Kahfeel Hussain (MiddleEast)" userId="44dd8832-bc3a-437f-ab6c-eb5eea65aad5" providerId="ADAL" clId="{E35F6880-E46C-4554-8DCA-07C0276F671F}" dt="2026-01-06T11:49:23.439" v="2828"/>
        <pc:sldMkLst>
          <pc:docMk/>
          <pc:sldMk cId="12106807" sldId="284"/>
        </pc:sldMkLst>
      </pc:sldChg>
      <pc:sldChg chg="addSp delSp modSp add del mod ord">
        <pc:chgData name="Kahfeel Hussain (MiddleEast)" userId="44dd8832-bc3a-437f-ab6c-eb5eea65aad5" providerId="ADAL" clId="{E35F6880-E46C-4554-8DCA-07C0276F671F}" dt="2026-01-05T22:39:23.911" v="2823" actId="47"/>
        <pc:sldMkLst>
          <pc:docMk/>
          <pc:sldMk cId="3395879485" sldId="286"/>
        </pc:sldMkLst>
      </pc:sldChg>
      <pc:sldChg chg="addSp delSp modSp add del mod">
        <pc:chgData name="Kahfeel Hussain (MiddleEast)" userId="44dd8832-bc3a-437f-ab6c-eb5eea65aad5" providerId="ADAL" clId="{E35F6880-E46C-4554-8DCA-07C0276F671F}" dt="2026-01-05T22:39:20.769" v="2822" actId="47"/>
        <pc:sldMkLst>
          <pc:docMk/>
          <pc:sldMk cId="57036395" sldId="287"/>
        </pc:sldMkLst>
      </pc:sldChg>
      <pc:sldChg chg="addSp modSp add del mod ord">
        <pc:chgData name="Kahfeel Hussain (MiddleEast)" userId="44dd8832-bc3a-437f-ab6c-eb5eea65aad5" providerId="ADAL" clId="{E35F6880-E46C-4554-8DCA-07C0276F671F}" dt="2026-01-05T22:39:26.034" v="2824" actId="47"/>
        <pc:sldMkLst>
          <pc:docMk/>
          <pc:sldMk cId="1603140465" sldId="288"/>
        </pc:sldMkLst>
        <pc:spChg chg="add mod">
          <ac:chgData name="Kahfeel Hussain (MiddleEast)" userId="44dd8832-bc3a-437f-ab6c-eb5eea65aad5" providerId="ADAL" clId="{E35F6880-E46C-4554-8DCA-07C0276F671F}" dt="2026-01-05T05:16:59.297" v="2580" actId="207"/>
          <ac:spMkLst>
            <pc:docMk/>
            <pc:sldMk cId="1603140465" sldId="288"/>
            <ac:spMk id="3" creationId="{1014C539-4FFB-C8F3-B5CA-F38D30B43F12}"/>
          </ac:spMkLst>
        </pc:spChg>
        <pc:spChg chg="mod">
          <ac:chgData name="Kahfeel Hussain (MiddleEast)" userId="44dd8832-bc3a-437f-ab6c-eb5eea65aad5" providerId="ADAL" clId="{E35F6880-E46C-4554-8DCA-07C0276F671F}" dt="2026-01-05T05:17:04.843" v="2581" actId="1076"/>
          <ac:spMkLst>
            <pc:docMk/>
            <pc:sldMk cId="1603140465" sldId="288"/>
            <ac:spMk id="9" creationId="{E1ED78FB-F4F7-29EC-9B1E-45D8A930E8E7}"/>
          </ac:spMkLst>
        </pc:spChg>
        <pc:spChg chg="mod">
          <ac:chgData name="Kahfeel Hussain (MiddleEast)" userId="44dd8832-bc3a-437f-ab6c-eb5eea65aad5" providerId="ADAL" clId="{E35F6880-E46C-4554-8DCA-07C0276F671F}" dt="2026-01-05T05:17:08.704" v="2583" actId="113"/>
          <ac:spMkLst>
            <pc:docMk/>
            <pc:sldMk cId="1603140465" sldId="288"/>
            <ac:spMk id="19" creationId="{3C37997D-87B1-772B-BBDF-B0797F701643}"/>
          </ac:spMkLst>
        </pc:spChg>
        <pc:spChg chg="mod">
          <ac:chgData name="Kahfeel Hussain (MiddleEast)" userId="44dd8832-bc3a-437f-ab6c-eb5eea65aad5" providerId="ADAL" clId="{E35F6880-E46C-4554-8DCA-07C0276F671F}" dt="2026-01-05T05:17:28.299" v="2598" actId="20577"/>
          <ac:spMkLst>
            <pc:docMk/>
            <pc:sldMk cId="1603140465" sldId="288"/>
            <ac:spMk id="22" creationId="{4C230A04-533B-2040-6926-3F6EEF3789A7}"/>
          </ac:spMkLst>
        </pc:spChg>
        <pc:spChg chg="mod">
          <ac:chgData name="Kahfeel Hussain (MiddleEast)" userId="44dd8832-bc3a-437f-ab6c-eb5eea65aad5" providerId="ADAL" clId="{E35F6880-E46C-4554-8DCA-07C0276F671F}" dt="2026-01-05T05:17:19.438" v="2587" actId="20577"/>
          <ac:spMkLst>
            <pc:docMk/>
            <pc:sldMk cId="1603140465" sldId="288"/>
            <ac:spMk id="24" creationId="{258F759A-23C4-A21A-7892-F5E0D66BF3C3}"/>
          </ac:spMkLst>
        </pc:spChg>
      </pc:sldChg>
      <pc:sldChg chg="addSp delSp modSp add mod ord">
        <pc:chgData name="Kahfeel Hussain (MiddleEast)" userId="44dd8832-bc3a-437f-ab6c-eb5eea65aad5" providerId="ADAL" clId="{E35F6880-E46C-4554-8DCA-07C0276F671F}" dt="2026-01-06T11:49:23.439" v="2828"/>
        <pc:sldMkLst>
          <pc:docMk/>
          <pc:sldMk cId="3738340758" sldId="289"/>
        </pc:sldMkLst>
        <pc:spChg chg="mod">
          <ac:chgData name="Kahfeel Hussain (MiddleEast)" userId="44dd8832-bc3a-437f-ab6c-eb5eea65aad5" providerId="ADAL" clId="{E35F6880-E46C-4554-8DCA-07C0276F671F}" dt="2026-01-04T20:08:23.273" v="2127" actId="1076"/>
          <ac:spMkLst>
            <pc:docMk/>
            <pc:sldMk cId="3738340758" sldId="289"/>
            <ac:spMk id="2" creationId="{B8DC8073-6FF5-11F9-8AF7-3101FEFCBD70}"/>
          </ac:spMkLst>
        </pc:spChg>
        <pc:spChg chg="mod">
          <ac:chgData name="Kahfeel Hussain (MiddleEast)" userId="44dd8832-bc3a-437f-ab6c-eb5eea65aad5" providerId="ADAL" clId="{E35F6880-E46C-4554-8DCA-07C0276F671F}" dt="2026-01-05T04:01:04.489" v="2184" actId="948"/>
          <ac:spMkLst>
            <pc:docMk/>
            <pc:sldMk cId="3738340758" sldId="289"/>
            <ac:spMk id="4" creationId="{4840C4CE-D506-EDE6-6201-6ED60F027708}"/>
          </ac:spMkLst>
        </pc:spChg>
        <pc:spChg chg="add mod">
          <ac:chgData name="Kahfeel Hussain (MiddleEast)" userId="44dd8832-bc3a-437f-ab6c-eb5eea65aad5" providerId="ADAL" clId="{E35F6880-E46C-4554-8DCA-07C0276F671F}" dt="2026-01-04T20:33:26.923" v="2180" actId="14100"/>
          <ac:spMkLst>
            <pc:docMk/>
            <pc:sldMk cId="3738340758" sldId="289"/>
            <ac:spMk id="6" creationId="{90958629-93CA-AC17-7521-FA43EE85D5B3}"/>
          </ac:spMkLst>
        </pc:spChg>
        <pc:spChg chg="add mod">
          <ac:chgData name="Kahfeel Hussain (MiddleEast)" userId="44dd8832-bc3a-437f-ab6c-eb5eea65aad5" providerId="ADAL" clId="{E35F6880-E46C-4554-8DCA-07C0276F671F}" dt="2026-01-04T20:33:26.923" v="2180" actId="14100"/>
          <ac:spMkLst>
            <pc:docMk/>
            <pc:sldMk cId="3738340758" sldId="289"/>
            <ac:spMk id="8" creationId="{0E94AF8C-C69F-D86D-0200-DE7A29637A50}"/>
          </ac:spMkLst>
        </pc:spChg>
        <pc:spChg chg="add mod">
          <ac:chgData name="Kahfeel Hussain (MiddleEast)" userId="44dd8832-bc3a-437f-ab6c-eb5eea65aad5" providerId="ADAL" clId="{E35F6880-E46C-4554-8DCA-07C0276F671F}" dt="2026-01-04T20:33:26.923" v="2180" actId="14100"/>
          <ac:spMkLst>
            <pc:docMk/>
            <pc:sldMk cId="3738340758" sldId="289"/>
            <ac:spMk id="10" creationId="{0843D81A-8344-8682-1365-FFF3CC73C0F7}"/>
          </ac:spMkLst>
        </pc:spChg>
        <pc:spChg chg="add mod">
          <ac:chgData name="Kahfeel Hussain (MiddleEast)" userId="44dd8832-bc3a-437f-ab6c-eb5eea65aad5" providerId="ADAL" clId="{E35F6880-E46C-4554-8DCA-07C0276F671F}" dt="2026-01-04T20:33:26.923" v="2180" actId="14100"/>
          <ac:spMkLst>
            <pc:docMk/>
            <pc:sldMk cId="3738340758" sldId="289"/>
            <ac:spMk id="12" creationId="{87B5FC25-0FF6-F385-1A19-BC0E44D665A8}"/>
          </ac:spMkLst>
        </pc:spChg>
        <pc:spChg chg="add mod">
          <ac:chgData name="Kahfeel Hussain (MiddleEast)" userId="44dd8832-bc3a-437f-ab6c-eb5eea65aad5" providerId="ADAL" clId="{E35F6880-E46C-4554-8DCA-07C0276F671F}" dt="2026-01-04T20:33:26.923" v="2180" actId="14100"/>
          <ac:spMkLst>
            <pc:docMk/>
            <pc:sldMk cId="3738340758" sldId="289"/>
            <ac:spMk id="13" creationId="{7318EABC-401D-CA4C-140C-BB73799C0970}"/>
          </ac:spMkLst>
        </pc:spChg>
        <pc:spChg chg="add mod">
          <ac:chgData name="Kahfeel Hussain (MiddleEast)" userId="44dd8832-bc3a-437f-ab6c-eb5eea65aad5" providerId="ADAL" clId="{E35F6880-E46C-4554-8DCA-07C0276F671F}" dt="2026-01-05T04:01:10.670" v="2227" actId="1036"/>
          <ac:spMkLst>
            <pc:docMk/>
            <pc:sldMk cId="3738340758" sldId="289"/>
            <ac:spMk id="15" creationId="{786541C0-C749-75D8-C92C-4B0464E4CA19}"/>
          </ac:spMkLst>
        </pc:spChg>
        <pc:spChg chg="add mod">
          <ac:chgData name="Kahfeel Hussain (MiddleEast)" userId="44dd8832-bc3a-437f-ab6c-eb5eea65aad5" providerId="ADAL" clId="{E35F6880-E46C-4554-8DCA-07C0276F671F}" dt="2026-01-04T20:05:41.774" v="2072"/>
          <ac:spMkLst>
            <pc:docMk/>
            <pc:sldMk cId="3738340758" sldId="289"/>
            <ac:spMk id="16" creationId="{707D8458-CE24-D9FA-923F-E0BFF4AB7C33}"/>
          </ac:spMkLst>
        </pc:spChg>
        <pc:spChg chg="add mod">
          <ac:chgData name="Kahfeel Hussain (MiddleEast)" userId="44dd8832-bc3a-437f-ab6c-eb5eea65aad5" providerId="ADAL" clId="{E35F6880-E46C-4554-8DCA-07C0276F671F}" dt="2026-01-05T04:01:10.670" v="2227" actId="1036"/>
          <ac:spMkLst>
            <pc:docMk/>
            <pc:sldMk cId="3738340758" sldId="289"/>
            <ac:spMk id="21" creationId="{7756309F-635A-877B-6029-E781767EA868}"/>
          </ac:spMkLst>
        </pc:spChg>
        <pc:spChg chg="add mod">
          <ac:chgData name="Kahfeel Hussain (MiddleEast)" userId="44dd8832-bc3a-437f-ab6c-eb5eea65aad5" providerId="ADAL" clId="{E35F6880-E46C-4554-8DCA-07C0276F671F}" dt="2026-01-04T20:06:45.569" v="2092" actId="20577"/>
          <ac:spMkLst>
            <pc:docMk/>
            <pc:sldMk cId="3738340758" sldId="289"/>
            <ac:spMk id="22" creationId="{F2F4B60F-9467-2B03-6A0E-3DD08CB5E3B4}"/>
          </ac:spMkLst>
        </pc:spChg>
        <pc:spChg chg="add mod">
          <ac:chgData name="Kahfeel Hussain (MiddleEast)" userId="44dd8832-bc3a-437f-ab6c-eb5eea65aad5" providerId="ADAL" clId="{E35F6880-E46C-4554-8DCA-07C0276F671F}" dt="2026-01-04T20:06:49.341" v="2098" actId="20577"/>
          <ac:spMkLst>
            <pc:docMk/>
            <pc:sldMk cId="3738340758" sldId="289"/>
            <ac:spMk id="25" creationId="{08CCE366-9905-551A-BFFC-E996684B4722}"/>
          </ac:spMkLst>
        </pc:spChg>
        <pc:spChg chg="add mod">
          <ac:chgData name="Kahfeel Hussain (MiddleEast)" userId="44dd8832-bc3a-437f-ab6c-eb5eea65aad5" providerId="ADAL" clId="{E35F6880-E46C-4554-8DCA-07C0276F671F}" dt="2026-01-05T04:01:10.670" v="2227" actId="1036"/>
          <ac:spMkLst>
            <pc:docMk/>
            <pc:sldMk cId="3738340758" sldId="289"/>
            <ac:spMk id="26" creationId="{CA132656-3C69-8922-FE7E-FF76690B62B2}"/>
          </ac:spMkLst>
        </pc:spChg>
        <pc:spChg chg="add mod">
          <ac:chgData name="Kahfeel Hussain (MiddleEast)" userId="44dd8832-bc3a-437f-ab6c-eb5eea65aad5" providerId="ADAL" clId="{E35F6880-E46C-4554-8DCA-07C0276F671F}" dt="2026-01-05T04:01:10.670" v="2227" actId="1036"/>
          <ac:spMkLst>
            <pc:docMk/>
            <pc:sldMk cId="3738340758" sldId="289"/>
            <ac:spMk id="29" creationId="{18034708-FBD6-23D5-0B9F-087CBBE5E399}"/>
          </ac:spMkLst>
        </pc:spChg>
        <pc:spChg chg="add mod">
          <ac:chgData name="Kahfeel Hussain (MiddleEast)" userId="44dd8832-bc3a-437f-ab6c-eb5eea65aad5" providerId="ADAL" clId="{E35F6880-E46C-4554-8DCA-07C0276F671F}" dt="2026-01-05T04:01:10.670" v="2227" actId="1036"/>
          <ac:spMkLst>
            <pc:docMk/>
            <pc:sldMk cId="3738340758" sldId="289"/>
            <ac:spMk id="31" creationId="{DB6EBF70-4F96-A9BD-B6BB-C4FD744ACBFD}"/>
          </ac:spMkLst>
        </pc:spChg>
        <pc:spChg chg="add mod">
          <ac:chgData name="Kahfeel Hussain (MiddleEast)" userId="44dd8832-bc3a-437f-ab6c-eb5eea65aad5" providerId="ADAL" clId="{E35F6880-E46C-4554-8DCA-07C0276F671F}" dt="2026-01-05T04:01:10.670" v="2227" actId="1036"/>
          <ac:spMkLst>
            <pc:docMk/>
            <pc:sldMk cId="3738340758" sldId="289"/>
            <ac:spMk id="33" creationId="{7A5FD34F-BC88-9ADB-1979-08D89387873F}"/>
          </ac:spMkLst>
        </pc:spChg>
        <pc:spChg chg="add mod">
          <ac:chgData name="Kahfeel Hussain (MiddleEast)" userId="44dd8832-bc3a-437f-ab6c-eb5eea65aad5" providerId="ADAL" clId="{E35F6880-E46C-4554-8DCA-07C0276F671F}" dt="2026-01-04T20:26:56.724" v="2162"/>
          <ac:spMkLst>
            <pc:docMk/>
            <pc:sldMk cId="3738340758" sldId="289"/>
            <ac:spMk id="34" creationId="{3EF93D70-F369-B6CD-20F7-B325DE244BDA}"/>
          </ac:spMkLst>
        </pc:spChg>
        <pc:spChg chg="add mod">
          <ac:chgData name="Kahfeel Hussain (MiddleEast)" userId="44dd8832-bc3a-437f-ab6c-eb5eea65aad5" providerId="ADAL" clId="{E35F6880-E46C-4554-8DCA-07C0276F671F}" dt="2026-01-04T20:27:14.718" v="2168" actId="20577"/>
          <ac:spMkLst>
            <pc:docMk/>
            <pc:sldMk cId="3738340758" sldId="289"/>
            <ac:spMk id="35" creationId="{7AE36902-E2FB-74F8-D235-7C83E3C4D763}"/>
          </ac:spMkLst>
        </pc:spChg>
        <pc:spChg chg="add mod">
          <ac:chgData name="Kahfeel Hussain (MiddleEast)" userId="44dd8832-bc3a-437f-ab6c-eb5eea65aad5" providerId="ADAL" clId="{E35F6880-E46C-4554-8DCA-07C0276F671F}" dt="2026-01-05T04:01:10.670" v="2227" actId="1036"/>
          <ac:spMkLst>
            <pc:docMk/>
            <pc:sldMk cId="3738340758" sldId="289"/>
            <ac:spMk id="36" creationId="{B835CD6F-0F74-84EA-D132-6CE91A710176}"/>
          </ac:spMkLst>
        </pc:spChg>
        <pc:spChg chg="add mod">
          <ac:chgData name="Kahfeel Hussain (MiddleEast)" userId="44dd8832-bc3a-437f-ab6c-eb5eea65aad5" providerId="ADAL" clId="{E35F6880-E46C-4554-8DCA-07C0276F671F}" dt="2026-01-05T04:01:10.670" v="2227" actId="1036"/>
          <ac:spMkLst>
            <pc:docMk/>
            <pc:sldMk cId="3738340758" sldId="289"/>
            <ac:spMk id="39" creationId="{A77CEB39-FE76-AA18-D88C-93DB1D7B8E84}"/>
          </ac:spMkLst>
        </pc:spChg>
        <pc:spChg chg="add mod">
          <ac:chgData name="Kahfeel Hussain (MiddleEast)" userId="44dd8832-bc3a-437f-ab6c-eb5eea65aad5" providerId="ADAL" clId="{E35F6880-E46C-4554-8DCA-07C0276F671F}" dt="2026-01-05T04:01:10.670" v="2227" actId="1036"/>
          <ac:spMkLst>
            <pc:docMk/>
            <pc:sldMk cId="3738340758" sldId="289"/>
            <ac:spMk id="40" creationId="{7163BB78-EC99-EFF8-B4B4-373D5D22C707}"/>
          </ac:spMkLst>
        </pc:spChg>
        <pc:spChg chg="add mod">
          <ac:chgData name="Kahfeel Hussain (MiddleEast)" userId="44dd8832-bc3a-437f-ab6c-eb5eea65aad5" providerId="ADAL" clId="{E35F6880-E46C-4554-8DCA-07C0276F671F}" dt="2026-01-04T20:33:21.025" v="2179" actId="255"/>
          <ac:spMkLst>
            <pc:docMk/>
            <pc:sldMk cId="3738340758" sldId="289"/>
            <ac:spMk id="41" creationId="{89AC0468-5132-4B97-7AB8-CE59CAA0E397}"/>
          </ac:spMkLst>
        </pc:spChg>
        <pc:spChg chg="add mod">
          <ac:chgData name="Kahfeel Hussain (MiddleEast)" userId="44dd8832-bc3a-437f-ab6c-eb5eea65aad5" providerId="ADAL" clId="{E35F6880-E46C-4554-8DCA-07C0276F671F}" dt="2026-01-04T20:28:27.548" v="2173"/>
          <ac:spMkLst>
            <pc:docMk/>
            <pc:sldMk cId="3738340758" sldId="289"/>
            <ac:spMk id="43" creationId="{46C65333-39F8-6EA3-5A95-3828E08671CB}"/>
          </ac:spMkLst>
        </pc:spChg>
        <pc:spChg chg="add mod">
          <ac:chgData name="Kahfeel Hussain (MiddleEast)" userId="44dd8832-bc3a-437f-ab6c-eb5eea65aad5" providerId="ADAL" clId="{E35F6880-E46C-4554-8DCA-07C0276F671F}" dt="2026-01-04T20:33:21.025" v="2179" actId="255"/>
          <ac:spMkLst>
            <pc:docMk/>
            <pc:sldMk cId="3738340758" sldId="289"/>
            <ac:spMk id="44" creationId="{7CDD812D-1458-2092-1732-1219438B1798}"/>
          </ac:spMkLst>
        </pc:spChg>
        <pc:spChg chg="add mod">
          <ac:chgData name="Kahfeel Hussain (MiddleEast)" userId="44dd8832-bc3a-437f-ab6c-eb5eea65aad5" providerId="ADAL" clId="{E35F6880-E46C-4554-8DCA-07C0276F671F}" dt="2026-01-04T20:33:59.527" v="2181"/>
          <ac:spMkLst>
            <pc:docMk/>
            <pc:sldMk cId="3738340758" sldId="289"/>
            <ac:spMk id="48" creationId="{AC612A1C-8F1D-4952-0B9C-530777F83885}"/>
          </ac:spMkLst>
        </pc:spChg>
        <pc:spChg chg="add mod">
          <ac:chgData name="Kahfeel Hussain (MiddleEast)" userId="44dd8832-bc3a-437f-ab6c-eb5eea65aad5" providerId="ADAL" clId="{E35F6880-E46C-4554-8DCA-07C0276F671F}" dt="2026-01-04T20:29:22.605" v="2176"/>
          <ac:spMkLst>
            <pc:docMk/>
            <pc:sldMk cId="3738340758" sldId="289"/>
            <ac:spMk id="49" creationId="{CD786F5F-DBF0-29F0-12F2-E89274F9D2EE}"/>
          </ac:spMkLst>
        </pc:spChg>
        <pc:spChg chg="add mod">
          <ac:chgData name="Kahfeel Hussain (MiddleEast)" userId="44dd8832-bc3a-437f-ab6c-eb5eea65aad5" providerId="ADAL" clId="{E35F6880-E46C-4554-8DCA-07C0276F671F}" dt="2026-01-05T04:01:10.670" v="2227" actId="1036"/>
          <ac:spMkLst>
            <pc:docMk/>
            <pc:sldMk cId="3738340758" sldId="289"/>
            <ac:spMk id="50" creationId="{C1EF1325-E209-4F07-F641-D7A225E220BF}"/>
          </ac:spMkLst>
        </pc:spChg>
        <pc:spChg chg="add mod">
          <ac:chgData name="Kahfeel Hussain (MiddleEast)" userId="44dd8832-bc3a-437f-ab6c-eb5eea65aad5" providerId="ADAL" clId="{E35F6880-E46C-4554-8DCA-07C0276F671F}" dt="2026-01-04T20:08:19.246" v="2126" actId="20577"/>
          <ac:spMkLst>
            <pc:docMk/>
            <pc:sldMk cId="3738340758" sldId="289"/>
            <ac:spMk id="51" creationId="{4D61BFDE-368F-01DE-210B-7A3945047B88}"/>
          </ac:spMkLst>
        </pc:spChg>
        <pc:spChg chg="add del mod modVis">
          <ac:chgData name="Kahfeel Hussain (MiddleEast)" userId="44dd8832-bc3a-437f-ab6c-eb5eea65aad5" providerId="ADAL" clId="{E35F6880-E46C-4554-8DCA-07C0276F671F}" dt="2026-01-05T04:01:04.565" v="2206"/>
          <ac:spMkLst>
            <pc:docMk/>
            <pc:sldMk cId="3738340758" sldId="289"/>
            <ac:spMk id="54" creationId="{7FB3A277-D0CC-929E-B271-F4F768640E35}"/>
          </ac:spMkLst>
        </pc:spChg>
        <pc:spChg chg="add mod">
          <ac:chgData name="Kahfeel Hussain (MiddleEast)" userId="44dd8832-bc3a-437f-ab6c-eb5eea65aad5" providerId="ADAL" clId="{E35F6880-E46C-4554-8DCA-07C0276F671F}" dt="2026-01-05T04:01:23.472" v="2235" actId="20577"/>
          <ac:spMkLst>
            <pc:docMk/>
            <pc:sldMk cId="3738340758" sldId="289"/>
            <ac:spMk id="55" creationId="{B306657C-108C-7FE0-AE4D-0974827CD585}"/>
          </ac:spMkLst>
        </pc:spChg>
        <pc:spChg chg="add mod">
          <ac:chgData name="Kahfeel Hussain (MiddleEast)" userId="44dd8832-bc3a-437f-ab6c-eb5eea65aad5" providerId="ADAL" clId="{E35F6880-E46C-4554-8DCA-07C0276F671F}" dt="2026-01-05T04:01:37.240" v="2281" actId="20577"/>
          <ac:spMkLst>
            <pc:docMk/>
            <pc:sldMk cId="3738340758" sldId="289"/>
            <ac:spMk id="56" creationId="{F5F0421D-E874-2129-3200-CFFF6420FCE9}"/>
          </ac:spMkLst>
        </pc:spChg>
        <pc:graphicFrameChg chg="mod">
          <ac:chgData name="Kahfeel Hussain (MiddleEast)" userId="44dd8832-bc3a-437f-ab6c-eb5eea65aad5" providerId="ADAL" clId="{E35F6880-E46C-4554-8DCA-07C0276F671F}" dt="2026-01-05T04:01:04.565" v="2208"/>
          <ac:graphicFrameMkLst>
            <pc:docMk/>
            <pc:sldMk cId="3738340758" sldId="289"/>
            <ac:graphicFrameMk id="3" creationId="{5D392932-AEB9-609E-E44D-AA6109532ED5}"/>
          </ac:graphicFrameMkLst>
        </pc:graphicFrameChg>
        <pc:cxnChg chg="add mod">
          <ac:chgData name="Kahfeel Hussain (MiddleEast)" userId="44dd8832-bc3a-437f-ab6c-eb5eea65aad5" providerId="ADAL" clId="{E35F6880-E46C-4554-8DCA-07C0276F671F}" dt="2026-01-04T20:05:49.637" v="2073"/>
          <ac:cxnSpMkLst>
            <pc:docMk/>
            <pc:sldMk cId="3738340758" sldId="289"/>
            <ac:cxnSpMk id="17" creationId="{FE50F5BA-3C9C-B59B-B494-DAD11E5B1A04}"/>
          </ac:cxnSpMkLst>
        </pc:cxnChg>
      </pc:sldChg>
      <pc:sldChg chg="addSp delSp modSp add mod ord modShow">
        <pc:chgData name="Kahfeel Hussain (MiddleEast)" userId="44dd8832-bc3a-437f-ab6c-eb5eea65aad5" providerId="ADAL" clId="{E35F6880-E46C-4554-8DCA-07C0276F671F}" dt="2026-01-06T11:49:23.439" v="2828"/>
        <pc:sldMkLst>
          <pc:docMk/>
          <pc:sldMk cId="1439196654" sldId="294"/>
        </pc:sldMkLst>
        <pc:spChg chg="mod">
          <ac:chgData name="Kahfeel Hussain (MiddleEast)" userId="44dd8832-bc3a-437f-ab6c-eb5eea65aad5" providerId="ADAL" clId="{E35F6880-E46C-4554-8DCA-07C0276F671F}" dt="2026-01-04T17:46:42.336" v="2065" actId="20577"/>
          <ac:spMkLst>
            <pc:docMk/>
            <pc:sldMk cId="1439196654" sldId="294"/>
            <ac:spMk id="2" creationId="{E5C9A6C0-39A0-E09B-3D0F-111F58EF8E69}"/>
          </ac:spMkLst>
        </pc:spChg>
        <pc:spChg chg="add mod">
          <ac:chgData name="Kahfeel Hussain (MiddleEast)" userId="44dd8832-bc3a-437f-ab6c-eb5eea65aad5" providerId="ADAL" clId="{E35F6880-E46C-4554-8DCA-07C0276F671F}" dt="2026-01-05T04:44:33.335" v="2538" actId="6549"/>
          <ac:spMkLst>
            <pc:docMk/>
            <pc:sldMk cId="1439196654" sldId="294"/>
            <ac:spMk id="10" creationId="{4E4147D2-3AED-A60D-16FC-2ABBADB55D59}"/>
          </ac:spMkLst>
        </pc:spChg>
        <pc:graphicFrameChg chg="add del mod modGraphic">
          <ac:chgData name="Kahfeel Hussain (MiddleEast)" userId="44dd8832-bc3a-437f-ab6c-eb5eea65aad5" providerId="ADAL" clId="{E35F6880-E46C-4554-8DCA-07C0276F671F}" dt="2026-01-05T04:24:54.906" v="2291" actId="478"/>
          <ac:graphicFrameMkLst>
            <pc:docMk/>
            <pc:sldMk cId="1439196654" sldId="294"/>
            <ac:graphicFrameMk id="5" creationId="{7E7E92C1-8EB8-D708-1D31-0C33AF0508BD}"/>
          </ac:graphicFrameMkLst>
        </pc:graphicFrameChg>
        <pc:graphicFrameChg chg="add del mod modGraphic">
          <ac:chgData name="Kahfeel Hussain (MiddleEast)" userId="44dd8832-bc3a-437f-ab6c-eb5eea65aad5" providerId="ADAL" clId="{E35F6880-E46C-4554-8DCA-07C0276F671F}" dt="2026-01-05T04:26:16.128" v="2300" actId="478"/>
          <ac:graphicFrameMkLst>
            <pc:docMk/>
            <pc:sldMk cId="1439196654" sldId="294"/>
            <ac:graphicFrameMk id="6" creationId="{EA90ADF0-17E5-7932-C9DB-BB8E5809D01A}"/>
          </ac:graphicFrameMkLst>
        </pc:graphicFrameChg>
        <pc:graphicFrameChg chg="add del mod modGraphic">
          <ac:chgData name="Kahfeel Hussain (MiddleEast)" userId="44dd8832-bc3a-437f-ab6c-eb5eea65aad5" providerId="ADAL" clId="{E35F6880-E46C-4554-8DCA-07C0276F671F}" dt="2026-01-05T04:29:41.691" v="2320" actId="478"/>
          <ac:graphicFrameMkLst>
            <pc:docMk/>
            <pc:sldMk cId="1439196654" sldId="294"/>
            <ac:graphicFrameMk id="7" creationId="{E8F49FEE-2919-0CF2-5238-FEFA24D384F0}"/>
          </ac:graphicFrameMkLst>
        </pc:graphicFrameChg>
        <pc:graphicFrameChg chg="add mod modGraphic">
          <ac:chgData name="Kahfeel Hussain (MiddleEast)" userId="44dd8832-bc3a-437f-ab6c-eb5eea65aad5" providerId="ADAL" clId="{E35F6880-E46C-4554-8DCA-07C0276F671F}" dt="2026-01-05T04:39:08.700" v="2510" actId="1076"/>
          <ac:graphicFrameMkLst>
            <pc:docMk/>
            <pc:sldMk cId="1439196654" sldId="294"/>
            <ac:graphicFrameMk id="8" creationId="{226057E7-D40A-F9E1-8D95-E6F6B9A361F6}"/>
          </ac:graphicFrameMkLst>
        </pc:graphicFrameChg>
      </pc:sldChg>
      <pc:sldChg chg="addSp delSp modSp add mod ord">
        <pc:chgData name="Kahfeel Hussain (MiddleEast)" userId="44dd8832-bc3a-437f-ab6c-eb5eea65aad5" providerId="ADAL" clId="{E35F6880-E46C-4554-8DCA-07C0276F671F}" dt="2026-01-06T11:49:23.439" v="2828"/>
        <pc:sldMkLst>
          <pc:docMk/>
          <pc:sldMk cId="710515050" sldId="295"/>
        </pc:sldMkLst>
        <pc:spChg chg="mod">
          <ac:chgData name="Kahfeel Hussain (MiddleEast)" userId="44dd8832-bc3a-437f-ab6c-eb5eea65aad5" providerId="ADAL" clId="{E35F6880-E46C-4554-8DCA-07C0276F671F}" dt="2026-01-05T04:49:06.791" v="2548" actId="948"/>
          <ac:spMkLst>
            <pc:docMk/>
            <pc:sldMk cId="710515050" sldId="295"/>
            <ac:spMk id="4" creationId="{CEC17AC9-13D0-FADE-C184-C94E2A871619}"/>
          </ac:spMkLst>
        </pc:spChg>
        <pc:spChg chg="mod">
          <ac:chgData name="Kahfeel Hussain (MiddleEast)" userId="44dd8832-bc3a-437f-ab6c-eb5eea65aad5" providerId="ADAL" clId="{E35F6880-E46C-4554-8DCA-07C0276F671F}" dt="2026-01-05T04:48:38.131" v="2544"/>
          <ac:spMkLst>
            <pc:docMk/>
            <pc:sldMk cId="710515050" sldId="295"/>
            <ac:spMk id="6" creationId="{2DA9ED14-4BBA-E33A-DE2D-6A1AEDA74C15}"/>
          </ac:spMkLst>
        </pc:spChg>
        <pc:spChg chg="mod">
          <ac:chgData name="Kahfeel Hussain (MiddleEast)" userId="44dd8832-bc3a-437f-ab6c-eb5eea65aad5" providerId="ADAL" clId="{E35F6880-E46C-4554-8DCA-07C0276F671F}" dt="2026-01-05T04:48:38.131" v="2544"/>
          <ac:spMkLst>
            <pc:docMk/>
            <pc:sldMk cId="710515050" sldId="295"/>
            <ac:spMk id="7" creationId="{790CC63F-7366-E63D-6643-94E925A70FDB}"/>
          </ac:spMkLst>
        </pc:spChg>
        <pc:spChg chg="mod">
          <ac:chgData name="Kahfeel Hussain (MiddleEast)" userId="44dd8832-bc3a-437f-ab6c-eb5eea65aad5" providerId="ADAL" clId="{E35F6880-E46C-4554-8DCA-07C0276F671F}" dt="2026-01-05T04:48:38.131" v="2544"/>
          <ac:spMkLst>
            <pc:docMk/>
            <pc:sldMk cId="710515050" sldId="295"/>
            <ac:spMk id="9" creationId="{E5BCC13E-948D-98A4-41B7-1C445AB229D4}"/>
          </ac:spMkLst>
        </pc:spChg>
        <pc:spChg chg="mod">
          <ac:chgData name="Kahfeel Hussain (MiddleEast)" userId="44dd8832-bc3a-437f-ab6c-eb5eea65aad5" providerId="ADAL" clId="{E35F6880-E46C-4554-8DCA-07C0276F671F}" dt="2026-01-05T04:48:50.896" v="2546" actId="1076"/>
          <ac:spMkLst>
            <pc:docMk/>
            <pc:sldMk cId="710515050" sldId="295"/>
            <ac:spMk id="10" creationId="{0DB71941-4018-4842-E5A5-5AE2FEE58374}"/>
          </ac:spMkLst>
        </pc:spChg>
        <pc:spChg chg="mod">
          <ac:chgData name="Kahfeel Hussain (MiddleEast)" userId="44dd8832-bc3a-437f-ab6c-eb5eea65aad5" providerId="ADAL" clId="{E35F6880-E46C-4554-8DCA-07C0276F671F}" dt="2026-01-05T04:48:38.131" v="2544"/>
          <ac:spMkLst>
            <pc:docMk/>
            <pc:sldMk cId="710515050" sldId="295"/>
            <ac:spMk id="13" creationId="{CC0D4B98-D3F3-A7B5-14B9-0093A47E6F06}"/>
          </ac:spMkLst>
        </pc:spChg>
        <pc:spChg chg="mod">
          <ac:chgData name="Kahfeel Hussain (MiddleEast)" userId="44dd8832-bc3a-437f-ab6c-eb5eea65aad5" providerId="ADAL" clId="{E35F6880-E46C-4554-8DCA-07C0276F671F}" dt="2026-01-05T04:48:38.131" v="2544"/>
          <ac:spMkLst>
            <pc:docMk/>
            <pc:sldMk cId="710515050" sldId="295"/>
            <ac:spMk id="14" creationId="{56979D1E-C92D-422B-93F6-D3A6A69E47B9}"/>
          </ac:spMkLst>
        </pc:spChg>
        <pc:spChg chg="mod">
          <ac:chgData name="Kahfeel Hussain (MiddleEast)" userId="44dd8832-bc3a-437f-ab6c-eb5eea65aad5" providerId="ADAL" clId="{E35F6880-E46C-4554-8DCA-07C0276F671F}" dt="2026-01-05T04:48:38.131" v="2544"/>
          <ac:spMkLst>
            <pc:docMk/>
            <pc:sldMk cId="710515050" sldId="295"/>
            <ac:spMk id="15" creationId="{B518671A-5F6D-1B1A-3366-176A80F8819C}"/>
          </ac:spMkLst>
        </pc:spChg>
        <pc:spChg chg="mod">
          <ac:chgData name="Kahfeel Hussain (MiddleEast)" userId="44dd8832-bc3a-437f-ab6c-eb5eea65aad5" providerId="ADAL" clId="{E35F6880-E46C-4554-8DCA-07C0276F671F}" dt="2026-01-05T04:48:38.131" v="2544"/>
          <ac:spMkLst>
            <pc:docMk/>
            <pc:sldMk cId="710515050" sldId="295"/>
            <ac:spMk id="16" creationId="{3AB6EC34-90B1-7D39-C9BA-6C9CF9D02D77}"/>
          </ac:spMkLst>
        </pc:spChg>
        <pc:spChg chg="mod">
          <ac:chgData name="Kahfeel Hussain (MiddleEast)" userId="44dd8832-bc3a-437f-ab6c-eb5eea65aad5" providerId="ADAL" clId="{E35F6880-E46C-4554-8DCA-07C0276F671F}" dt="2026-01-05T04:48:38.131" v="2544"/>
          <ac:spMkLst>
            <pc:docMk/>
            <pc:sldMk cId="710515050" sldId="295"/>
            <ac:spMk id="20" creationId="{581FE0D7-A674-6486-38FF-E8FBF0D51AB3}"/>
          </ac:spMkLst>
        </pc:spChg>
        <pc:spChg chg="mod">
          <ac:chgData name="Kahfeel Hussain (MiddleEast)" userId="44dd8832-bc3a-437f-ab6c-eb5eea65aad5" providerId="ADAL" clId="{E35F6880-E46C-4554-8DCA-07C0276F671F}" dt="2026-01-05T04:48:38.131" v="2544"/>
          <ac:spMkLst>
            <pc:docMk/>
            <pc:sldMk cId="710515050" sldId="295"/>
            <ac:spMk id="21" creationId="{172B650B-9AD7-2AEB-045A-6A11092B81FE}"/>
          </ac:spMkLst>
        </pc:spChg>
        <pc:spChg chg="mod">
          <ac:chgData name="Kahfeel Hussain (MiddleEast)" userId="44dd8832-bc3a-437f-ab6c-eb5eea65aad5" providerId="ADAL" clId="{E35F6880-E46C-4554-8DCA-07C0276F671F}" dt="2026-01-05T04:48:38.131" v="2544"/>
          <ac:spMkLst>
            <pc:docMk/>
            <pc:sldMk cId="710515050" sldId="295"/>
            <ac:spMk id="25" creationId="{C8068CE6-8D38-82F5-2A37-EF171E12C319}"/>
          </ac:spMkLst>
        </pc:spChg>
        <pc:spChg chg="add del mod modVis">
          <ac:chgData name="Kahfeel Hussain (MiddleEast)" userId="44dd8832-bc3a-437f-ab6c-eb5eea65aad5" providerId="ADAL" clId="{E35F6880-E46C-4554-8DCA-07C0276F671F}" dt="2026-01-05T04:49:06.838" v="2570"/>
          <ac:spMkLst>
            <pc:docMk/>
            <pc:sldMk cId="710515050" sldId="295"/>
            <ac:spMk id="27" creationId="{23A7374C-DB40-1A60-2BDB-0AC643386165}"/>
          </ac:spMkLst>
        </pc:spChg>
        <pc:spChg chg="add mod">
          <ac:chgData name="Kahfeel Hussain (MiddleEast)" userId="44dd8832-bc3a-437f-ab6c-eb5eea65aad5" providerId="ADAL" clId="{E35F6880-E46C-4554-8DCA-07C0276F671F}" dt="2026-01-05T05:14:34.808" v="2576"/>
          <ac:spMkLst>
            <pc:docMk/>
            <pc:sldMk cId="710515050" sldId="295"/>
            <ac:spMk id="29" creationId="{A274711C-7A81-99B0-D87D-1AC2C20877E7}"/>
          </ac:spMkLst>
        </pc:spChg>
        <pc:grpChg chg="mod">
          <ac:chgData name="Kahfeel Hussain (MiddleEast)" userId="44dd8832-bc3a-437f-ab6c-eb5eea65aad5" providerId="ADAL" clId="{E35F6880-E46C-4554-8DCA-07C0276F671F}" dt="2026-01-05T04:48:42.179" v="2545" actId="1076"/>
          <ac:grpSpMkLst>
            <pc:docMk/>
            <pc:sldMk cId="710515050" sldId="295"/>
            <ac:grpSpMk id="5" creationId="{302FE9C5-44AF-7AA6-78A4-D70EC41A9348}"/>
          </ac:grpSpMkLst>
        </pc:grpChg>
        <pc:graphicFrameChg chg="mod">
          <ac:chgData name="Kahfeel Hussain (MiddleEast)" userId="44dd8832-bc3a-437f-ab6c-eb5eea65aad5" providerId="ADAL" clId="{E35F6880-E46C-4554-8DCA-07C0276F671F}" dt="2026-01-05T04:49:06.838" v="2572"/>
          <ac:graphicFrameMkLst>
            <pc:docMk/>
            <pc:sldMk cId="710515050" sldId="295"/>
            <ac:graphicFrameMk id="3" creationId="{4564C534-CCB7-2105-B721-EF8E5E2E6379}"/>
          </ac:graphicFrameMkLst>
        </pc:graphicFrameChg>
        <pc:graphicFrameChg chg="del">
          <ac:chgData name="Kahfeel Hussain (MiddleEast)" userId="44dd8832-bc3a-437f-ab6c-eb5eea65aad5" providerId="ADAL" clId="{E35F6880-E46C-4554-8DCA-07C0276F671F}" dt="2026-01-05T04:48:36.191" v="2543" actId="478"/>
          <ac:graphicFrameMkLst>
            <pc:docMk/>
            <pc:sldMk cId="710515050" sldId="295"/>
            <ac:graphicFrameMk id="8" creationId="{97C287E1-3F9C-B194-FD4D-B3725DBC8829}"/>
          </ac:graphicFrameMkLst>
        </pc:graphicFrameChg>
      </pc:sldChg>
      <pc:sldChg chg="delSp add mod">
        <pc:chgData name="Kahfeel Hussain (MiddleEast)" userId="44dd8832-bc3a-437f-ab6c-eb5eea65aad5" providerId="ADAL" clId="{E35F6880-E46C-4554-8DCA-07C0276F671F}" dt="2026-01-05T04:52:03.337" v="2575" actId="478"/>
        <pc:sldMkLst>
          <pc:docMk/>
          <pc:sldMk cId="970457798" sldId="298"/>
        </pc:sldMkLst>
        <pc:spChg chg="del">
          <ac:chgData name="Kahfeel Hussain (MiddleEast)" userId="44dd8832-bc3a-437f-ab6c-eb5eea65aad5" providerId="ADAL" clId="{E35F6880-E46C-4554-8DCA-07C0276F671F}" dt="2026-01-05T04:52:03.337" v="2575" actId="478"/>
          <ac:spMkLst>
            <pc:docMk/>
            <pc:sldMk cId="970457798" sldId="298"/>
            <ac:spMk id="32" creationId="{299EAC3E-E955-3550-58E1-456CAD8BC989}"/>
          </ac:spMkLst>
        </pc:spChg>
      </pc:sldChg>
      <pc:sldChg chg="addSp delSp modSp mod">
        <pc:chgData name="Kahfeel Hussain (MiddleEast)" userId="44dd8832-bc3a-437f-ab6c-eb5eea65aad5" providerId="ADAL" clId="{E35F6880-E46C-4554-8DCA-07C0276F671F}" dt="2026-01-05T22:38:59.060" v="2821"/>
        <pc:sldMkLst>
          <pc:docMk/>
          <pc:sldMk cId="844508133" sldId="301"/>
        </pc:sldMkLst>
        <pc:spChg chg="mod ord">
          <ac:chgData name="Kahfeel Hussain (MiddleEast)" userId="44dd8832-bc3a-437f-ab6c-eb5eea65aad5" providerId="ADAL" clId="{E35F6880-E46C-4554-8DCA-07C0276F671F}" dt="2026-01-05T22:38:59.028" v="2774"/>
          <ac:spMkLst>
            <pc:docMk/>
            <pc:sldMk cId="844508133" sldId="301"/>
            <ac:spMk id="2" creationId="{79935DB7-364D-09BB-B148-F04642E93324}"/>
          </ac:spMkLst>
        </pc:spChg>
        <pc:spChg chg="mod ord">
          <ac:chgData name="Kahfeel Hussain (MiddleEast)" userId="44dd8832-bc3a-437f-ab6c-eb5eea65aad5" providerId="ADAL" clId="{E35F6880-E46C-4554-8DCA-07C0276F671F}" dt="2026-01-05T22:38:59.028" v="2768"/>
          <ac:spMkLst>
            <pc:docMk/>
            <pc:sldMk cId="844508133" sldId="301"/>
            <ac:spMk id="4" creationId="{B2567FF4-4376-08F7-EBEC-214FB5889B40}"/>
          </ac:spMkLst>
        </pc:spChg>
        <pc:spChg chg="mod ord">
          <ac:chgData name="Kahfeel Hussain (MiddleEast)" userId="44dd8832-bc3a-437f-ab6c-eb5eea65aad5" providerId="ADAL" clId="{E35F6880-E46C-4554-8DCA-07C0276F671F}" dt="2026-01-05T22:38:59.028" v="2770"/>
          <ac:spMkLst>
            <pc:docMk/>
            <pc:sldMk cId="844508133" sldId="301"/>
            <ac:spMk id="5" creationId="{A34C66A1-BEDA-D237-32FB-0A8935F1D521}"/>
          </ac:spMkLst>
        </pc:spChg>
        <pc:spChg chg="mod ord">
          <ac:chgData name="Kahfeel Hussain (MiddleEast)" userId="44dd8832-bc3a-437f-ab6c-eb5eea65aad5" providerId="ADAL" clId="{E35F6880-E46C-4554-8DCA-07C0276F671F}" dt="2026-01-05T22:38:59.028" v="2776"/>
          <ac:spMkLst>
            <pc:docMk/>
            <pc:sldMk cId="844508133" sldId="301"/>
            <ac:spMk id="6" creationId="{821977DA-64A0-41FE-BAAB-D3AB181DB660}"/>
          </ac:spMkLst>
        </pc:spChg>
        <pc:spChg chg="mod ord">
          <ac:chgData name="Kahfeel Hussain (MiddleEast)" userId="44dd8832-bc3a-437f-ab6c-eb5eea65aad5" providerId="ADAL" clId="{E35F6880-E46C-4554-8DCA-07C0276F671F}" dt="2026-01-05T22:38:59.028" v="2778"/>
          <ac:spMkLst>
            <pc:docMk/>
            <pc:sldMk cId="844508133" sldId="301"/>
            <ac:spMk id="7" creationId="{C3605D87-82A6-3C3C-506C-4DBD19C215AA}"/>
          </ac:spMkLst>
        </pc:spChg>
        <pc:spChg chg="mod ord">
          <ac:chgData name="Kahfeel Hussain (MiddleEast)" userId="44dd8832-bc3a-437f-ab6c-eb5eea65aad5" providerId="ADAL" clId="{E35F6880-E46C-4554-8DCA-07C0276F671F}" dt="2026-01-05T22:38:59.028" v="2757"/>
          <ac:spMkLst>
            <pc:docMk/>
            <pc:sldMk cId="844508133" sldId="301"/>
            <ac:spMk id="9" creationId="{C30A373F-B0BB-F7F0-EDC3-6D7AF57B77F1}"/>
          </ac:spMkLst>
        </pc:spChg>
        <pc:spChg chg="mod ord">
          <ac:chgData name="Kahfeel Hussain (MiddleEast)" userId="44dd8832-bc3a-437f-ab6c-eb5eea65aad5" providerId="ADAL" clId="{E35F6880-E46C-4554-8DCA-07C0276F671F}" dt="2026-01-05T22:38:59.028" v="2759"/>
          <ac:spMkLst>
            <pc:docMk/>
            <pc:sldMk cId="844508133" sldId="301"/>
            <ac:spMk id="10" creationId="{F4DD31B6-345A-03CC-BB12-73B9A35FCA0E}"/>
          </ac:spMkLst>
        </pc:spChg>
        <pc:spChg chg="mod ord">
          <ac:chgData name="Kahfeel Hussain (MiddleEast)" userId="44dd8832-bc3a-437f-ab6c-eb5eea65aad5" providerId="ADAL" clId="{E35F6880-E46C-4554-8DCA-07C0276F671F}" dt="2026-01-05T22:38:59.028" v="2780"/>
          <ac:spMkLst>
            <pc:docMk/>
            <pc:sldMk cId="844508133" sldId="301"/>
            <ac:spMk id="11" creationId="{846C5730-BE1E-0100-4F05-D91C3EBA5091}"/>
          </ac:spMkLst>
        </pc:spChg>
        <pc:spChg chg="mod ord">
          <ac:chgData name="Kahfeel Hussain (MiddleEast)" userId="44dd8832-bc3a-437f-ab6c-eb5eea65aad5" providerId="ADAL" clId="{E35F6880-E46C-4554-8DCA-07C0276F671F}" dt="2026-01-05T22:38:59.028" v="2782"/>
          <ac:spMkLst>
            <pc:docMk/>
            <pc:sldMk cId="844508133" sldId="301"/>
            <ac:spMk id="12" creationId="{0851229E-224A-B2FE-45EB-BB2E97603C07}"/>
          </ac:spMkLst>
        </pc:spChg>
        <pc:spChg chg="mod ord">
          <ac:chgData name="Kahfeel Hussain (MiddleEast)" userId="44dd8832-bc3a-437f-ab6c-eb5eea65aad5" providerId="ADAL" clId="{E35F6880-E46C-4554-8DCA-07C0276F671F}" dt="2026-01-05T22:38:59.028" v="2762"/>
          <ac:spMkLst>
            <pc:docMk/>
            <pc:sldMk cId="844508133" sldId="301"/>
            <ac:spMk id="14" creationId="{F155CB9A-D6F0-78FA-771A-1D3DCCB1C48D}"/>
          </ac:spMkLst>
        </pc:spChg>
        <pc:spChg chg="mod ord">
          <ac:chgData name="Kahfeel Hussain (MiddleEast)" userId="44dd8832-bc3a-437f-ab6c-eb5eea65aad5" providerId="ADAL" clId="{E35F6880-E46C-4554-8DCA-07C0276F671F}" dt="2026-01-05T22:38:59.028" v="2764"/>
          <ac:spMkLst>
            <pc:docMk/>
            <pc:sldMk cId="844508133" sldId="301"/>
            <ac:spMk id="15" creationId="{067F4D37-D8F0-9E81-5A4A-4BE1E1785DD5}"/>
          </ac:spMkLst>
        </pc:spChg>
        <pc:spChg chg="mod ord">
          <ac:chgData name="Kahfeel Hussain (MiddleEast)" userId="44dd8832-bc3a-437f-ab6c-eb5eea65aad5" providerId="ADAL" clId="{E35F6880-E46C-4554-8DCA-07C0276F671F}" dt="2026-01-05T22:38:59.044" v="2784"/>
          <ac:spMkLst>
            <pc:docMk/>
            <pc:sldMk cId="844508133" sldId="301"/>
            <ac:spMk id="16" creationId="{12613974-A775-194F-4BEE-BC4721BDFA68}"/>
          </ac:spMkLst>
        </pc:spChg>
        <pc:spChg chg="mod ord">
          <ac:chgData name="Kahfeel Hussain (MiddleEast)" userId="44dd8832-bc3a-437f-ab6c-eb5eea65aad5" providerId="ADAL" clId="{E35F6880-E46C-4554-8DCA-07C0276F671F}" dt="2026-01-05T22:38:59.045" v="2786"/>
          <ac:spMkLst>
            <pc:docMk/>
            <pc:sldMk cId="844508133" sldId="301"/>
            <ac:spMk id="17" creationId="{D9291D3E-BA61-5DBB-7635-A59249C1AA49}"/>
          </ac:spMkLst>
        </pc:spChg>
        <pc:spChg chg="mod ord">
          <ac:chgData name="Kahfeel Hussain (MiddleEast)" userId="44dd8832-bc3a-437f-ab6c-eb5eea65aad5" providerId="ADAL" clId="{E35F6880-E46C-4554-8DCA-07C0276F671F}" dt="2026-01-05T22:38:59.047" v="2804"/>
          <ac:spMkLst>
            <pc:docMk/>
            <pc:sldMk cId="844508133" sldId="301"/>
            <ac:spMk id="26" creationId="{5009898C-BAF0-0D39-5FBE-186CD576B0F1}"/>
          </ac:spMkLst>
        </pc:spChg>
        <pc:spChg chg="mod ord">
          <ac:chgData name="Kahfeel Hussain (MiddleEast)" userId="44dd8832-bc3a-437f-ab6c-eb5eea65aad5" providerId="ADAL" clId="{E35F6880-E46C-4554-8DCA-07C0276F671F}" dt="2026-01-05T22:38:59.047" v="2794"/>
          <ac:spMkLst>
            <pc:docMk/>
            <pc:sldMk cId="844508133" sldId="301"/>
            <ac:spMk id="27" creationId="{07553A86-D2EA-7DED-02AD-7570867FAF89}"/>
          </ac:spMkLst>
        </pc:spChg>
        <pc:spChg chg="mod ord">
          <ac:chgData name="Kahfeel Hussain (MiddleEast)" userId="44dd8832-bc3a-437f-ab6c-eb5eea65aad5" providerId="ADAL" clId="{E35F6880-E46C-4554-8DCA-07C0276F671F}" dt="2026-01-05T22:38:59.047" v="2796"/>
          <ac:spMkLst>
            <pc:docMk/>
            <pc:sldMk cId="844508133" sldId="301"/>
            <ac:spMk id="28" creationId="{2A621924-83E9-5BB3-BC73-DDD5427B0095}"/>
          </ac:spMkLst>
        </pc:spChg>
        <pc:spChg chg="mod ord">
          <ac:chgData name="Kahfeel Hussain (MiddleEast)" userId="44dd8832-bc3a-437f-ab6c-eb5eea65aad5" providerId="ADAL" clId="{E35F6880-E46C-4554-8DCA-07C0276F671F}" dt="2026-01-05T22:38:59.028" v="2772"/>
          <ac:spMkLst>
            <pc:docMk/>
            <pc:sldMk cId="844508133" sldId="301"/>
            <ac:spMk id="41" creationId="{0E8332CD-4328-52C4-6E13-CDFC75F579A0}"/>
          </ac:spMkLst>
        </pc:spChg>
        <pc:spChg chg="add del mod modVis">
          <ac:chgData name="Kahfeel Hussain (MiddleEast)" userId="44dd8832-bc3a-437f-ab6c-eb5eea65aad5" providerId="ADAL" clId="{E35F6880-E46C-4554-8DCA-07C0276F671F}" dt="2026-01-05T22:38:48.892" v="2687"/>
          <ac:spMkLst>
            <pc:docMk/>
            <pc:sldMk cId="844508133" sldId="301"/>
            <ac:spMk id="45" creationId="{7E72A798-DF02-B16F-67CA-691EFE7AD615}"/>
          </ac:spMkLst>
        </pc:spChg>
        <pc:spChg chg="mod ord">
          <ac:chgData name="Kahfeel Hussain (MiddleEast)" userId="44dd8832-bc3a-437f-ab6c-eb5eea65aad5" providerId="ADAL" clId="{E35F6880-E46C-4554-8DCA-07C0276F671F}" dt="2026-01-05T22:38:59.047" v="2800"/>
          <ac:spMkLst>
            <pc:docMk/>
            <pc:sldMk cId="844508133" sldId="301"/>
            <ac:spMk id="49" creationId="{127B22CD-E5CD-0443-0A35-74079D4102B6}"/>
          </ac:spMkLst>
        </pc:spChg>
        <pc:spChg chg="mod ord">
          <ac:chgData name="Kahfeel Hussain (MiddleEast)" userId="44dd8832-bc3a-437f-ab6c-eb5eea65aad5" providerId="ADAL" clId="{E35F6880-E46C-4554-8DCA-07C0276F671F}" dt="2026-01-05T22:38:59.028" v="2766"/>
          <ac:spMkLst>
            <pc:docMk/>
            <pc:sldMk cId="844508133" sldId="301"/>
            <ac:spMk id="54" creationId="{34D1BC27-A3F5-5840-24F9-71633B2F98D1}"/>
          </ac:spMkLst>
        </pc:spChg>
        <pc:graphicFrameChg chg="mod">
          <ac:chgData name="Kahfeel Hussain (MiddleEast)" userId="44dd8832-bc3a-437f-ab6c-eb5eea65aad5" providerId="ADAL" clId="{E35F6880-E46C-4554-8DCA-07C0276F671F}" dt="2026-01-05T22:38:59.060" v="2821"/>
          <ac:graphicFrameMkLst>
            <pc:docMk/>
            <pc:sldMk cId="844508133" sldId="301"/>
            <ac:graphicFrameMk id="20" creationId="{3F9980DE-8924-D796-4365-6E126D1B9D29}"/>
          </ac:graphicFrameMkLst>
        </pc:graphicFrameChg>
        <pc:picChg chg="mod ord">
          <ac:chgData name="Kahfeel Hussain (MiddleEast)" userId="44dd8832-bc3a-437f-ab6c-eb5eea65aad5" providerId="ADAL" clId="{E35F6880-E46C-4554-8DCA-07C0276F671F}" dt="2026-01-05T22:38:59.045" v="2788"/>
          <ac:picMkLst>
            <pc:docMk/>
            <pc:sldMk cId="844508133" sldId="301"/>
            <ac:picMk id="19" creationId="{FDB42610-0038-DD84-9519-2065A2E7903D}"/>
          </ac:picMkLst>
        </pc:picChg>
        <pc:picChg chg="mod ord">
          <ac:chgData name="Kahfeel Hussain (MiddleEast)" userId="44dd8832-bc3a-437f-ab6c-eb5eea65aad5" providerId="ADAL" clId="{E35F6880-E46C-4554-8DCA-07C0276F671F}" dt="2026-01-05T22:38:59.047" v="2798"/>
          <ac:picMkLst>
            <pc:docMk/>
            <pc:sldMk cId="844508133" sldId="301"/>
            <ac:picMk id="43" creationId="{16A83B4E-E296-B87C-3F06-9EA0CA9AA6EC}"/>
          </ac:picMkLst>
        </pc:picChg>
        <pc:picChg chg="mod">
          <ac:chgData name="Kahfeel Hussain (MiddleEast)" userId="44dd8832-bc3a-437f-ab6c-eb5eea65aad5" providerId="ADAL" clId="{E35F6880-E46C-4554-8DCA-07C0276F671F}" dt="2026-01-05T22:38:59.047" v="2807"/>
          <ac:picMkLst>
            <pc:docMk/>
            <pc:sldMk cId="844508133" sldId="301"/>
            <ac:picMk id="55" creationId="{CC3D5856-4C2B-03E3-2B41-AC084EFCE0AD}"/>
          </ac:picMkLst>
        </pc:picChg>
        <pc:picChg chg="mod">
          <ac:chgData name="Kahfeel Hussain (MiddleEast)" userId="44dd8832-bc3a-437f-ab6c-eb5eea65aad5" providerId="ADAL" clId="{E35F6880-E46C-4554-8DCA-07C0276F671F}" dt="2026-01-05T22:38:59.047" v="2808"/>
          <ac:picMkLst>
            <pc:docMk/>
            <pc:sldMk cId="844508133" sldId="301"/>
            <ac:picMk id="56" creationId="{299F90AC-012A-47E0-A54E-CC4C914D4A45}"/>
          </ac:picMkLst>
        </pc:picChg>
        <pc:picChg chg="mod">
          <ac:chgData name="Kahfeel Hussain (MiddleEast)" userId="44dd8832-bc3a-437f-ab6c-eb5eea65aad5" providerId="ADAL" clId="{E35F6880-E46C-4554-8DCA-07C0276F671F}" dt="2026-01-05T22:38:59.047" v="2809"/>
          <ac:picMkLst>
            <pc:docMk/>
            <pc:sldMk cId="844508133" sldId="301"/>
            <ac:picMk id="57" creationId="{2E1C5451-BEDE-8B46-5942-BA268B089BE5}"/>
          </ac:picMkLst>
        </pc:picChg>
        <pc:picChg chg="mod">
          <ac:chgData name="Kahfeel Hussain (MiddleEast)" userId="44dd8832-bc3a-437f-ab6c-eb5eea65aad5" providerId="ADAL" clId="{E35F6880-E46C-4554-8DCA-07C0276F671F}" dt="2026-01-05T22:38:59.047" v="2813"/>
          <ac:picMkLst>
            <pc:docMk/>
            <pc:sldMk cId="844508133" sldId="301"/>
            <ac:picMk id="61" creationId="{1AE3E3DF-5D4F-0D54-9467-38776640A46D}"/>
          </ac:picMkLst>
        </pc:picChg>
        <pc:picChg chg="mod">
          <ac:chgData name="Kahfeel Hussain (MiddleEast)" userId="44dd8832-bc3a-437f-ab6c-eb5eea65aad5" providerId="ADAL" clId="{E35F6880-E46C-4554-8DCA-07C0276F671F}" dt="2026-01-05T22:38:59.047" v="2814"/>
          <ac:picMkLst>
            <pc:docMk/>
            <pc:sldMk cId="844508133" sldId="301"/>
            <ac:picMk id="62" creationId="{81D7DD1B-DA9D-795A-3ED0-2871563F2482}"/>
          </ac:picMkLst>
        </pc:picChg>
        <pc:picChg chg="mod">
          <ac:chgData name="Kahfeel Hussain (MiddleEast)" userId="44dd8832-bc3a-437f-ab6c-eb5eea65aad5" providerId="ADAL" clId="{E35F6880-E46C-4554-8DCA-07C0276F671F}" dt="2026-01-05T22:38:59.060" v="2815"/>
          <ac:picMkLst>
            <pc:docMk/>
            <pc:sldMk cId="844508133" sldId="301"/>
            <ac:picMk id="63" creationId="{EB7A1729-DE82-A8E7-2890-5A098CF26D5E}"/>
          </ac:picMkLst>
        </pc:picChg>
        <pc:picChg chg="mod">
          <ac:chgData name="Kahfeel Hussain (MiddleEast)" userId="44dd8832-bc3a-437f-ab6c-eb5eea65aad5" providerId="ADAL" clId="{E35F6880-E46C-4554-8DCA-07C0276F671F}" dt="2026-01-05T22:38:59.060" v="2816"/>
          <ac:picMkLst>
            <pc:docMk/>
            <pc:sldMk cId="844508133" sldId="301"/>
            <ac:picMk id="9216" creationId="{68CE66E1-531A-AE19-AA03-62E47DA3D505}"/>
          </ac:picMkLst>
        </pc:picChg>
        <pc:picChg chg="mod">
          <ac:chgData name="Kahfeel Hussain (MiddleEast)" userId="44dd8832-bc3a-437f-ab6c-eb5eea65aad5" providerId="ADAL" clId="{E35F6880-E46C-4554-8DCA-07C0276F671F}" dt="2026-01-05T22:38:59.060" v="2817"/>
          <ac:picMkLst>
            <pc:docMk/>
            <pc:sldMk cId="844508133" sldId="301"/>
            <ac:picMk id="9217" creationId="{C5C57899-57A6-47AA-F55C-5BCC1519F60B}"/>
          </ac:picMkLst>
        </pc:picChg>
        <pc:picChg chg="mod">
          <ac:chgData name="Kahfeel Hussain (MiddleEast)" userId="44dd8832-bc3a-437f-ab6c-eb5eea65aad5" providerId="ADAL" clId="{E35F6880-E46C-4554-8DCA-07C0276F671F}" dt="2026-01-05T22:38:59.047" v="2806"/>
          <ac:picMkLst>
            <pc:docMk/>
            <pc:sldMk cId="844508133" sldId="301"/>
            <ac:picMk id="9218" creationId="{C592CC8D-4EA1-5389-E51B-DC924084F124}"/>
          </ac:picMkLst>
        </pc:picChg>
        <pc:picChg chg="mod">
          <ac:chgData name="Kahfeel Hussain (MiddleEast)" userId="44dd8832-bc3a-437f-ab6c-eb5eea65aad5" providerId="ADAL" clId="{E35F6880-E46C-4554-8DCA-07C0276F671F}" dt="2026-01-05T22:38:59.060" v="2818"/>
          <ac:picMkLst>
            <pc:docMk/>
            <pc:sldMk cId="844508133" sldId="301"/>
            <ac:picMk id="9219" creationId="{F89126DA-16B0-4438-007B-1D0F6AACA976}"/>
          </ac:picMkLst>
        </pc:picChg>
        <pc:picChg chg="mod">
          <ac:chgData name="Kahfeel Hussain (MiddleEast)" userId="44dd8832-bc3a-437f-ab6c-eb5eea65aad5" providerId="ADAL" clId="{E35F6880-E46C-4554-8DCA-07C0276F671F}" dt="2026-01-05T22:38:59.047" v="2805"/>
          <ac:picMkLst>
            <pc:docMk/>
            <pc:sldMk cId="844508133" sldId="301"/>
            <ac:picMk id="9220" creationId="{F63827B4-411E-E0EF-9BC2-D2DA37F81674}"/>
          </ac:picMkLst>
        </pc:picChg>
        <pc:picChg chg="mod">
          <ac:chgData name="Kahfeel Hussain (MiddleEast)" userId="44dd8832-bc3a-437f-ab6c-eb5eea65aad5" providerId="ADAL" clId="{E35F6880-E46C-4554-8DCA-07C0276F671F}" dt="2026-01-05T22:38:59.060" v="2819"/>
          <ac:picMkLst>
            <pc:docMk/>
            <pc:sldMk cId="844508133" sldId="301"/>
            <ac:picMk id="9221" creationId="{14B63AA7-307D-7A41-A8F7-4BA8CB6F787D}"/>
          </ac:picMkLst>
        </pc:picChg>
        <pc:picChg chg="mod">
          <ac:chgData name="Kahfeel Hussain (MiddleEast)" userId="44dd8832-bc3a-437f-ab6c-eb5eea65aad5" providerId="ADAL" clId="{E35F6880-E46C-4554-8DCA-07C0276F671F}" dt="2026-01-05T22:38:59.028" v="2760"/>
          <ac:picMkLst>
            <pc:docMk/>
            <pc:sldMk cId="844508133" sldId="301"/>
            <ac:picMk id="9230" creationId="{9A11B753-E855-C2B5-7F94-DEA504A4CDE2}"/>
          </ac:picMkLst>
        </pc:picChg>
        <pc:picChg chg="mod">
          <ac:chgData name="Kahfeel Hussain (MiddleEast)" userId="44dd8832-bc3a-437f-ab6c-eb5eea65aad5" providerId="ADAL" clId="{E35F6880-E46C-4554-8DCA-07C0276F671F}" dt="2026-01-05T22:38:59.047" v="2810"/>
          <ac:picMkLst>
            <pc:docMk/>
            <pc:sldMk cId="844508133" sldId="301"/>
            <ac:picMk id="9232" creationId="{E566D312-A12C-7CC1-C093-1310450CF401}"/>
          </ac:picMkLst>
        </pc:picChg>
        <pc:picChg chg="mod">
          <ac:chgData name="Kahfeel Hussain (MiddleEast)" userId="44dd8832-bc3a-437f-ab6c-eb5eea65aad5" providerId="ADAL" clId="{E35F6880-E46C-4554-8DCA-07C0276F671F}" dt="2026-01-05T22:38:59.047" v="2811"/>
          <ac:picMkLst>
            <pc:docMk/>
            <pc:sldMk cId="844508133" sldId="301"/>
            <ac:picMk id="9234" creationId="{23A5C111-F70C-2649-B915-93E0FAA30E3C}"/>
          </ac:picMkLst>
        </pc:picChg>
        <pc:picChg chg="mod">
          <ac:chgData name="Kahfeel Hussain (MiddleEast)" userId="44dd8832-bc3a-437f-ab6c-eb5eea65aad5" providerId="ADAL" clId="{E35F6880-E46C-4554-8DCA-07C0276F671F}" dt="2026-01-05T22:38:59.047" v="2812"/>
          <ac:picMkLst>
            <pc:docMk/>
            <pc:sldMk cId="844508133" sldId="301"/>
            <ac:picMk id="9236" creationId="{C8EAF8C6-E47B-F184-CF7A-A344D526EA51}"/>
          </ac:picMkLst>
        </pc:picChg>
        <pc:cxnChg chg="mod ord">
          <ac:chgData name="Kahfeel Hussain (MiddleEast)" userId="44dd8832-bc3a-437f-ab6c-eb5eea65aad5" providerId="ADAL" clId="{E35F6880-E46C-4554-8DCA-07C0276F671F}" dt="2026-01-05T22:38:59.045" v="2790"/>
          <ac:cxnSpMkLst>
            <pc:docMk/>
            <pc:sldMk cId="844508133" sldId="301"/>
            <ac:cxnSpMk id="23" creationId="{29FFE02E-477B-2096-D3BA-2A75AA744D94}"/>
          </ac:cxnSpMkLst>
        </pc:cxnChg>
        <pc:cxnChg chg="mod ord">
          <ac:chgData name="Kahfeel Hussain (MiddleEast)" userId="44dd8832-bc3a-437f-ab6c-eb5eea65aad5" providerId="ADAL" clId="{E35F6880-E46C-4554-8DCA-07C0276F671F}" dt="2026-01-05T22:38:59.047" v="2802"/>
          <ac:cxnSpMkLst>
            <pc:docMk/>
            <pc:sldMk cId="844508133" sldId="301"/>
            <ac:cxnSpMk id="24" creationId="{75E882AB-47D2-1963-7C5B-9131393E02EF}"/>
          </ac:cxnSpMkLst>
        </pc:cxnChg>
        <pc:cxnChg chg="mod ord">
          <ac:chgData name="Kahfeel Hussain (MiddleEast)" userId="44dd8832-bc3a-437f-ab6c-eb5eea65aad5" providerId="ADAL" clId="{E35F6880-E46C-4554-8DCA-07C0276F671F}" dt="2026-01-05T22:38:59.047" v="2792"/>
          <ac:cxnSpMkLst>
            <pc:docMk/>
            <pc:sldMk cId="844508133" sldId="301"/>
            <ac:cxnSpMk id="25" creationId="{17D4AF71-D9CF-66A1-6787-A2C307356FBC}"/>
          </ac:cxnSpMkLst>
        </pc:cxnChg>
      </pc:sldChg>
      <pc:sldChg chg="addSp delSp modSp mod">
        <pc:chgData name="Kahfeel Hussain (MiddleEast)" userId="44dd8832-bc3a-437f-ab6c-eb5eea65aad5" providerId="ADAL" clId="{E35F6880-E46C-4554-8DCA-07C0276F671F}" dt="2026-01-06T13:44:52.195" v="3903"/>
        <pc:sldMkLst>
          <pc:docMk/>
          <pc:sldMk cId="3683836732" sldId="308"/>
        </pc:sldMkLst>
        <pc:spChg chg="mod ord">
          <ac:chgData name="Kahfeel Hussain (MiddleEast)" userId="44dd8832-bc3a-437f-ab6c-eb5eea65aad5" providerId="ADAL" clId="{E35F6880-E46C-4554-8DCA-07C0276F671F}" dt="2026-01-06T13:44:51.944" v="3890" actId="948"/>
          <ac:spMkLst>
            <pc:docMk/>
            <pc:sldMk cId="3683836732" sldId="308"/>
            <ac:spMk id="4" creationId="{134CA917-93E6-B4BC-282C-7D998B79245E}"/>
          </ac:spMkLst>
        </pc:spChg>
        <pc:spChg chg="del">
          <ac:chgData name="Kahfeel Hussain (MiddleEast)" userId="44dd8832-bc3a-437f-ab6c-eb5eea65aad5" providerId="ADAL" clId="{E35F6880-E46C-4554-8DCA-07C0276F671F}" dt="2026-01-05T22:39:35.250" v="2825" actId="478"/>
          <ac:spMkLst>
            <pc:docMk/>
            <pc:sldMk cId="3683836732" sldId="308"/>
            <ac:spMk id="11" creationId="{9A71CB65-2AEA-F9E8-D428-472D17F918E7}"/>
          </ac:spMkLst>
        </pc:spChg>
        <pc:spChg chg="mod ord">
          <ac:chgData name="Kahfeel Hussain (MiddleEast)" userId="44dd8832-bc3a-437f-ab6c-eb5eea65aad5" providerId="ADAL" clId="{E35F6880-E46C-4554-8DCA-07C0276F671F}" dt="2026-01-06T13:44:51.655" v="3642"/>
          <ac:spMkLst>
            <pc:docMk/>
            <pc:sldMk cId="3683836732" sldId="308"/>
            <ac:spMk id="12" creationId="{1D552512-33B2-D04E-7293-94D637AF6B01}"/>
          </ac:spMkLst>
        </pc:spChg>
        <pc:spChg chg="mod ord">
          <ac:chgData name="Kahfeel Hussain (MiddleEast)" userId="44dd8832-bc3a-437f-ab6c-eb5eea65aad5" providerId="ADAL" clId="{E35F6880-E46C-4554-8DCA-07C0276F671F}" dt="2026-01-06T13:44:51.664" v="3670"/>
          <ac:spMkLst>
            <pc:docMk/>
            <pc:sldMk cId="3683836732" sldId="308"/>
            <ac:spMk id="14" creationId="{A02C0ED4-A663-76A6-2989-E7B0A0ACE104}"/>
          </ac:spMkLst>
        </pc:spChg>
        <pc:spChg chg="mod ord">
          <ac:chgData name="Kahfeel Hussain (MiddleEast)" userId="44dd8832-bc3a-437f-ab6c-eb5eea65aad5" providerId="ADAL" clId="{E35F6880-E46C-4554-8DCA-07C0276F671F}" dt="2026-01-06T13:44:51.661" v="3660"/>
          <ac:spMkLst>
            <pc:docMk/>
            <pc:sldMk cId="3683836732" sldId="308"/>
            <ac:spMk id="17" creationId="{56468187-DB0E-3E1D-F2F1-9FFAA5940800}"/>
          </ac:spMkLst>
        </pc:spChg>
        <pc:spChg chg="mod ord">
          <ac:chgData name="Kahfeel Hussain (MiddleEast)" userId="44dd8832-bc3a-437f-ab6c-eb5eea65aad5" providerId="ADAL" clId="{E35F6880-E46C-4554-8DCA-07C0276F671F}" dt="2026-01-06T13:44:51.661" v="3661"/>
          <ac:spMkLst>
            <pc:docMk/>
            <pc:sldMk cId="3683836732" sldId="308"/>
            <ac:spMk id="18" creationId="{F06F91E1-9C19-E5DF-19DD-5FD29923B94F}"/>
          </ac:spMkLst>
        </pc:spChg>
        <pc:spChg chg="mod ord">
          <ac:chgData name="Kahfeel Hussain (MiddleEast)" userId="44dd8832-bc3a-437f-ab6c-eb5eea65aad5" providerId="ADAL" clId="{E35F6880-E46C-4554-8DCA-07C0276F671F}" dt="2026-01-06T13:44:51.664" v="3669"/>
          <ac:spMkLst>
            <pc:docMk/>
            <pc:sldMk cId="3683836732" sldId="308"/>
            <ac:spMk id="20" creationId="{40F12368-9206-8479-3492-EC94BD05B5E5}"/>
          </ac:spMkLst>
        </pc:spChg>
        <pc:spChg chg="mod">
          <ac:chgData name="Kahfeel Hussain (MiddleEast)" userId="44dd8832-bc3a-437f-ab6c-eb5eea65aad5" providerId="ADAL" clId="{E35F6880-E46C-4554-8DCA-07C0276F671F}" dt="2026-01-06T13:44:48.616" v="3589"/>
          <ac:spMkLst>
            <pc:docMk/>
            <pc:sldMk cId="3683836732" sldId="308"/>
            <ac:spMk id="21" creationId="{FDB48F85-404F-0011-7969-4A720B0E4C7B}"/>
          </ac:spMkLst>
        </pc:spChg>
        <pc:spChg chg="mod">
          <ac:chgData name="Kahfeel Hussain (MiddleEast)" userId="44dd8832-bc3a-437f-ab6c-eb5eea65aad5" providerId="ADAL" clId="{E35F6880-E46C-4554-8DCA-07C0276F671F}" dt="2026-01-06T13:44:48.618" v="3590"/>
          <ac:spMkLst>
            <pc:docMk/>
            <pc:sldMk cId="3683836732" sldId="308"/>
            <ac:spMk id="27" creationId="{02FE9141-CC62-0CBF-D6E6-051AB1BE716F}"/>
          </ac:spMkLst>
        </pc:spChg>
        <pc:spChg chg="del">
          <ac:chgData name="Kahfeel Hussain (MiddleEast)" userId="44dd8832-bc3a-437f-ab6c-eb5eea65aad5" providerId="ADAL" clId="{E35F6880-E46C-4554-8DCA-07C0276F671F}" dt="2026-01-05T22:39:46.327" v="2826" actId="478"/>
          <ac:spMkLst>
            <pc:docMk/>
            <pc:sldMk cId="3683836732" sldId="308"/>
            <ac:spMk id="28" creationId="{C5A6BB98-9001-3314-9FB3-43504BF80AAA}"/>
          </ac:spMkLst>
        </pc:spChg>
        <pc:spChg chg="mod ord">
          <ac:chgData name="Kahfeel Hussain (MiddleEast)" userId="44dd8832-bc3a-437f-ab6c-eb5eea65aad5" providerId="ADAL" clId="{E35F6880-E46C-4554-8DCA-07C0276F671F}" dt="2026-01-06T13:44:51.663" v="3668"/>
          <ac:spMkLst>
            <pc:docMk/>
            <pc:sldMk cId="3683836732" sldId="308"/>
            <ac:spMk id="30" creationId="{849870F9-3183-A189-EB06-5BB6032E3D52}"/>
          </ac:spMkLst>
        </pc:spChg>
        <pc:spChg chg="mod ord">
          <ac:chgData name="Kahfeel Hussain (MiddleEast)" userId="44dd8832-bc3a-437f-ab6c-eb5eea65aad5" providerId="ADAL" clId="{E35F6880-E46C-4554-8DCA-07C0276F671F}" dt="2026-01-06T13:44:51.663" v="3667"/>
          <ac:spMkLst>
            <pc:docMk/>
            <pc:sldMk cId="3683836732" sldId="308"/>
            <ac:spMk id="32" creationId="{C1F5E498-0B29-A0F7-F1E5-C55E23515BE9}"/>
          </ac:spMkLst>
        </pc:spChg>
        <pc:spChg chg="mod ord">
          <ac:chgData name="Kahfeel Hussain (MiddleEast)" userId="44dd8832-bc3a-437f-ab6c-eb5eea65aad5" providerId="ADAL" clId="{E35F6880-E46C-4554-8DCA-07C0276F671F}" dt="2026-01-06T13:44:51.654" v="3639"/>
          <ac:spMkLst>
            <pc:docMk/>
            <pc:sldMk cId="3683836732" sldId="308"/>
            <ac:spMk id="37" creationId="{9AD12BFB-D6B8-96E1-EE38-0D138DAEE748}"/>
          </ac:spMkLst>
        </pc:spChg>
        <pc:spChg chg="mod">
          <ac:chgData name="Kahfeel Hussain (MiddleEast)" userId="44dd8832-bc3a-437f-ab6c-eb5eea65aad5" providerId="ADAL" clId="{E35F6880-E46C-4554-8DCA-07C0276F671F}" dt="2026-01-06T13:44:52.080" v="3901"/>
          <ac:spMkLst>
            <pc:docMk/>
            <pc:sldMk cId="3683836732" sldId="308"/>
            <ac:spMk id="38" creationId="{015FA07C-7B2B-F714-5791-099F856E1D50}"/>
          </ac:spMkLst>
        </pc:spChg>
        <pc:spChg chg="mod ord">
          <ac:chgData name="Kahfeel Hussain (MiddleEast)" userId="44dd8832-bc3a-437f-ab6c-eb5eea65aad5" providerId="ADAL" clId="{E35F6880-E46C-4554-8DCA-07C0276F671F}" dt="2026-01-06T13:44:51.653" v="3637"/>
          <ac:spMkLst>
            <pc:docMk/>
            <pc:sldMk cId="3683836732" sldId="308"/>
            <ac:spMk id="43" creationId="{9DFB8CF8-A841-BE54-11FC-ACF31A9C4FC7}"/>
          </ac:spMkLst>
        </pc:spChg>
        <pc:spChg chg="add mod">
          <ac:chgData name="Kahfeel Hussain (MiddleEast)" userId="44dd8832-bc3a-437f-ab6c-eb5eea65aad5" providerId="ADAL" clId="{E35F6880-E46C-4554-8DCA-07C0276F671F}" dt="2026-01-06T13:44:52.080" v="3901"/>
          <ac:spMkLst>
            <pc:docMk/>
            <pc:sldMk cId="3683836732" sldId="308"/>
            <ac:spMk id="44" creationId="{1B9FFEF0-52CF-FF52-DC8E-8E16406DEC51}"/>
          </ac:spMkLst>
        </pc:spChg>
        <pc:spChg chg="mod ord">
          <ac:chgData name="Kahfeel Hussain (MiddleEast)" userId="44dd8832-bc3a-437f-ab6c-eb5eea65aad5" providerId="ADAL" clId="{E35F6880-E46C-4554-8DCA-07C0276F671F}" dt="2026-01-06T13:44:52.080" v="3901"/>
          <ac:spMkLst>
            <pc:docMk/>
            <pc:sldMk cId="3683836732" sldId="308"/>
            <ac:spMk id="49" creationId="{5D263AC5-698E-6EBA-2789-076E06CCE620}"/>
          </ac:spMkLst>
        </pc:spChg>
        <pc:spChg chg="mod ord">
          <ac:chgData name="Kahfeel Hussain (MiddleEast)" userId="44dd8832-bc3a-437f-ab6c-eb5eea65aad5" providerId="ADAL" clId="{E35F6880-E46C-4554-8DCA-07C0276F671F}" dt="2026-01-06T13:44:51.665" v="3672"/>
          <ac:spMkLst>
            <pc:docMk/>
            <pc:sldMk cId="3683836732" sldId="308"/>
            <ac:spMk id="50" creationId="{2E128697-8C4E-8C2F-AE56-1E4A4BA28BDA}"/>
          </ac:spMkLst>
        </pc:spChg>
        <pc:spChg chg="mod">
          <ac:chgData name="Kahfeel Hussain (MiddleEast)" userId="44dd8832-bc3a-437f-ab6c-eb5eea65aad5" providerId="ADAL" clId="{E35F6880-E46C-4554-8DCA-07C0276F671F}" dt="2026-01-06T13:44:48.621" v="3593"/>
          <ac:spMkLst>
            <pc:docMk/>
            <pc:sldMk cId="3683836732" sldId="308"/>
            <ac:spMk id="52" creationId="{F0635B4B-3E6C-84A0-0652-F0D090A2EB1A}"/>
          </ac:spMkLst>
        </pc:spChg>
        <pc:spChg chg="del">
          <ac:chgData name="Kahfeel Hussain (MiddleEast)" userId="44dd8832-bc3a-437f-ab6c-eb5eea65aad5" providerId="ADAL" clId="{E35F6880-E46C-4554-8DCA-07C0276F671F}" dt="2026-01-05T22:39:46.327" v="2826" actId="478"/>
          <ac:spMkLst>
            <pc:docMk/>
            <pc:sldMk cId="3683836732" sldId="308"/>
            <ac:spMk id="53" creationId="{019CC2BE-B54F-B9CD-E554-2A9E93725008}"/>
          </ac:spMkLst>
        </pc:spChg>
        <pc:spChg chg="mod ord">
          <ac:chgData name="Kahfeel Hussain (MiddleEast)" userId="44dd8832-bc3a-437f-ab6c-eb5eea65aad5" providerId="ADAL" clId="{E35F6880-E46C-4554-8DCA-07C0276F671F}" dt="2026-01-06T13:44:51.652" v="3633"/>
          <ac:spMkLst>
            <pc:docMk/>
            <pc:sldMk cId="3683836732" sldId="308"/>
            <ac:spMk id="59" creationId="{208E0B26-0251-F5E5-083D-E640B2C03905}"/>
          </ac:spMkLst>
        </pc:spChg>
        <pc:spChg chg="mod ord">
          <ac:chgData name="Kahfeel Hussain (MiddleEast)" userId="44dd8832-bc3a-437f-ab6c-eb5eea65aad5" providerId="ADAL" clId="{E35F6880-E46C-4554-8DCA-07C0276F671F}" dt="2026-01-06T13:44:51.662" v="3663"/>
          <ac:spMkLst>
            <pc:docMk/>
            <pc:sldMk cId="3683836732" sldId="308"/>
            <ac:spMk id="61" creationId="{C9AD490F-4A82-F60E-83EC-7739E72246EC}"/>
          </ac:spMkLst>
        </pc:spChg>
        <pc:spChg chg="add mod">
          <ac:chgData name="Kahfeel Hussain (MiddleEast)" userId="44dd8832-bc3a-437f-ab6c-eb5eea65aad5" providerId="ADAL" clId="{E35F6880-E46C-4554-8DCA-07C0276F671F}" dt="2026-01-06T13:44:48.622" v="3594"/>
          <ac:spMkLst>
            <pc:docMk/>
            <pc:sldMk cId="3683836732" sldId="308"/>
            <ac:spMk id="62" creationId="{910A3333-8E01-5096-23AB-508224AAA3D0}"/>
          </ac:spMkLst>
        </pc:spChg>
        <pc:spChg chg="add mod">
          <ac:chgData name="Kahfeel Hussain (MiddleEast)" userId="44dd8832-bc3a-437f-ab6c-eb5eea65aad5" providerId="ADAL" clId="{E35F6880-E46C-4554-8DCA-07C0276F671F}" dt="2026-01-06T13:44:48.623" v="3595"/>
          <ac:spMkLst>
            <pc:docMk/>
            <pc:sldMk cId="3683836732" sldId="308"/>
            <ac:spMk id="65" creationId="{1705E134-D779-3713-44DD-053AF45B4845}"/>
          </ac:spMkLst>
        </pc:spChg>
        <pc:spChg chg="del">
          <ac:chgData name="Kahfeel Hussain (MiddleEast)" userId="44dd8832-bc3a-437f-ab6c-eb5eea65aad5" providerId="ADAL" clId="{E35F6880-E46C-4554-8DCA-07C0276F671F}" dt="2026-01-05T22:39:35.250" v="2825" actId="478"/>
          <ac:spMkLst>
            <pc:docMk/>
            <pc:sldMk cId="3683836732" sldId="308"/>
            <ac:spMk id="72" creationId="{CC9E781E-F230-3572-B074-73EF864D20ED}"/>
          </ac:spMkLst>
        </pc:spChg>
        <pc:spChg chg="del">
          <ac:chgData name="Kahfeel Hussain (MiddleEast)" userId="44dd8832-bc3a-437f-ab6c-eb5eea65aad5" providerId="ADAL" clId="{E35F6880-E46C-4554-8DCA-07C0276F671F}" dt="2026-01-05T22:39:35.250" v="2825" actId="478"/>
          <ac:spMkLst>
            <pc:docMk/>
            <pc:sldMk cId="3683836732" sldId="308"/>
            <ac:spMk id="73" creationId="{CCF30C1C-E08E-2DC5-35B4-65A1BD6D6F26}"/>
          </ac:spMkLst>
        </pc:spChg>
        <pc:spChg chg="del">
          <ac:chgData name="Kahfeel Hussain (MiddleEast)" userId="44dd8832-bc3a-437f-ab6c-eb5eea65aad5" providerId="ADAL" clId="{E35F6880-E46C-4554-8DCA-07C0276F671F}" dt="2026-01-05T22:39:35.250" v="2825" actId="478"/>
          <ac:spMkLst>
            <pc:docMk/>
            <pc:sldMk cId="3683836732" sldId="308"/>
            <ac:spMk id="74" creationId="{6D44C9DF-817A-FC5F-4D8A-BC7E6BE6FB63}"/>
          </ac:spMkLst>
        </pc:spChg>
        <pc:spChg chg="mod">
          <ac:chgData name="Kahfeel Hussain (MiddleEast)" userId="44dd8832-bc3a-437f-ab6c-eb5eea65aad5" providerId="ADAL" clId="{E35F6880-E46C-4554-8DCA-07C0276F671F}" dt="2026-01-06T13:44:48.624" v="3596"/>
          <ac:spMkLst>
            <pc:docMk/>
            <pc:sldMk cId="3683836732" sldId="308"/>
            <ac:spMk id="75" creationId="{21D428D8-FC4D-E3E9-FCE7-625E712BEF52}"/>
          </ac:spMkLst>
        </pc:spChg>
        <pc:spChg chg="mod ord">
          <ac:chgData name="Kahfeel Hussain (MiddleEast)" userId="44dd8832-bc3a-437f-ab6c-eb5eea65aad5" providerId="ADAL" clId="{E35F6880-E46C-4554-8DCA-07C0276F671F}" dt="2026-01-06T13:44:51.665" v="3671"/>
          <ac:spMkLst>
            <pc:docMk/>
            <pc:sldMk cId="3683836732" sldId="308"/>
            <ac:spMk id="76" creationId="{3E91B533-E307-9F3D-C404-57D64D73E7C4}"/>
          </ac:spMkLst>
        </pc:spChg>
        <pc:spChg chg="mod ord">
          <ac:chgData name="Kahfeel Hussain (MiddleEast)" userId="44dd8832-bc3a-437f-ab6c-eb5eea65aad5" providerId="ADAL" clId="{E35F6880-E46C-4554-8DCA-07C0276F671F}" dt="2026-01-06T13:44:51.661" v="3658"/>
          <ac:spMkLst>
            <pc:docMk/>
            <pc:sldMk cId="3683836732" sldId="308"/>
            <ac:spMk id="77" creationId="{38D88B89-C7F4-58AF-7DC1-EFCED24EDA62}"/>
          </ac:spMkLst>
        </pc:spChg>
        <pc:spChg chg="add mod">
          <ac:chgData name="Kahfeel Hussain (MiddleEast)" userId="44dd8832-bc3a-437f-ab6c-eb5eea65aad5" providerId="ADAL" clId="{E35F6880-E46C-4554-8DCA-07C0276F671F}" dt="2026-01-06T13:44:48.625" v="3597"/>
          <ac:spMkLst>
            <pc:docMk/>
            <pc:sldMk cId="3683836732" sldId="308"/>
            <ac:spMk id="78" creationId="{358CB5D7-0BE8-141D-9E9B-04179A238CBD}"/>
          </ac:spMkLst>
        </pc:spChg>
        <pc:spChg chg="mod ord">
          <ac:chgData name="Kahfeel Hussain (MiddleEast)" userId="44dd8832-bc3a-437f-ab6c-eb5eea65aad5" providerId="ADAL" clId="{E35F6880-E46C-4554-8DCA-07C0276F671F}" dt="2026-01-06T13:44:52.080" v="3901"/>
          <ac:spMkLst>
            <pc:docMk/>
            <pc:sldMk cId="3683836732" sldId="308"/>
            <ac:spMk id="79" creationId="{218169B4-960F-D0FA-85B3-5CDCBC81E327}"/>
          </ac:spMkLst>
        </pc:spChg>
        <pc:spChg chg="add mod ord">
          <ac:chgData name="Kahfeel Hussain (MiddleEast)" userId="44dd8832-bc3a-437f-ab6c-eb5eea65aad5" providerId="ADAL" clId="{E35F6880-E46C-4554-8DCA-07C0276F671F}" dt="2026-01-06T13:44:51.852" v="3822" actId="1076"/>
          <ac:spMkLst>
            <pc:docMk/>
            <pc:sldMk cId="3683836732" sldId="308"/>
            <ac:spMk id="81" creationId="{B98F1955-B7D3-FEC6-E051-01B1DDBCB8E1}"/>
          </ac:spMkLst>
        </pc:spChg>
        <pc:spChg chg="mod">
          <ac:chgData name="Kahfeel Hussain (MiddleEast)" userId="44dd8832-bc3a-437f-ab6c-eb5eea65aad5" providerId="ADAL" clId="{E35F6880-E46C-4554-8DCA-07C0276F671F}" dt="2026-01-06T13:44:48.563" v="3522"/>
          <ac:spMkLst>
            <pc:docMk/>
            <pc:sldMk cId="3683836732" sldId="308"/>
            <ac:spMk id="82" creationId="{9B79D1B1-E945-AB44-95FA-8AA92554CA1B}"/>
          </ac:spMkLst>
        </pc:spChg>
        <pc:spChg chg="add mod ord">
          <ac:chgData name="Kahfeel Hussain (MiddleEast)" userId="44dd8832-bc3a-437f-ab6c-eb5eea65aad5" providerId="ADAL" clId="{E35F6880-E46C-4554-8DCA-07C0276F671F}" dt="2026-01-06T13:44:51.964" v="3900" actId="20577"/>
          <ac:spMkLst>
            <pc:docMk/>
            <pc:sldMk cId="3683836732" sldId="308"/>
            <ac:spMk id="83" creationId="{079F7CCC-0A26-2D46-2D9E-72E375C0F7F6}"/>
          </ac:spMkLst>
        </pc:spChg>
        <pc:spChg chg="mod">
          <ac:chgData name="Kahfeel Hussain (MiddleEast)" userId="44dd8832-bc3a-437f-ab6c-eb5eea65aad5" providerId="ADAL" clId="{E35F6880-E46C-4554-8DCA-07C0276F671F}" dt="2026-01-06T13:44:48.564" v="3523"/>
          <ac:spMkLst>
            <pc:docMk/>
            <pc:sldMk cId="3683836732" sldId="308"/>
            <ac:spMk id="84" creationId="{1397F352-1BB0-CB95-A8AA-CA19AF65D850}"/>
          </ac:spMkLst>
        </pc:spChg>
        <pc:spChg chg="mod">
          <ac:chgData name="Kahfeel Hussain (MiddleEast)" userId="44dd8832-bc3a-437f-ab6c-eb5eea65aad5" providerId="ADAL" clId="{E35F6880-E46C-4554-8DCA-07C0276F671F}" dt="2026-01-06T13:44:48.628" v="3604"/>
          <ac:spMkLst>
            <pc:docMk/>
            <pc:sldMk cId="3683836732" sldId="308"/>
            <ac:spMk id="85" creationId="{5F0D7D97-50EC-6A54-B6FF-988D8FD9C40E}"/>
          </ac:spMkLst>
        </pc:spChg>
        <pc:spChg chg="mod">
          <ac:chgData name="Kahfeel Hussain (MiddleEast)" userId="44dd8832-bc3a-437f-ab6c-eb5eea65aad5" providerId="ADAL" clId="{E35F6880-E46C-4554-8DCA-07C0276F671F}" dt="2026-01-06T13:44:48.565" v="3524"/>
          <ac:spMkLst>
            <pc:docMk/>
            <pc:sldMk cId="3683836732" sldId="308"/>
            <ac:spMk id="86" creationId="{2B5A1ABD-ADC3-28A6-BFAD-2341179EB6BD}"/>
          </ac:spMkLst>
        </pc:spChg>
        <pc:spChg chg="mod">
          <ac:chgData name="Kahfeel Hussain (MiddleEast)" userId="44dd8832-bc3a-437f-ab6c-eb5eea65aad5" providerId="ADAL" clId="{E35F6880-E46C-4554-8DCA-07C0276F671F}" dt="2026-01-06T13:44:48.629" v="3605"/>
          <ac:spMkLst>
            <pc:docMk/>
            <pc:sldMk cId="3683836732" sldId="308"/>
            <ac:spMk id="87" creationId="{87C24A01-5FEB-A8B3-98FF-A00ABA66EF2E}"/>
          </ac:spMkLst>
        </pc:spChg>
        <pc:spChg chg="mod">
          <ac:chgData name="Kahfeel Hussain (MiddleEast)" userId="44dd8832-bc3a-437f-ab6c-eb5eea65aad5" providerId="ADAL" clId="{E35F6880-E46C-4554-8DCA-07C0276F671F}" dt="2026-01-06T13:44:48.566" v="3525"/>
          <ac:spMkLst>
            <pc:docMk/>
            <pc:sldMk cId="3683836732" sldId="308"/>
            <ac:spMk id="88" creationId="{C2FAF827-8BA9-15A4-63D2-BA39FB0E1FF6}"/>
          </ac:spMkLst>
        </pc:spChg>
        <pc:spChg chg="mod">
          <ac:chgData name="Kahfeel Hussain (MiddleEast)" userId="44dd8832-bc3a-437f-ab6c-eb5eea65aad5" providerId="ADAL" clId="{E35F6880-E46C-4554-8DCA-07C0276F671F}" dt="2026-01-06T13:44:48.562" v="3520"/>
          <ac:spMkLst>
            <pc:docMk/>
            <pc:sldMk cId="3683836732" sldId="308"/>
            <ac:spMk id="89" creationId="{32808FE3-9C4A-965E-6ACA-16DA80916EF7}"/>
          </ac:spMkLst>
        </pc:spChg>
        <pc:spChg chg="mod ord">
          <ac:chgData name="Kahfeel Hussain (MiddleEast)" userId="44dd8832-bc3a-437f-ab6c-eb5eea65aad5" providerId="ADAL" clId="{E35F6880-E46C-4554-8DCA-07C0276F671F}" dt="2026-01-06T13:44:52.080" v="3901"/>
          <ac:spMkLst>
            <pc:docMk/>
            <pc:sldMk cId="3683836732" sldId="308"/>
            <ac:spMk id="90" creationId="{26EF5C15-E664-DE62-F2CB-C0889862E7AC}"/>
          </ac:spMkLst>
        </pc:spChg>
        <pc:spChg chg="mod">
          <ac:chgData name="Kahfeel Hussain (MiddleEast)" userId="44dd8832-bc3a-437f-ab6c-eb5eea65aad5" providerId="ADAL" clId="{E35F6880-E46C-4554-8DCA-07C0276F671F}" dt="2026-01-06T13:44:48.567" v="3526"/>
          <ac:spMkLst>
            <pc:docMk/>
            <pc:sldMk cId="3683836732" sldId="308"/>
            <ac:spMk id="91" creationId="{37022131-80DB-9CB3-FE37-F7B4A72B2BAE}"/>
          </ac:spMkLst>
        </pc:spChg>
        <pc:spChg chg="mod">
          <ac:chgData name="Kahfeel Hussain (MiddleEast)" userId="44dd8832-bc3a-437f-ab6c-eb5eea65aad5" providerId="ADAL" clId="{E35F6880-E46C-4554-8DCA-07C0276F671F}" dt="2026-01-06T13:44:48.563" v="3521"/>
          <ac:spMkLst>
            <pc:docMk/>
            <pc:sldMk cId="3683836732" sldId="308"/>
            <ac:spMk id="92" creationId="{F5A631FF-ECCC-5A5B-357F-B70344BF71FE}"/>
          </ac:spMkLst>
        </pc:spChg>
        <pc:spChg chg="mod ord">
          <ac:chgData name="Kahfeel Hussain (MiddleEast)" userId="44dd8832-bc3a-437f-ab6c-eb5eea65aad5" providerId="ADAL" clId="{E35F6880-E46C-4554-8DCA-07C0276F671F}" dt="2026-01-06T13:44:51.657" v="3646"/>
          <ac:spMkLst>
            <pc:docMk/>
            <pc:sldMk cId="3683836732" sldId="308"/>
            <ac:spMk id="93" creationId="{11DA4592-1B95-66F9-A661-44D5379BC60F}"/>
          </ac:spMkLst>
        </pc:spChg>
        <pc:spChg chg="mod">
          <ac:chgData name="Kahfeel Hussain (MiddleEast)" userId="44dd8832-bc3a-437f-ab6c-eb5eea65aad5" providerId="ADAL" clId="{E35F6880-E46C-4554-8DCA-07C0276F671F}" dt="2026-01-06T13:44:48.568" v="3528"/>
          <ac:spMkLst>
            <pc:docMk/>
            <pc:sldMk cId="3683836732" sldId="308"/>
            <ac:spMk id="94" creationId="{7841029B-6EA2-667D-EF57-815286DA2ADB}"/>
          </ac:spMkLst>
        </pc:spChg>
        <pc:spChg chg="mod">
          <ac:chgData name="Kahfeel Hussain (MiddleEast)" userId="44dd8832-bc3a-437f-ab6c-eb5eea65aad5" providerId="ADAL" clId="{E35F6880-E46C-4554-8DCA-07C0276F671F}" dt="2026-01-06T13:44:52.080" v="3901"/>
          <ac:spMkLst>
            <pc:docMk/>
            <pc:sldMk cId="3683836732" sldId="308"/>
            <ac:spMk id="95" creationId="{5834D80B-21FD-71A9-E2E9-60EE8797D6B2}"/>
          </ac:spMkLst>
        </pc:spChg>
        <pc:spChg chg="add mod">
          <ac:chgData name="Kahfeel Hussain (MiddleEast)" userId="44dd8832-bc3a-437f-ab6c-eb5eea65aad5" providerId="ADAL" clId="{E35F6880-E46C-4554-8DCA-07C0276F671F}" dt="2026-01-06T13:44:48.630" v="3607"/>
          <ac:spMkLst>
            <pc:docMk/>
            <pc:sldMk cId="3683836732" sldId="308"/>
            <ac:spMk id="96" creationId="{34436F86-971C-B0FF-057A-54A7562CFC42}"/>
          </ac:spMkLst>
        </pc:spChg>
        <pc:spChg chg="mod">
          <ac:chgData name="Kahfeel Hussain (MiddleEast)" userId="44dd8832-bc3a-437f-ab6c-eb5eea65aad5" providerId="ADAL" clId="{E35F6880-E46C-4554-8DCA-07C0276F671F}" dt="2026-01-06T13:44:48.632" v="3608"/>
          <ac:spMkLst>
            <pc:docMk/>
            <pc:sldMk cId="3683836732" sldId="308"/>
            <ac:spMk id="97" creationId="{B1A94193-0DEB-6021-71D9-88EB484EF5BF}"/>
          </ac:spMkLst>
        </pc:spChg>
        <pc:spChg chg="add mod">
          <ac:chgData name="Kahfeel Hussain (MiddleEast)" userId="44dd8832-bc3a-437f-ab6c-eb5eea65aad5" providerId="ADAL" clId="{E35F6880-E46C-4554-8DCA-07C0276F671F}" dt="2026-01-06T13:44:52.080" v="3901"/>
          <ac:spMkLst>
            <pc:docMk/>
            <pc:sldMk cId="3683836732" sldId="308"/>
            <ac:spMk id="98" creationId="{A9C81069-0EDF-5F29-1387-317E38E251C2}"/>
          </ac:spMkLst>
        </pc:spChg>
        <pc:spChg chg="mod">
          <ac:chgData name="Kahfeel Hussain (MiddleEast)" userId="44dd8832-bc3a-437f-ab6c-eb5eea65aad5" providerId="ADAL" clId="{E35F6880-E46C-4554-8DCA-07C0276F671F}" dt="2026-01-06T13:44:48.576" v="3535"/>
          <ac:spMkLst>
            <pc:docMk/>
            <pc:sldMk cId="3683836732" sldId="308"/>
            <ac:spMk id="99" creationId="{C6163CB2-83EC-09A7-E92B-5486935D2300}"/>
          </ac:spMkLst>
        </pc:spChg>
        <pc:spChg chg="add mod">
          <ac:chgData name="Kahfeel Hussain (MiddleEast)" userId="44dd8832-bc3a-437f-ab6c-eb5eea65aad5" providerId="ADAL" clId="{E35F6880-E46C-4554-8DCA-07C0276F671F}" dt="2026-01-06T13:44:48.635" v="3610"/>
          <ac:spMkLst>
            <pc:docMk/>
            <pc:sldMk cId="3683836732" sldId="308"/>
            <ac:spMk id="100" creationId="{40FA9E27-5E8C-6D28-928B-0EFCECEE66EF}"/>
          </ac:spMkLst>
        </pc:spChg>
        <pc:spChg chg="mod">
          <ac:chgData name="Kahfeel Hussain (MiddleEast)" userId="44dd8832-bc3a-437f-ab6c-eb5eea65aad5" providerId="ADAL" clId="{E35F6880-E46C-4554-8DCA-07C0276F671F}" dt="2026-01-06T13:44:48.578" v="3537"/>
          <ac:spMkLst>
            <pc:docMk/>
            <pc:sldMk cId="3683836732" sldId="308"/>
            <ac:spMk id="101" creationId="{CA101EE5-FECA-E304-D870-2FAF5910C38F}"/>
          </ac:spMkLst>
        </pc:spChg>
        <pc:spChg chg="add mod">
          <ac:chgData name="Kahfeel Hussain (MiddleEast)" userId="44dd8832-bc3a-437f-ab6c-eb5eea65aad5" providerId="ADAL" clId="{E35F6880-E46C-4554-8DCA-07C0276F671F}" dt="2026-01-06T13:44:52.080" v="3901"/>
          <ac:spMkLst>
            <pc:docMk/>
            <pc:sldMk cId="3683836732" sldId="308"/>
            <ac:spMk id="102" creationId="{78A3061E-D48E-17D4-F2BE-B77A882FDB74}"/>
          </ac:spMkLst>
        </pc:spChg>
        <pc:spChg chg="mod">
          <ac:chgData name="Kahfeel Hussain (MiddleEast)" userId="44dd8832-bc3a-437f-ab6c-eb5eea65aad5" providerId="ADAL" clId="{E35F6880-E46C-4554-8DCA-07C0276F671F}" dt="2026-01-06T13:44:48.636" v="3612"/>
          <ac:spMkLst>
            <pc:docMk/>
            <pc:sldMk cId="3683836732" sldId="308"/>
            <ac:spMk id="103" creationId="{BB599F56-D008-9F08-FC8E-CE876A5CF507}"/>
          </ac:spMkLst>
        </pc:spChg>
        <pc:spChg chg="mod">
          <ac:chgData name="Kahfeel Hussain (MiddleEast)" userId="44dd8832-bc3a-437f-ab6c-eb5eea65aad5" providerId="ADAL" clId="{E35F6880-E46C-4554-8DCA-07C0276F671F}" dt="2026-01-06T13:44:52.080" v="3901"/>
          <ac:spMkLst>
            <pc:docMk/>
            <pc:sldMk cId="3683836732" sldId="308"/>
            <ac:spMk id="104" creationId="{459E4A0C-8331-DEC0-9277-C208FBED9313}"/>
          </ac:spMkLst>
        </pc:spChg>
        <pc:spChg chg="mod">
          <ac:chgData name="Kahfeel Hussain (MiddleEast)" userId="44dd8832-bc3a-437f-ab6c-eb5eea65aad5" providerId="ADAL" clId="{E35F6880-E46C-4554-8DCA-07C0276F671F}" dt="2026-01-06T13:44:48.581" v="3541"/>
          <ac:spMkLst>
            <pc:docMk/>
            <pc:sldMk cId="3683836732" sldId="308"/>
            <ac:spMk id="105" creationId="{395974D3-88AC-B89F-3791-8B64FD6DE5D0}"/>
          </ac:spMkLst>
        </pc:spChg>
        <pc:spChg chg="mod">
          <ac:chgData name="Kahfeel Hussain (MiddleEast)" userId="44dd8832-bc3a-437f-ab6c-eb5eea65aad5" providerId="ADAL" clId="{E35F6880-E46C-4554-8DCA-07C0276F671F}" dt="2026-01-06T13:44:52.080" v="3901"/>
          <ac:spMkLst>
            <pc:docMk/>
            <pc:sldMk cId="3683836732" sldId="308"/>
            <ac:spMk id="106" creationId="{D80D5F59-65D5-CFF4-DE02-88ED4BD55910}"/>
          </ac:spMkLst>
        </pc:spChg>
        <pc:spChg chg="mod">
          <ac:chgData name="Kahfeel Hussain (MiddleEast)" userId="44dd8832-bc3a-437f-ab6c-eb5eea65aad5" providerId="ADAL" clId="{E35F6880-E46C-4554-8DCA-07C0276F671F}" dt="2026-01-06T13:44:48.583" v="3543"/>
          <ac:spMkLst>
            <pc:docMk/>
            <pc:sldMk cId="3683836732" sldId="308"/>
            <ac:spMk id="107" creationId="{06B81DF9-9E17-5D41-4803-A9CA54D8858B}"/>
          </ac:spMkLst>
        </pc:spChg>
        <pc:spChg chg="mod">
          <ac:chgData name="Kahfeel Hussain (MiddleEast)" userId="44dd8832-bc3a-437f-ab6c-eb5eea65aad5" providerId="ADAL" clId="{E35F6880-E46C-4554-8DCA-07C0276F671F}" dt="2026-01-06T13:44:48.579" v="3539"/>
          <ac:spMkLst>
            <pc:docMk/>
            <pc:sldMk cId="3683836732" sldId="308"/>
            <ac:spMk id="108" creationId="{CD5D74FD-2F25-A660-A8C6-8A13794237EC}"/>
          </ac:spMkLst>
        </pc:spChg>
        <pc:spChg chg="mod">
          <ac:chgData name="Kahfeel Hussain (MiddleEast)" userId="44dd8832-bc3a-437f-ab6c-eb5eea65aad5" providerId="ADAL" clId="{E35F6880-E46C-4554-8DCA-07C0276F671F}" dt="2026-01-06T13:44:48.587" v="3545"/>
          <ac:spMkLst>
            <pc:docMk/>
            <pc:sldMk cId="3683836732" sldId="308"/>
            <ac:spMk id="109" creationId="{768E7545-0EC8-7B3B-C5DF-1E9BBC8C7C50}"/>
          </ac:spMkLst>
        </pc:spChg>
        <pc:spChg chg="add del mod modVis">
          <ac:chgData name="Kahfeel Hussain (MiddleEast)" userId="44dd8832-bc3a-437f-ab6c-eb5eea65aad5" providerId="ADAL" clId="{E35F6880-E46C-4554-8DCA-07C0276F671F}" dt="2026-01-06T13:44:51.944" v="3889" actId="962"/>
          <ac:spMkLst>
            <pc:docMk/>
            <pc:sldMk cId="3683836732" sldId="308"/>
            <ac:spMk id="110" creationId="{CE6FBB16-AF13-6028-B7E6-5319E8AD5388}"/>
          </ac:spMkLst>
        </pc:spChg>
        <pc:spChg chg="mod">
          <ac:chgData name="Kahfeel Hussain (MiddleEast)" userId="44dd8832-bc3a-437f-ab6c-eb5eea65aad5" providerId="ADAL" clId="{E35F6880-E46C-4554-8DCA-07C0276F671F}" dt="2026-01-06T13:44:48.605" v="3570"/>
          <ac:spMkLst>
            <pc:docMk/>
            <pc:sldMk cId="3683836732" sldId="308"/>
            <ac:spMk id="114" creationId="{A12EC90C-925B-6C78-D353-2C59BA394DD9}"/>
          </ac:spMkLst>
        </pc:spChg>
        <pc:spChg chg="mod">
          <ac:chgData name="Kahfeel Hussain (MiddleEast)" userId="44dd8832-bc3a-437f-ab6c-eb5eea65aad5" providerId="ADAL" clId="{E35F6880-E46C-4554-8DCA-07C0276F671F}" dt="2026-01-06T13:44:48.567" v="3527"/>
          <ac:spMkLst>
            <pc:docMk/>
            <pc:sldMk cId="3683836732" sldId="308"/>
            <ac:spMk id="118" creationId="{8736F800-DCDD-BC90-7B5F-64CFBCA8B59E}"/>
          </ac:spMkLst>
        </pc:spChg>
        <pc:spChg chg="mod">
          <ac:chgData name="Kahfeel Hussain (MiddleEast)" userId="44dd8832-bc3a-437f-ab6c-eb5eea65aad5" providerId="ADAL" clId="{E35F6880-E46C-4554-8DCA-07C0276F671F}" dt="2026-01-06T13:44:48.580" v="3540"/>
          <ac:spMkLst>
            <pc:docMk/>
            <pc:sldMk cId="3683836732" sldId="308"/>
            <ac:spMk id="135" creationId="{21D17E02-D884-2091-DD37-9EB9B4FBA104}"/>
          </ac:spMkLst>
        </pc:spChg>
        <pc:spChg chg="mod ord">
          <ac:chgData name="Kahfeel Hussain (MiddleEast)" userId="44dd8832-bc3a-437f-ab6c-eb5eea65aad5" providerId="ADAL" clId="{E35F6880-E46C-4554-8DCA-07C0276F671F}" dt="2026-01-06T13:44:51.656" v="3645"/>
          <ac:spMkLst>
            <pc:docMk/>
            <pc:sldMk cId="3683836732" sldId="308"/>
            <ac:spMk id="136" creationId="{934DD989-7C7F-24DC-230D-331C90B567D8}"/>
          </ac:spMkLst>
        </pc:spChg>
        <pc:spChg chg="mod">
          <ac:chgData name="Kahfeel Hussain (MiddleEast)" userId="44dd8832-bc3a-437f-ab6c-eb5eea65aad5" providerId="ADAL" clId="{E35F6880-E46C-4554-8DCA-07C0276F671F}" dt="2026-01-06T13:44:48.577" v="3536"/>
          <ac:spMkLst>
            <pc:docMk/>
            <pc:sldMk cId="3683836732" sldId="308"/>
            <ac:spMk id="137" creationId="{52DA3BCD-488A-D65B-B5E1-9B98D7F2E33B}"/>
          </ac:spMkLst>
        </pc:spChg>
        <pc:spChg chg="mod">
          <ac:chgData name="Kahfeel Hussain (MiddleEast)" userId="44dd8832-bc3a-437f-ab6c-eb5eea65aad5" providerId="ADAL" clId="{E35F6880-E46C-4554-8DCA-07C0276F671F}" dt="2026-01-06T13:44:48.582" v="3542"/>
          <ac:spMkLst>
            <pc:docMk/>
            <pc:sldMk cId="3683836732" sldId="308"/>
            <ac:spMk id="138" creationId="{44F97594-5909-71F3-84BC-571A658C3405}"/>
          </ac:spMkLst>
        </pc:spChg>
        <pc:spChg chg="mod">
          <ac:chgData name="Kahfeel Hussain (MiddleEast)" userId="44dd8832-bc3a-437f-ab6c-eb5eea65aad5" providerId="ADAL" clId="{E35F6880-E46C-4554-8DCA-07C0276F671F}" dt="2026-01-06T13:44:48.579" v="3538"/>
          <ac:spMkLst>
            <pc:docMk/>
            <pc:sldMk cId="3683836732" sldId="308"/>
            <ac:spMk id="139" creationId="{B7638A85-A748-0687-E4FD-EE12E74B6DC7}"/>
          </ac:spMkLst>
        </pc:spChg>
        <pc:spChg chg="mod">
          <ac:chgData name="Kahfeel Hussain (MiddleEast)" userId="44dd8832-bc3a-437f-ab6c-eb5eea65aad5" providerId="ADAL" clId="{E35F6880-E46C-4554-8DCA-07C0276F671F}" dt="2026-01-06T13:44:48.584" v="3544"/>
          <ac:spMkLst>
            <pc:docMk/>
            <pc:sldMk cId="3683836732" sldId="308"/>
            <ac:spMk id="140" creationId="{8091B6B3-2C30-ED16-772A-EAE2C955BD42}"/>
          </ac:spMkLst>
        </pc:spChg>
        <pc:spChg chg="mod ord">
          <ac:chgData name="Kahfeel Hussain (MiddleEast)" userId="44dd8832-bc3a-437f-ab6c-eb5eea65aad5" providerId="ADAL" clId="{E35F6880-E46C-4554-8DCA-07C0276F671F}" dt="2026-01-06T13:44:51.655" v="3641"/>
          <ac:spMkLst>
            <pc:docMk/>
            <pc:sldMk cId="3683836732" sldId="308"/>
            <ac:spMk id="168" creationId="{0E575AA9-DF71-BD98-A09B-09769F82D2B0}"/>
          </ac:spMkLst>
        </pc:spChg>
        <pc:grpChg chg="mod ord">
          <ac:chgData name="Kahfeel Hussain (MiddleEast)" userId="44dd8832-bc3a-437f-ab6c-eb5eea65aad5" providerId="ADAL" clId="{E35F6880-E46C-4554-8DCA-07C0276F671F}" dt="2026-01-06T13:44:51.660" v="3657"/>
          <ac:grpSpMkLst>
            <pc:docMk/>
            <pc:sldMk cId="3683836732" sldId="308"/>
            <ac:grpSpMk id="29" creationId="{0D6C5740-F9BE-A720-2E95-2A1811510126}"/>
          </ac:grpSpMkLst>
        </pc:grpChg>
        <pc:grpChg chg="mod ord">
          <ac:chgData name="Kahfeel Hussain (MiddleEast)" userId="44dd8832-bc3a-437f-ab6c-eb5eea65aad5" providerId="ADAL" clId="{E35F6880-E46C-4554-8DCA-07C0276F671F}" dt="2026-01-06T13:44:51.662" v="3662"/>
          <ac:grpSpMkLst>
            <pc:docMk/>
            <pc:sldMk cId="3683836732" sldId="308"/>
            <ac:grpSpMk id="33" creationId="{BB13EBEA-16CE-4517-5029-3E911D8F7CDD}"/>
          </ac:grpSpMkLst>
        </pc:grpChg>
        <pc:grpChg chg="del">
          <ac:chgData name="Kahfeel Hussain (MiddleEast)" userId="44dd8832-bc3a-437f-ab6c-eb5eea65aad5" providerId="ADAL" clId="{E35F6880-E46C-4554-8DCA-07C0276F671F}" dt="2026-01-05T22:39:46.327" v="2826" actId="478"/>
          <ac:grpSpMkLst>
            <pc:docMk/>
            <pc:sldMk cId="3683836732" sldId="308"/>
            <ac:grpSpMk id="58" creationId="{5645A410-83EC-8710-EBC4-3410C06912E9}"/>
          </ac:grpSpMkLst>
        </pc:grpChg>
        <pc:grpChg chg="del">
          <ac:chgData name="Kahfeel Hussain (MiddleEast)" userId="44dd8832-bc3a-437f-ab6c-eb5eea65aad5" providerId="ADAL" clId="{E35F6880-E46C-4554-8DCA-07C0276F671F}" dt="2026-01-05T22:39:46.327" v="2826" actId="478"/>
          <ac:grpSpMkLst>
            <pc:docMk/>
            <pc:sldMk cId="3683836732" sldId="308"/>
            <ac:grpSpMk id="68" creationId="{CC7BA49F-9077-45B7-BCB8-51353847CAE1}"/>
          </ac:grpSpMkLst>
        </pc:grpChg>
        <pc:grpChg chg="del">
          <ac:chgData name="Kahfeel Hussain (MiddleEast)" userId="44dd8832-bc3a-437f-ab6c-eb5eea65aad5" providerId="ADAL" clId="{E35F6880-E46C-4554-8DCA-07C0276F671F}" dt="2026-01-05T22:39:46.327" v="2826" actId="478"/>
          <ac:grpSpMkLst>
            <pc:docMk/>
            <pc:sldMk cId="3683836732" sldId="308"/>
            <ac:grpSpMk id="71" creationId="{32B407B2-FBE2-B6DB-389A-F6D4C2FD36A6}"/>
          </ac:grpSpMkLst>
        </pc:grpChg>
        <pc:graphicFrameChg chg="mod">
          <ac:chgData name="Kahfeel Hussain (MiddleEast)" userId="44dd8832-bc3a-437f-ab6c-eb5eea65aad5" providerId="ADAL" clId="{E35F6880-E46C-4554-8DCA-07C0276F671F}" dt="2026-01-06T13:44:52.195" v="3903"/>
          <ac:graphicFrameMkLst>
            <pc:docMk/>
            <pc:sldMk cId="3683836732" sldId="308"/>
            <ac:graphicFrameMk id="3" creationId="{36208348-7522-70AD-8DB2-5897289379E1}"/>
          </ac:graphicFrameMkLst>
        </pc:graphicFrameChg>
        <pc:graphicFrameChg chg="add del">
          <ac:chgData name="Kahfeel Hussain (MiddleEast)" userId="44dd8832-bc3a-437f-ab6c-eb5eea65aad5" providerId="ADAL" clId="{E35F6880-E46C-4554-8DCA-07C0276F671F}" dt="2026-01-06T13:44:51.706" v="3686" actId="478"/>
          <ac:graphicFrameMkLst>
            <pc:docMk/>
            <pc:sldMk cId="3683836732" sldId="308"/>
            <ac:graphicFrameMk id="19" creationId="{8A56D4C8-AC96-10E0-0991-54BD77B0CF8B}"/>
          </ac:graphicFrameMkLst>
        </pc:graphicFrameChg>
        <pc:graphicFrameChg chg="add mod ord">
          <ac:chgData name="Kahfeel Hussain (MiddleEast)" userId="44dd8832-bc3a-437f-ab6c-eb5eea65aad5" providerId="ADAL" clId="{E35F6880-E46C-4554-8DCA-07C0276F671F}" dt="2026-01-06T13:44:51.670" v="3674" actId="1076"/>
          <ac:graphicFrameMkLst>
            <pc:docMk/>
            <pc:sldMk cId="3683836732" sldId="308"/>
            <ac:graphicFrameMk id="111" creationId="{27C424CE-47B3-88AF-88F8-F0EC12C06FB7}"/>
          </ac:graphicFrameMkLst>
        </pc:graphicFrameChg>
        <pc:graphicFrameChg chg="mod ord">
          <ac:chgData name="Kahfeel Hussain (MiddleEast)" userId="44dd8832-bc3a-437f-ab6c-eb5eea65aad5" providerId="ADAL" clId="{E35F6880-E46C-4554-8DCA-07C0276F671F}" dt="2026-01-06T13:44:51.658" v="3648"/>
          <ac:graphicFrameMkLst>
            <pc:docMk/>
            <pc:sldMk cId="3683836732" sldId="308"/>
            <ac:graphicFrameMk id="124" creationId="{81EBC98D-3806-40D3-F106-A48AA3329A91}"/>
          </ac:graphicFrameMkLst>
        </pc:graphicFrameChg>
        <pc:cxnChg chg="mod ord">
          <ac:chgData name="Kahfeel Hussain (MiddleEast)" userId="44dd8832-bc3a-437f-ab6c-eb5eea65aad5" providerId="ADAL" clId="{E35F6880-E46C-4554-8DCA-07C0276F671F}" dt="2026-01-06T13:44:51.749" v="3754" actId="1076"/>
          <ac:cxnSpMkLst>
            <pc:docMk/>
            <pc:sldMk cId="3683836732" sldId="308"/>
            <ac:cxnSpMk id="2" creationId="{311AD978-4E77-0BE7-74C0-ED72B1CE3DBE}"/>
          </ac:cxnSpMkLst>
        </pc:cxnChg>
        <pc:cxnChg chg="mod ord">
          <ac:chgData name="Kahfeel Hussain (MiddleEast)" userId="44dd8832-bc3a-437f-ab6c-eb5eea65aad5" providerId="ADAL" clId="{E35F6880-E46C-4554-8DCA-07C0276F671F}" dt="2026-01-06T13:44:51.656" v="3644"/>
          <ac:cxnSpMkLst>
            <pc:docMk/>
            <pc:sldMk cId="3683836732" sldId="308"/>
            <ac:cxnSpMk id="5" creationId="{7C3F8A78-6E15-DE70-BF47-D39AAD387684}"/>
          </ac:cxnSpMkLst>
        </pc:cxnChg>
        <pc:cxnChg chg="mod ord">
          <ac:chgData name="Kahfeel Hussain (MiddleEast)" userId="44dd8832-bc3a-437f-ab6c-eb5eea65aad5" providerId="ADAL" clId="{E35F6880-E46C-4554-8DCA-07C0276F671F}" dt="2026-01-06T13:44:51.746" v="3746" actId="1076"/>
          <ac:cxnSpMkLst>
            <pc:docMk/>
            <pc:sldMk cId="3683836732" sldId="308"/>
            <ac:cxnSpMk id="6" creationId="{79810A6B-67BD-486C-0DC0-66FD5DBE02E2}"/>
          </ac:cxnSpMkLst>
        </pc:cxnChg>
        <pc:cxnChg chg="mod ord">
          <ac:chgData name="Kahfeel Hussain (MiddleEast)" userId="44dd8832-bc3a-437f-ab6c-eb5eea65aad5" providerId="ADAL" clId="{E35F6880-E46C-4554-8DCA-07C0276F671F}" dt="2026-01-06T13:44:51.743" v="3738" actId="1076"/>
          <ac:cxnSpMkLst>
            <pc:docMk/>
            <pc:sldMk cId="3683836732" sldId="308"/>
            <ac:cxnSpMk id="7" creationId="{7A109F28-8CAA-590A-A931-50760E855DD7}"/>
          </ac:cxnSpMkLst>
        </pc:cxnChg>
        <pc:cxnChg chg="mod ord">
          <ac:chgData name="Kahfeel Hussain (MiddleEast)" userId="44dd8832-bc3a-437f-ab6c-eb5eea65aad5" providerId="ADAL" clId="{E35F6880-E46C-4554-8DCA-07C0276F671F}" dt="2026-01-06T13:44:51.739" v="3730" actId="1076"/>
          <ac:cxnSpMkLst>
            <pc:docMk/>
            <pc:sldMk cId="3683836732" sldId="308"/>
            <ac:cxnSpMk id="8" creationId="{1F234B36-A218-91A3-9D1D-40B2759A11D4}"/>
          </ac:cxnSpMkLst>
        </pc:cxnChg>
        <pc:cxnChg chg="mod ord">
          <ac:chgData name="Kahfeel Hussain (MiddleEast)" userId="44dd8832-bc3a-437f-ab6c-eb5eea65aad5" providerId="ADAL" clId="{E35F6880-E46C-4554-8DCA-07C0276F671F}" dt="2026-01-06T13:44:51.737" v="3722" actId="1076"/>
          <ac:cxnSpMkLst>
            <pc:docMk/>
            <pc:sldMk cId="3683836732" sldId="308"/>
            <ac:cxnSpMk id="9" creationId="{2A50DE2B-77B7-3F03-6AFB-4990F20EE4BD}"/>
          </ac:cxnSpMkLst>
        </pc:cxnChg>
        <pc:cxnChg chg="mod ord">
          <ac:chgData name="Kahfeel Hussain (MiddleEast)" userId="44dd8832-bc3a-437f-ab6c-eb5eea65aad5" providerId="ADAL" clId="{E35F6880-E46C-4554-8DCA-07C0276F671F}" dt="2026-01-06T13:44:51.734" v="3714" actId="1076"/>
          <ac:cxnSpMkLst>
            <pc:docMk/>
            <pc:sldMk cId="3683836732" sldId="308"/>
            <ac:cxnSpMk id="10" creationId="{C17543C3-0B8A-4194-B6AE-0B7DDDB33715}"/>
          </ac:cxnSpMkLst>
        </pc:cxnChg>
        <pc:cxnChg chg="mod ord">
          <ac:chgData name="Kahfeel Hussain (MiddleEast)" userId="44dd8832-bc3a-437f-ab6c-eb5eea65aad5" providerId="ADAL" clId="{E35F6880-E46C-4554-8DCA-07C0276F671F}" dt="2026-01-06T13:44:51.656" v="3643"/>
          <ac:cxnSpMkLst>
            <pc:docMk/>
            <pc:sldMk cId="3683836732" sldId="308"/>
            <ac:cxnSpMk id="13" creationId="{33A39DD0-9CA3-2EA8-5B8F-20FC9EF9A959}"/>
          </ac:cxnSpMkLst>
        </pc:cxnChg>
        <pc:cxnChg chg="mod ord">
          <ac:chgData name="Kahfeel Hussain (MiddleEast)" userId="44dd8832-bc3a-437f-ab6c-eb5eea65aad5" providerId="ADAL" clId="{E35F6880-E46C-4554-8DCA-07C0276F671F}" dt="2026-01-06T13:44:51.732" v="3706" actId="1076"/>
          <ac:cxnSpMkLst>
            <pc:docMk/>
            <pc:sldMk cId="3683836732" sldId="308"/>
            <ac:cxnSpMk id="15" creationId="{09D21AC4-FF7C-414D-384F-5336361F8130}"/>
          </ac:cxnSpMkLst>
        </pc:cxnChg>
        <pc:cxnChg chg="mod ord">
          <ac:chgData name="Kahfeel Hussain (MiddleEast)" userId="44dd8832-bc3a-437f-ab6c-eb5eea65aad5" providerId="ADAL" clId="{E35F6880-E46C-4554-8DCA-07C0276F671F}" dt="2026-01-06T13:44:51.729" v="3698" actId="1076"/>
          <ac:cxnSpMkLst>
            <pc:docMk/>
            <pc:sldMk cId="3683836732" sldId="308"/>
            <ac:cxnSpMk id="16" creationId="{4B631428-B12F-E502-E808-E267E97A74F4}"/>
          </ac:cxnSpMkLst>
        </pc:cxnChg>
        <pc:cxnChg chg="mod ord">
          <ac:chgData name="Kahfeel Hussain (MiddleEast)" userId="44dd8832-bc3a-437f-ab6c-eb5eea65aad5" providerId="ADAL" clId="{E35F6880-E46C-4554-8DCA-07C0276F671F}" dt="2026-01-06T13:44:51.655" v="3640"/>
          <ac:cxnSpMkLst>
            <pc:docMk/>
            <pc:sldMk cId="3683836732" sldId="308"/>
            <ac:cxnSpMk id="31" creationId="{613FDAB3-0FAC-A049-CE79-60F74DFAE1D2}"/>
          </ac:cxnSpMkLst>
        </pc:cxnChg>
        <pc:cxnChg chg="mod ord">
          <ac:chgData name="Kahfeel Hussain (MiddleEast)" userId="44dd8832-bc3a-437f-ab6c-eb5eea65aad5" providerId="ADAL" clId="{E35F6880-E46C-4554-8DCA-07C0276F671F}" dt="2026-01-06T13:44:51.654" v="3638"/>
          <ac:cxnSpMkLst>
            <pc:docMk/>
            <pc:sldMk cId="3683836732" sldId="308"/>
            <ac:cxnSpMk id="42" creationId="{30DD2914-DDB0-57D2-E095-DAF271942895}"/>
          </ac:cxnSpMkLst>
        </pc:cxnChg>
        <pc:cxnChg chg="mod ord">
          <ac:chgData name="Kahfeel Hussain (MiddleEast)" userId="44dd8832-bc3a-437f-ab6c-eb5eea65aad5" providerId="ADAL" clId="{E35F6880-E46C-4554-8DCA-07C0276F671F}" dt="2026-01-06T13:44:51.663" v="3666"/>
          <ac:cxnSpMkLst>
            <pc:docMk/>
            <pc:sldMk cId="3683836732" sldId="308"/>
            <ac:cxnSpMk id="45" creationId="{51054180-3655-5A90-F86A-AAAB30668A25}"/>
          </ac:cxnSpMkLst>
        </pc:cxnChg>
        <pc:cxnChg chg="mod ord">
          <ac:chgData name="Kahfeel Hussain (MiddleEast)" userId="44dd8832-bc3a-437f-ab6c-eb5eea65aad5" providerId="ADAL" clId="{E35F6880-E46C-4554-8DCA-07C0276F671F}" dt="2026-01-06T13:44:51.662" v="3665"/>
          <ac:cxnSpMkLst>
            <pc:docMk/>
            <pc:sldMk cId="3683836732" sldId="308"/>
            <ac:cxnSpMk id="46" creationId="{0717427D-F2D3-6732-C0E9-168960486519}"/>
          </ac:cxnSpMkLst>
        </pc:cxnChg>
        <pc:cxnChg chg="mod ord">
          <ac:chgData name="Kahfeel Hussain (MiddleEast)" userId="44dd8832-bc3a-437f-ab6c-eb5eea65aad5" providerId="ADAL" clId="{E35F6880-E46C-4554-8DCA-07C0276F671F}" dt="2026-01-06T13:44:51.662" v="3664"/>
          <ac:cxnSpMkLst>
            <pc:docMk/>
            <pc:sldMk cId="3683836732" sldId="308"/>
            <ac:cxnSpMk id="47" creationId="{40E21080-5293-12A7-C4CE-9173BF944033}"/>
          </ac:cxnSpMkLst>
        </pc:cxnChg>
        <pc:cxnChg chg="mod ord">
          <ac:chgData name="Kahfeel Hussain (MiddleEast)" userId="44dd8832-bc3a-437f-ab6c-eb5eea65aad5" providerId="ADAL" clId="{E35F6880-E46C-4554-8DCA-07C0276F671F}" dt="2026-01-06T13:44:51.653" v="3636"/>
          <ac:cxnSpMkLst>
            <pc:docMk/>
            <pc:sldMk cId="3683836732" sldId="308"/>
            <ac:cxnSpMk id="48" creationId="{4E262019-48D4-C2B2-E0FE-6171053619E5}"/>
          </ac:cxnSpMkLst>
        </pc:cxnChg>
        <pc:cxnChg chg="mod ord">
          <ac:chgData name="Kahfeel Hussain (MiddleEast)" userId="44dd8832-bc3a-437f-ab6c-eb5eea65aad5" providerId="ADAL" clId="{E35F6880-E46C-4554-8DCA-07C0276F671F}" dt="2026-01-06T13:44:51.659" v="3655"/>
          <ac:cxnSpMkLst>
            <pc:docMk/>
            <pc:sldMk cId="3683836732" sldId="308"/>
            <ac:cxnSpMk id="51" creationId="{54920CB2-39D0-97DF-5906-6A8EC034C338}"/>
          </ac:cxnSpMkLst>
        </pc:cxnChg>
        <pc:cxnChg chg="mod ord">
          <ac:chgData name="Kahfeel Hussain (MiddleEast)" userId="44dd8832-bc3a-437f-ab6c-eb5eea65aad5" providerId="ADAL" clId="{E35F6880-E46C-4554-8DCA-07C0276F671F}" dt="2026-01-06T13:44:51.660" v="3656"/>
          <ac:cxnSpMkLst>
            <pc:docMk/>
            <pc:sldMk cId="3683836732" sldId="308"/>
            <ac:cxnSpMk id="54" creationId="{88D75190-00A9-44AC-D0DE-1014B148CF18}"/>
          </ac:cxnSpMkLst>
        </pc:cxnChg>
        <pc:cxnChg chg="mod ord">
          <ac:chgData name="Kahfeel Hussain (MiddleEast)" userId="44dd8832-bc3a-437f-ab6c-eb5eea65aad5" providerId="ADAL" clId="{E35F6880-E46C-4554-8DCA-07C0276F671F}" dt="2026-01-06T13:44:51.659" v="3652"/>
          <ac:cxnSpMkLst>
            <pc:docMk/>
            <pc:sldMk cId="3683836732" sldId="308"/>
            <ac:cxnSpMk id="55" creationId="{DF7BB6BA-C4DE-9A70-A81B-0D74B848B260}"/>
          </ac:cxnSpMkLst>
        </pc:cxnChg>
        <pc:cxnChg chg="mod ord">
          <ac:chgData name="Kahfeel Hussain (MiddleEast)" userId="44dd8832-bc3a-437f-ab6c-eb5eea65aad5" providerId="ADAL" clId="{E35F6880-E46C-4554-8DCA-07C0276F671F}" dt="2026-01-06T13:44:51.652" v="3634"/>
          <ac:cxnSpMkLst>
            <pc:docMk/>
            <pc:sldMk cId="3683836732" sldId="308"/>
            <ac:cxnSpMk id="56" creationId="{7E67637F-A9C7-FB63-6ED1-BE8D456C20CB}"/>
          </ac:cxnSpMkLst>
        </pc:cxnChg>
        <pc:cxnChg chg="mod ord">
          <ac:chgData name="Kahfeel Hussain (MiddleEast)" userId="44dd8832-bc3a-437f-ab6c-eb5eea65aad5" providerId="ADAL" clId="{E35F6880-E46C-4554-8DCA-07C0276F671F}" dt="2026-01-06T13:44:51.659" v="3653"/>
          <ac:cxnSpMkLst>
            <pc:docMk/>
            <pc:sldMk cId="3683836732" sldId="308"/>
            <ac:cxnSpMk id="57" creationId="{064FC755-1D20-4FE9-1720-BE4414D708FC}"/>
          </ac:cxnSpMkLst>
        </pc:cxnChg>
        <pc:cxnChg chg="mod ord">
          <ac:chgData name="Kahfeel Hussain (MiddleEast)" userId="44dd8832-bc3a-437f-ab6c-eb5eea65aad5" providerId="ADAL" clId="{E35F6880-E46C-4554-8DCA-07C0276F671F}" dt="2026-01-06T13:44:51.659" v="3651"/>
          <ac:cxnSpMkLst>
            <pc:docMk/>
            <pc:sldMk cId="3683836732" sldId="308"/>
            <ac:cxnSpMk id="60" creationId="{94DEF8A2-7B15-04C0-B15A-CD9F8BDF5450}"/>
          </ac:cxnSpMkLst>
        </pc:cxnChg>
        <pc:cxnChg chg="mod ord">
          <ac:chgData name="Kahfeel Hussain (MiddleEast)" userId="44dd8832-bc3a-437f-ab6c-eb5eea65aad5" providerId="ADAL" clId="{E35F6880-E46C-4554-8DCA-07C0276F671F}" dt="2026-01-06T13:44:51.659" v="3654"/>
          <ac:cxnSpMkLst>
            <pc:docMk/>
            <pc:sldMk cId="3683836732" sldId="308"/>
            <ac:cxnSpMk id="66" creationId="{6F27858B-9D5B-7675-040C-8D4F7AADF6F8}"/>
          </ac:cxnSpMkLst>
        </pc:cxnChg>
        <pc:cxnChg chg="mod ord">
          <ac:chgData name="Kahfeel Hussain (MiddleEast)" userId="44dd8832-bc3a-437f-ab6c-eb5eea65aad5" providerId="ADAL" clId="{E35F6880-E46C-4554-8DCA-07C0276F671F}" dt="2026-01-06T13:44:51.659" v="3650"/>
          <ac:cxnSpMkLst>
            <pc:docMk/>
            <pc:sldMk cId="3683836732" sldId="308"/>
            <ac:cxnSpMk id="80" creationId="{78D5F8CE-E341-445B-B01D-FD512A5909BE}"/>
          </ac:cxnSpMkLst>
        </pc:cxnChg>
        <pc:cxnChg chg="mod ord">
          <ac:chgData name="Kahfeel Hussain (MiddleEast)" userId="44dd8832-bc3a-437f-ab6c-eb5eea65aad5" providerId="ADAL" clId="{E35F6880-E46C-4554-8DCA-07C0276F671F}" dt="2026-01-06T13:44:51.658" v="3649"/>
          <ac:cxnSpMkLst>
            <pc:docMk/>
            <pc:sldMk cId="3683836732" sldId="308"/>
            <ac:cxnSpMk id="119" creationId="{F2E26EB0-7D84-B0DA-0298-68440DF195B6}"/>
          </ac:cxnSpMkLst>
        </pc:cxnChg>
      </pc:sldChg>
      <pc:sldChg chg="ord">
        <pc:chgData name="Kahfeel Hussain (MiddleEast)" userId="44dd8832-bc3a-437f-ab6c-eb5eea65aad5" providerId="ADAL" clId="{E35F6880-E46C-4554-8DCA-07C0276F671F}" dt="2026-01-04T17:53:21.217" v="2071"/>
        <pc:sldMkLst>
          <pc:docMk/>
          <pc:sldMk cId="2193340535" sldId="310"/>
        </pc:sldMkLst>
      </pc:sldChg>
      <pc:sldChg chg="mod ord modShow">
        <pc:chgData name="Kahfeel Hussain (MiddleEast)" userId="44dd8832-bc3a-437f-ab6c-eb5eea65aad5" providerId="ADAL" clId="{E35F6880-E46C-4554-8DCA-07C0276F671F}" dt="2026-01-04T15:58:18.954" v="823"/>
        <pc:sldMkLst>
          <pc:docMk/>
          <pc:sldMk cId="1781723886" sldId="351"/>
        </pc:sldMkLst>
      </pc:sldChg>
      <pc:sldChg chg="mod ord modShow">
        <pc:chgData name="Kahfeel Hussain (MiddleEast)" userId="44dd8832-bc3a-437f-ab6c-eb5eea65aad5" providerId="ADAL" clId="{E35F6880-E46C-4554-8DCA-07C0276F671F}" dt="2026-01-04T15:58:18.954" v="823"/>
        <pc:sldMkLst>
          <pc:docMk/>
          <pc:sldMk cId="2238788549" sldId="352"/>
        </pc:sldMkLst>
      </pc:sldChg>
      <pc:sldChg chg="mod ord modShow">
        <pc:chgData name="Kahfeel Hussain (MiddleEast)" userId="44dd8832-bc3a-437f-ab6c-eb5eea65aad5" providerId="ADAL" clId="{E35F6880-E46C-4554-8DCA-07C0276F671F}" dt="2026-01-06T11:49:23.439" v="2828"/>
        <pc:sldMkLst>
          <pc:docMk/>
          <pc:sldMk cId="2236138490" sldId="365"/>
        </pc:sldMkLst>
      </pc:sldChg>
      <pc:sldChg chg="modSp mod ord">
        <pc:chgData name="Kahfeel Hussain (MiddleEast)" userId="44dd8832-bc3a-437f-ab6c-eb5eea65aad5" providerId="ADAL" clId="{E35F6880-E46C-4554-8DCA-07C0276F671F}" dt="2026-01-06T11:49:23.439" v="2828"/>
        <pc:sldMkLst>
          <pc:docMk/>
          <pc:sldMk cId="357985631" sldId="389"/>
        </pc:sldMkLst>
        <pc:spChg chg="mod">
          <ac:chgData name="Kahfeel Hussain (MiddleEast)" userId="44dd8832-bc3a-437f-ab6c-eb5eea65aad5" providerId="ADAL" clId="{E35F6880-E46C-4554-8DCA-07C0276F671F}" dt="2025-12-30T19:27:57.622" v="0" actId="313"/>
          <ac:spMkLst>
            <pc:docMk/>
            <pc:sldMk cId="357985631" sldId="389"/>
            <ac:spMk id="8" creationId="{5F7E8ECA-D65F-C26F-42CC-1EDA5F0754EF}"/>
          </ac:spMkLst>
        </pc:spChg>
      </pc:sldChg>
      <pc:sldChg chg="addSp delSp modSp mod ord modShow">
        <pc:chgData name="Kahfeel Hussain (MiddleEast)" userId="44dd8832-bc3a-437f-ab6c-eb5eea65aad5" providerId="ADAL" clId="{E35F6880-E46C-4554-8DCA-07C0276F671F}" dt="2026-01-06T11:49:23.439" v="2828"/>
        <pc:sldMkLst>
          <pc:docMk/>
          <pc:sldMk cId="1567854931" sldId="2147483646"/>
        </pc:sldMkLst>
      </pc:sldChg>
      <pc:sldChg chg="addSp delSp modSp add mod ord">
        <pc:chgData name="Kahfeel Hussain (MiddleEast)" userId="44dd8832-bc3a-437f-ab6c-eb5eea65aad5" providerId="ADAL" clId="{E35F6880-E46C-4554-8DCA-07C0276F671F}" dt="2026-01-06T11:49:23.439" v="2828"/>
        <pc:sldMkLst>
          <pc:docMk/>
          <pc:sldMk cId="563237523" sldId="2147483647"/>
        </pc:sldMkLst>
        <pc:spChg chg="add mod ord">
          <ac:chgData name="Kahfeel Hussain (MiddleEast)" userId="44dd8832-bc3a-437f-ab6c-eb5eea65aad5" providerId="ADAL" clId="{E35F6880-E46C-4554-8DCA-07C0276F671F}" dt="2025-12-31T05:55:24.110" v="238" actId="1036"/>
          <ac:spMkLst>
            <pc:docMk/>
            <pc:sldMk cId="563237523" sldId="2147483647"/>
            <ac:spMk id="2" creationId="{F3BE0545-56D1-0E83-8D87-291F02B7DE11}"/>
          </ac:spMkLst>
        </pc:spChg>
        <pc:spChg chg="mod ord">
          <ac:chgData name="Kahfeel Hussain (MiddleEast)" userId="44dd8832-bc3a-437f-ab6c-eb5eea65aad5" providerId="ADAL" clId="{E35F6880-E46C-4554-8DCA-07C0276F671F}" dt="2025-12-31T05:55:48.046" v="412" actId="948"/>
          <ac:spMkLst>
            <pc:docMk/>
            <pc:sldMk cId="563237523" sldId="2147483647"/>
            <ac:spMk id="4" creationId="{A9B5D195-7B60-CF28-7BB8-2B0768741231}"/>
          </ac:spMkLst>
        </pc:spChg>
        <pc:spChg chg="add mod ord">
          <ac:chgData name="Kahfeel Hussain (MiddleEast)" userId="44dd8832-bc3a-437f-ab6c-eb5eea65aad5" providerId="ADAL" clId="{E35F6880-E46C-4554-8DCA-07C0276F671F}" dt="2025-12-31T05:54:37.580" v="189"/>
          <ac:spMkLst>
            <pc:docMk/>
            <pc:sldMk cId="563237523" sldId="2147483647"/>
            <ac:spMk id="5" creationId="{72C05E8E-1A60-EAB8-596E-6943AF19D7D9}"/>
          </ac:spMkLst>
        </pc:spChg>
        <pc:spChg chg="mod ord topLvl">
          <ac:chgData name="Kahfeel Hussain (MiddleEast)" userId="44dd8832-bc3a-437f-ab6c-eb5eea65aad5" providerId="ADAL" clId="{E35F6880-E46C-4554-8DCA-07C0276F671F}" dt="2025-12-31T05:55:24.110" v="238" actId="1036"/>
          <ac:spMkLst>
            <pc:docMk/>
            <pc:sldMk cId="563237523" sldId="2147483647"/>
            <ac:spMk id="7" creationId="{6CE292CD-1178-44E3-151A-6F38BCD60E18}"/>
          </ac:spMkLst>
        </pc:spChg>
        <pc:spChg chg="mod ord topLvl">
          <ac:chgData name="Kahfeel Hussain (MiddleEast)" userId="44dd8832-bc3a-437f-ab6c-eb5eea65aad5" providerId="ADAL" clId="{E35F6880-E46C-4554-8DCA-07C0276F671F}" dt="2025-12-31T04:42:23.023" v="99"/>
          <ac:spMkLst>
            <pc:docMk/>
            <pc:sldMk cId="563237523" sldId="2147483647"/>
            <ac:spMk id="8" creationId="{692BB71F-05CE-EB19-EB2C-0BD1F9B575F8}"/>
          </ac:spMkLst>
        </pc:spChg>
        <pc:spChg chg="add del mod ord topLvl">
          <ac:chgData name="Kahfeel Hussain (MiddleEast)" userId="44dd8832-bc3a-437f-ab6c-eb5eea65aad5" providerId="ADAL" clId="{E35F6880-E46C-4554-8DCA-07C0276F671F}" dt="2025-12-31T05:55:24.110" v="238" actId="1036"/>
          <ac:spMkLst>
            <pc:docMk/>
            <pc:sldMk cId="563237523" sldId="2147483647"/>
            <ac:spMk id="9" creationId="{AFB0AD60-91CA-AB0E-88E4-66EE666C7E77}"/>
          </ac:spMkLst>
        </pc:spChg>
        <pc:spChg chg="mod ord topLvl">
          <ac:chgData name="Kahfeel Hussain (MiddleEast)" userId="44dd8832-bc3a-437f-ab6c-eb5eea65aad5" providerId="ADAL" clId="{E35F6880-E46C-4554-8DCA-07C0276F671F}" dt="2025-12-31T05:55:24.110" v="238" actId="1036"/>
          <ac:spMkLst>
            <pc:docMk/>
            <pc:sldMk cId="563237523" sldId="2147483647"/>
            <ac:spMk id="10" creationId="{6C4DEC57-BC61-5178-59EE-51ABC74EF3AD}"/>
          </ac:spMkLst>
        </pc:spChg>
        <pc:spChg chg="add del mod ord">
          <ac:chgData name="Kahfeel Hussain (MiddleEast)" userId="44dd8832-bc3a-437f-ab6c-eb5eea65aad5" providerId="ADAL" clId="{E35F6880-E46C-4554-8DCA-07C0276F671F}" dt="2025-12-31T05:55:24.110" v="238" actId="1036"/>
          <ac:spMkLst>
            <pc:docMk/>
            <pc:sldMk cId="563237523" sldId="2147483647"/>
            <ac:spMk id="12" creationId="{8DA66AE6-64FD-732D-96ED-9B2C7E26D7E8}"/>
          </ac:spMkLst>
        </pc:spChg>
        <pc:spChg chg="add del mod ord">
          <ac:chgData name="Kahfeel Hussain (MiddleEast)" userId="44dd8832-bc3a-437f-ab6c-eb5eea65aad5" providerId="ADAL" clId="{E35F6880-E46C-4554-8DCA-07C0276F671F}" dt="2025-12-31T05:55:24.110" v="238" actId="1036"/>
          <ac:spMkLst>
            <pc:docMk/>
            <pc:sldMk cId="563237523" sldId="2147483647"/>
            <ac:spMk id="18" creationId="{AD2E573E-B71A-9C42-211F-61B76F53E57E}"/>
          </ac:spMkLst>
        </pc:spChg>
        <pc:spChg chg="add del mod">
          <ac:chgData name="Kahfeel Hussain (MiddleEast)" userId="44dd8832-bc3a-437f-ab6c-eb5eea65aad5" providerId="ADAL" clId="{E35F6880-E46C-4554-8DCA-07C0276F671F}" dt="2025-12-31T05:55:24.110" v="238" actId="1036"/>
          <ac:spMkLst>
            <pc:docMk/>
            <pc:sldMk cId="563237523" sldId="2147483647"/>
            <ac:spMk id="24" creationId="{47CAC6DC-C57C-9793-977C-F94FC1D71405}"/>
          </ac:spMkLst>
        </pc:spChg>
        <pc:spChg chg="add mod">
          <ac:chgData name="Kahfeel Hussain (MiddleEast)" userId="44dd8832-bc3a-437f-ab6c-eb5eea65aad5" providerId="ADAL" clId="{E35F6880-E46C-4554-8DCA-07C0276F671F}" dt="2025-12-31T05:56:22.256" v="437"/>
          <ac:spMkLst>
            <pc:docMk/>
            <pc:sldMk cId="563237523" sldId="2147483647"/>
            <ac:spMk id="26" creationId="{5FDB4BA2-D1B6-97F6-14F1-25B12980FC19}"/>
          </ac:spMkLst>
        </pc:spChg>
        <pc:spChg chg="add mod">
          <ac:chgData name="Kahfeel Hussain (MiddleEast)" userId="44dd8832-bc3a-437f-ab6c-eb5eea65aad5" providerId="ADAL" clId="{E35F6880-E46C-4554-8DCA-07C0276F671F}" dt="2025-12-31T05:55:24.110" v="238" actId="1036"/>
          <ac:spMkLst>
            <pc:docMk/>
            <pc:sldMk cId="563237523" sldId="2147483647"/>
            <ac:spMk id="27" creationId="{3BE8A956-E18E-FC2F-B3CB-DB093EA26897}"/>
          </ac:spMkLst>
        </pc:spChg>
        <pc:spChg chg="add mod">
          <ac:chgData name="Kahfeel Hussain (MiddleEast)" userId="44dd8832-bc3a-437f-ab6c-eb5eea65aad5" providerId="ADAL" clId="{E35F6880-E46C-4554-8DCA-07C0276F671F}" dt="2025-12-31T05:58:54.273" v="477" actId="20577"/>
          <ac:spMkLst>
            <pc:docMk/>
            <pc:sldMk cId="563237523" sldId="2147483647"/>
            <ac:spMk id="28" creationId="{7F3759C2-4A58-5ADE-90D5-88AEC91AF687}"/>
          </ac:spMkLst>
        </pc:spChg>
        <pc:spChg chg="add mod">
          <ac:chgData name="Kahfeel Hussain (MiddleEast)" userId="44dd8832-bc3a-437f-ab6c-eb5eea65aad5" providerId="ADAL" clId="{E35F6880-E46C-4554-8DCA-07C0276F671F}" dt="2025-12-31T05:55:24.110" v="238" actId="1036"/>
          <ac:spMkLst>
            <pc:docMk/>
            <pc:sldMk cId="563237523" sldId="2147483647"/>
            <ac:spMk id="57" creationId="{D3F63A02-B4E6-BCB7-9C25-7A96D3312472}"/>
          </ac:spMkLst>
        </pc:spChg>
        <pc:graphicFrameChg chg="mod">
          <ac:chgData name="Kahfeel Hussain (MiddleEast)" userId="44dd8832-bc3a-437f-ab6c-eb5eea65aad5" providerId="ADAL" clId="{E35F6880-E46C-4554-8DCA-07C0276F671F}" dt="2025-12-31T05:55:48.073" v="436"/>
          <ac:graphicFrameMkLst>
            <pc:docMk/>
            <pc:sldMk cId="563237523" sldId="2147483647"/>
            <ac:graphicFrameMk id="3" creationId="{525B460A-DAEB-4665-8788-691886848F75}"/>
          </ac:graphicFrameMkLst>
        </pc:graphicFrameChg>
      </pc:sldChg>
    </pc:docChg>
  </pc:docChgLst>
  <pc:docChgLst>
    <pc:chgData name="Aryan Tah (MiddleEast)" userId="7f6066b6-35e9-4d47-9d15-8917e2720a06" providerId="ADAL" clId="{CB224072-EA94-4500-BB44-FA94C70FEF2B}"/>
    <pc:docChg chg="undo redo custSel addSld delSld modSld sldOrd modSection">
      <pc:chgData name="Aryan Tah (MiddleEast)" userId="7f6066b6-35e9-4d47-9d15-8917e2720a06" providerId="ADAL" clId="{CB224072-EA94-4500-BB44-FA94C70FEF2B}" dt="2026-01-05T13:53:24.346" v="20891"/>
      <pc:docMkLst>
        <pc:docMk/>
      </pc:docMkLst>
      <pc:sldChg chg="modSp mod modShow">
        <pc:chgData name="Aryan Tah (MiddleEast)" userId="7f6066b6-35e9-4d47-9d15-8917e2720a06" providerId="ADAL" clId="{CB224072-EA94-4500-BB44-FA94C70FEF2B}" dt="2025-12-31T09:27:30.734" v="4593" actId="729"/>
        <pc:sldMkLst>
          <pc:docMk/>
          <pc:sldMk cId="3744230119" sldId="261"/>
        </pc:sldMkLst>
        <pc:spChg chg="mod">
          <ac:chgData name="Aryan Tah (MiddleEast)" userId="7f6066b6-35e9-4d47-9d15-8917e2720a06" providerId="ADAL" clId="{CB224072-EA94-4500-BB44-FA94C70FEF2B}" dt="2025-12-31T07:28:18.903" v="1919" actId="1076"/>
          <ac:spMkLst>
            <pc:docMk/>
            <pc:sldMk cId="3744230119" sldId="261"/>
            <ac:spMk id="23" creationId="{D3263D95-F96C-A4B7-BBA6-4F9027C48E83}"/>
          </ac:spMkLst>
        </pc:spChg>
      </pc:sldChg>
      <pc:sldChg chg="addSp delSp modSp add mod ord modShow">
        <pc:chgData name="Aryan Tah (MiddleEast)" userId="7f6066b6-35e9-4d47-9d15-8917e2720a06" providerId="ADAL" clId="{CB224072-EA94-4500-BB44-FA94C70FEF2B}" dt="2025-12-31T11:03:03.679" v="5715" actId="729"/>
        <pc:sldMkLst>
          <pc:docMk/>
          <pc:sldMk cId="1323461625" sldId="263"/>
        </pc:sldMkLst>
        <pc:spChg chg="mod ord">
          <ac:chgData name="Aryan Tah (MiddleEast)" userId="7f6066b6-35e9-4d47-9d15-8917e2720a06" providerId="ADAL" clId="{CB224072-EA94-4500-BB44-FA94C70FEF2B}" dt="2025-12-31T08:19:04.536" v="2893"/>
          <ac:spMkLst>
            <pc:docMk/>
            <pc:sldMk cId="1323461625" sldId="263"/>
            <ac:spMk id="4" creationId="{6E7EF745-8E1D-7EC0-CBBB-06CFC2FF2A01}"/>
          </ac:spMkLst>
        </pc:spChg>
        <pc:spChg chg="add mod ord">
          <ac:chgData name="Aryan Tah (MiddleEast)" userId="7f6066b6-35e9-4d47-9d15-8917e2720a06" providerId="ADAL" clId="{CB224072-EA94-4500-BB44-FA94C70FEF2B}" dt="2025-12-31T09:27:43.798" v="4596"/>
          <ac:spMkLst>
            <pc:docMk/>
            <pc:sldMk cId="1323461625" sldId="263"/>
            <ac:spMk id="6" creationId="{932A91B0-AEB7-0678-89E9-90AA2C8E4C9B}"/>
          </ac:spMkLst>
        </pc:spChg>
        <pc:spChg chg="add mod ord topLvl">
          <ac:chgData name="Aryan Tah (MiddleEast)" userId="7f6066b6-35e9-4d47-9d15-8917e2720a06" providerId="ADAL" clId="{CB224072-EA94-4500-BB44-FA94C70FEF2B}" dt="2025-12-31T09:27:50.217" v="4600"/>
          <ac:spMkLst>
            <pc:docMk/>
            <pc:sldMk cId="1323461625" sldId="263"/>
            <ac:spMk id="7" creationId="{C625EB06-D957-358A-59A9-D1B87FD65972}"/>
          </ac:spMkLst>
        </pc:spChg>
        <pc:spChg chg="mod">
          <ac:chgData name="Aryan Tah (MiddleEast)" userId="7f6066b6-35e9-4d47-9d15-8917e2720a06" providerId="ADAL" clId="{CB224072-EA94-4500-BB44-FA94C70FEF2B}" dt="2025-12-31T09:27:50.218" v="4602"/>
          <ac:spMkLst>
            <pc:docMk/>
            <pc:sldMk cId="1323461625" sldId="263"/>
            <ac:spMk id="28" creationId="{45514A70-BEE9-17EB-1666-4034FF36E998}"/>
          </ac:spMkLst>
        </pc:spChg>
        <pc:spChg chg="mod">
          <ac:chgData name="Aryan Tah (MiddleEast)" userId="7f6066b6-35e9-4d47-9d15-8917e2720a06" providerId="ADAL" clId="{CB224072-EA94-4500-BB44-FA94C70FEF2B}" dt="2025-12-31T09:27:50.218" v="4602"/>
          <ac:spMkLst>
            <pc:docMk/>
            <pc:sldMk cId="1323461625" sldId="263"/>
            <ac:spMk id="29" creationId="{0F0401A6-069C-02D5-C694-87DB92FC6D26}"/>
          </ac:spMkLst>
        </pc:spChg>
        <pc:spChg chg="mod ord topLvl">
          <ac:chgData name="Aryan Tah (MiddleEast)" userId="7f6066b6-35e9-4d47-9d15-8917e2720a06" providerId="ADAL" clId="{CB224072-EA94-4500-BB44-FA94C70FEF2B}" dt="2025-12-31T09:40:07.018" v="4646" actId="1038"/>
          <ac:spMkLst>
            <pc:docMk/>
            <pc:sldMk cId="1323461625" sldId="263"/>
            <ac:spMk id="30" creationId="{EC4A0F0E-3B28-7FE5-55A1-364A49F5907B}"/>
          </ac:spMkLst>
        </pc:spChg>
        <pc:spChg chg="add mod ord">
          <ac:chgData name="Aryan Tah (MiddleEast)" userId="7f6066b6-35e9-4d47-9d15-8917e2720a06" providerId="ADAL" clId="{CB224072-EA94-4500-BB44-FA94C70FEF2B}" dt="2025-12-31T08:37:59.945" v="3259" actId="14100"/>
          <ac:spMkLst>
            <pc:docMk/>
            <pc:sldMk cId="1323461625" sldId="263"/>
            <ac:spMk id="47" creationId="{4918EDAC-49FC-056B-0D10-EC4879F54B89}"/>
          </ac:spMkLst>
        </pc:spChg>
        <pc:spChg chg="add mod ord">
          <ac:chgData name="Aryan Tah (MiddleEast)" userId="7f6066b6-35e9-4d47-9d15-8917e2720a06" providerId="ADAL" clId="{CB224072-EA94-4500-BB44-FA94C70FEF2B}" dt="2025-12-31T09:28:10.095" v="4605" actId="14100"/>
          <ac:spMkLst>
            <pc:docMk/>
            <pc:sldMk cId="1323461625" sldId="263"/>
            <ac:spMk id="49" creationId="{03919171-7940-BC37-5C59-371F38564526}"/>
          </ac:spMkLst>
        </pc:spChg>
        <pc:spChg chg="mod">
          <ac:chgData name="Aryan Tah (MiddleEast)" userId="7f6066b6-35e9-4d47-9d15-8917e2720a06" providerId="ADAL" clId="{CB224072-EA94-4500-BB44-FA94C70FEF2B}" dt="2025-12-31T08:28:13.112" v="3086" actId="404"/>
          <ac:spMkLst>
            <pc:docMk/>
            <pc:sldMk cId="1323461625" sldId="263"/>
            <ac:spMk id="53" creationId="{8EC98FEF-26F4-6C2A-DF0F-1F930366331C}"/>
          </ac:spMkLst>
        </pc:spChg>
        <pc:spChg chg="mod">
          <ac:chgData name="Aryan Tah (MiddleEast)" userId="7f6066b6-35e9-4d47-9d15-8917e2720a06" providerId="ADAL" clId="{CB224072-EA94-4500-BB44-FA94C70FEF2B}" dt="2025-12-31T08:36:19.761" v="3216" actId="20577"/>
          <ac:spMkLst>
            <pc:docMk/>
            <pc:sldMk cId="1323461625" sldId="263"/>
            <ac:spMk id="54" creationId="{2C3B6546-C622-ECFC-ABBA-324B66866CBE}"/>
          </ac:spMkLst>
        </pc:spChg>
        <pc:spChg chg="add mod ord">
          <ac:chgData name="Aryan Tah (MiddleEast)" userId="7f6066b6-35e9-4d47-9d15-8917e2720a06" providerId="ADAL" clId="{CB224072-EA94-4500-BB44-FA94C70FEF2B}" dt="2025-12-31T09:40:07.018" v="4646" actId="1038"/>
          <ac:spMkLst>
            <pc:docMk/>
            <pc:sldMk cId="1323461625" sldId="263"/>
            <ac:spMk id="55" creationId="{B3C58431-0FF6-1F53-604E-6EE789C04668}"/>
          </ac:spMkLst>
        </pc:spChg>
        <pc:spChg chg="mod">
          <ac:chgData name="Aryan Tah (MiddleEast)" userId="7f6066b6-35e9-4d47-9d15-8917e2720a06" providerId="ADAL" clId="{CB224072-EA94-4500-BB44-FA94C70FEF2B}" dt="2025-12-31T08:28:13.112" v="3086" actId="404"/>
          <ac:spMkLst>
            <pc:docMk/>
            <pc:sldMk cId="1323461625" sldId="263"/>
            <ac:spMk id="57" creationId="{324860E8-FED5-AD97-2CBF-C712C277A86B}"/>
          </ac:spMkLst>
        </pc:spChg>
        <pc:spChg chg="mod">
          <ac:chgData name="Aryan Tah (MiddleEast)" userId="7f6066b6-35e9-4d47-9d15-8917e2720a06" providerId="ADAL" clId="{CB224072-EA94-4500-BB44-FA94C70FEF2B}" dt="2025-12-31T08:28:13.112" v="3086" actId="404"/>
          <ac:spMkLst>
            <pc:docMk/>
            <pc:sldMk cId="1323461625" sldId="263"/>
            <ac:spMk id="58" creationId="{D9325A40-2B00-CE3C-23AE-8D8212B12ACC}"/>
          </ac:spMkLst>
        </pc:spChg>
        <pc:spChg chg="add mod ord">
          <ac:chgData name="Aryan Tah (MiddleEast)" userId="7f6066b6-35e9-4d47-9d15-8917e2720a06" providerId="ADAL" clId="{CB224072-EA94-4500-BB44-FA94C70FEF2B}" dt="2025-12-31T09:40:07.018" v="4646" actId="1038"/>
          <ac:spMkLst>
            <pc:docMk/>
            <pc:sldMk cId="1323461625" sldId="263"/>
            <ac:spMk id="59" creationId="{D9D87B1C-1A7C-60E7-CD5A-A4433C6CBB86}"/>
          </ac:spMkLst>
        </pc:spChg>
        <pc:spChg chg="mod topLvl">
          <ac:chgData name="Aryan Tah (MiddleEast)" userId="7f6066b6-35e9-4d47-9d15-8917e2720a06" providerId="ADAL" clId="{CB224072-EA94-4500-BB44-FA94C70FEF2B}" dt="2025-12-31T10:22:32.417" v="4696" actId="165"/>
          <ac:spMkLst>
            <pc:docMk/>
            <pc:sldMk cId="1323461625" sldId="263"/>
            <ac:spMk id="61" creationId="{05BCD968-21C8-7ECE-1AE7-6859B0D4106B}"/>
          </ac:spMkLst>
        </pc:spChg>
        <pc:spChg chg="mod topLvl">
          <ac:chgData name="Aryan Tah (MiddleEast)" userId="7f6066b6-35e9-4d47-9d15-8917e2720a06" providerId="ADAL" clId="{CB224072-EA94-4500-BB44-FA94C70FEF2B}" dt="2025-12-31T10:22:32.417" v="4696" actId="165"/>
          <ac:spMkLst>
            <pc:docMk/>
            <pc:sldMk cId="1323461625" sldId="263"/>
            <ac:spMk id="62" creationId="{B704C41A-CBF9-F3E8-DAF5-B56921778612}"/>
          </ac:spMkLst>
        </pc:spChg>
        <pc:spChg chg="add mod ord">
          <ac:chgData name="Aryan Tah (MiddleEast)" userId="7f6066b6-35e9-4d47-9d15-8917e2720a06" providerId="ADAL" clId="{CB224072-EA94-4500-BB44-FA94C70FEF2B}" dt="2025-12-31T09:40:07.018" v="4646" actId="1038"/>
          <ac:spMkLst>
            <pc:docMk/>
            <pc:sldMk cId="1323461625" sldId="263"/>
            <ac:spMk id="63" creationId="{48889420-FF5B-63CD-A18F-7A4581AEA408}"/>
          </ac:spMkLst>
        </pc:spChg>
        <pc:spChg chg="add mod ord">
          <ac:chgData name="Aryan Tah (MiddleEast)" userId="7f6066b6-35e9-4d47-9d15-8917e2720a06" providerId="ADAL" clId="{CB224072-EA94-4500-BB44-FA94C70FEF2B}" dt="2025-12-31T09:40:07.018" v="4646" actId="1038"/>
          <ac:spMkLst>
            <pc:docMk/>
            <pc:sldMk cId="1323461625" sldId="263"/>
            <ac:spMk id="64" creationId="{E95DABB4-8E9A-2104-67CA-54F5997478BC}"/>
          </ac:spMkLst>
        </pc:spChg>
        <pc:spChg chg="mod">
          <ac:chgData name="Aryan Tah (MiddleEast)" userId="7f6066b6-35e9-4d47-9d15-8917e2720a06" providerId="ADAL" clId="{CB224072-EA94-4500-BB44-FA94C70FEF2B}" dt="2025-12-31T08:35:45.116" v="3197" actId="164"/>
          <ac:spMkLst>
            <pc:docMk/>
            <pc:sldMk cId="1323461625" sldId="263"/>
            <ac:spMk id="72" creationId="{7814DF07-DBC9-C7B2-9404-89265A8A5054}"/>
          </ac:spMkLst>
        </pc:spChg>
        <pc:spChg chg="add mod topLvl">
          <ac:chgData name="Aryan Tah (MiddleEast)" userId="7f6066b6-35e9-4d47-9d15-8917e2720a06" providerId="ADAL" clId="{CB224072-EA94-4500-BB44-FA94C70FEF2B}" dt="2025-12-31T09:27:40.717" v="4594" actId="165"/>
          <ac:spMkLst>
            <pc:docMk/>
            <pc:sldMk cId="1323461625" sldId="263"/>
            <ac:spMk id="73" creationId="{EBB31AEF-C72D-7FB7-A416-5DF69A29EAE4}"/>
          </ac:spMkLst>
        </pc:spChg>
        <pc:spChg chg="add mod topLvl">
          <ac:chgData name="Aryan Tah (MiddleEast)" userId="7f6066b6-35e9-4d47-9d15-8917e2720a06" providerId="ADAL" clId="{CB224072-EA94-4500-BB44-FA94C70FEF2B}" dt="2025-12-31T09:27:40.717" v="4594" actId="165"/>
          <ac:spMkLst>
            <pc:docMk/>
            <pc:sldMk cId="1323461625" sldId="263"/>
            <ac:spMk id="74" creationId="{E0B34BAA-B4AA-271A-7AF6-B972A22528D1}"/>
          </ac:spMkLst>
        </pc:spChg>
        <pc:spChg chg="add mod topLvl">
          <ac:chgData name="Aryan Tah (MiddleEast)" userId="7f6066b6-35e9-4d47-9d15-8917e2720a06" providerId="ADAL" clId="{CB224072-EA94-4500-BB44-FA94C70FEF2B}" dt="2025-12-31T09:27:40.717" v="4594" actId="165"/>
          <ac:spMkLst>
            <pc:docMk/>
            <pc:sldMk cId="1323461625" sldId="263"/>
            <ac:spMk id="75" creationId="{1737159C-7F94-33AB-6C81-B97835CEDE38}"/>
          </ac:spMkLst>
        </pc:spChg>
        <pc:spChg chg="mod">
          <ac:chgData name="Aryan Tah (MiddleEast)" userId="7f6066b6-35e9-4d47-9d15-8917e2720a06" providerId="ADAL" clId="{CB224072-EA94-4500-BB44-FA94C70FEF2B}" dt="2025-12-31T08:35:45.116" v="3197" actId="164"/>
          <ac:spMkLst>
            <pc:docMk/>
            <pc:sldMk cId="1323461625" sldId="263"/>
            <ac:spMk id="76" creationId="{73719F81-A044-228D-181F-30046D0B88C2}"/>
          </ac:spMkLst>
        </pc:spChg>
        <pc:spChg chg="mod">
          <ac:chgData name="Aryan Tah (MiddleEast)" userId="7f6066b6-35e9-4d47-9d15-8917e2720a06" providerId="ADAL" clId="{CB224072-EA94-4500-BB44-FA94C70FEF2B}" dt="2025-12-31T08:35:45.116" v="3197" actId="164"/>
          <ac:spMkLst>
            <pc:docMk/>
            <pc:sldMk cId="1323461625" sldId="263"/>
            <ac:spMk id="77" creationId="{996F41FF-55DE-2FAF-41F1-F70C91140AC7}"/>
          </ac:spMkLst>
        </pc:spChg>
        <pc:spChg chg="add mod topLvl">
          <ac:chgData name="Aryan Tah (MiddleEast)" userId="7f6066b6-35e9-4d47-9d15-8917e2720a06" providerId="ADAL" clId="{CB224072-EA94-4500-BB44-FA94C70FEF2B}" dt="2025-12-31T08:36:05.653" v="3215" actId="255"/>
          <ac:spMkLst>
            <pc:docMk/>
            <pc:sldMk cId="1323461625" sldId="263"/>
            <ac:spMk id="78" creationId="{C8B7B887-88A7-78C8-EB87-3C3C3DAF3538}"/>
          </ac:spMkLst>
        </pc:spChg>
        <pc:spChg chg="add mod topLvl">
          <ac:chgData name="Aryan Tah (MiddleEast)" userId="7f6066b6-35e9-4d47-9d15-8917e2720a06" providerId="ADAL" clId="{CB224072-EA94-4500-BB44-FA94C70FEF2B}" dt="2025-12-31T09:27:40.717" v="4594" actId="165"/>
          <ac:spMkLst>
            <pc:docMk/>
            <pc:sldMk cId="1323461625" sldId="263"/>
            <ac:spMk id="79" creationId="{54CADD25-FB9C-99E4-16A2-BCD6CAD02054}"/>
          </ac:spMkLst>
        </pc:spChg>
        <pc:spChg chg="add mod topLvl">
          <ac:chgData name="Aryan Tah (MiddleEast)" userId="7f6066b6-35e9-4d47-9d15-8917e2720a06" providerId="ADAL" clId="{CB224072-EA94-4500-BB44-FA94C70FEF2B}" dt="2025-12-31T09:27:40.717" v="4594" actId="165"/>
          <ac:spMkLst>
            <pc:docMk/>
            <pc:sldMk cId="1323461625" sldId="263"/>
            <ac:spMk id="80" creationId="{6243DD5B-EE53-452C-9AC5-2247DDCEA65E}"/>
          </ac:spMkLst>
        </pc:spChg>
        <pc:spChg chg="add mod topLvl">
          <ac:chgData name="Aryan Tah (MiddleEast)" userId="7f6066b6-35e9-4d47-9d15-8917e2720a06" providerId="ADAL" clId="{CB224072-EA94-4500-BB44-FA94C70FEF2B}" dt="2025-12-31T09:27:40.717" v="4594" actId="165"/>
          <ac:spMkLst>
            <pc:docMk/>
            <pc:sldMk cId="1323461625" sldId="263"/>
            <ac:spMk id="81" creationId="{A12FF484-A173-FF51-DFD1-34B2443E00D2}"/>
          </ac:spMkLst>
        </pc:spChg>
        <pc:spChg chg="add mod topLvl">
          <ac:chgData name="Aryan Tah (MiddleEast)" userId="7f6066b6-35e9-4d47-9d15-8917e2720a06" providerId="ADAL" clId="{CB224072-EA94-4500-BB44-FA94C70FEF2B}" dt="2025-12-31T08:36:05.653" v="3215" actId="255"/>
          <ac:spMkLst>
            <pc:docMk/>
            <pc:sldMk cId="1323461625" sldId="263"/>
            <ac:spMk id="82" creationId="{4E1E3D5B-955B-56D8-FF43-44325AE7ADB6}"/>
          </ac:spMkLst>
        </pc:spChg>
        <pc:spChg chg="add mod topLvl">
          <ac:chgData name="Aryan Tah (MiddleEast)" userId="7f6066b6-35e9-4d47-9d15-8917e2720a06" providerId="ADAL" clId="{CB224072-EA94-4500-BB44-FA94C70FEF2B}" dt="2025-12-31T09:27:40.717" v="4594" actId="165"/>
          <ac:spMkLst>
            <pc:docMk/>
            <pc:sldMk cId="1323461625" sldId="263"/>
            <ac:spMk id="83" creationId="{EC4E746F-54C6-9354-18AB-2108097A4C5B}"/>
          </ac:spMkLst>
        </pc:spChg>
        <pc:spChg chg="add mod topLvl">
          <ac:chgData name="Aryan Tah (MiddleEast)" userId="7f6066b6-35e9-4d47-9d15-8917e2720a06" providerId="ADAL" clId="{CB224072-EA94-4500-BB44-FA94C70FEF2B}" dt="2025-12-31T09:27:40.717" v="4594" actId="165"/>
          <ac:spMkLst>
            <pc:docMk/>
            <pc:sldMk cId="1323461625" sldId="263"/>
            <ac:spMk id="84" creationId="{4F3CB08B-AEFA-6FBE-EF93-DEDF4C6F4BF7}"/>
          </ac:spMkLst>
        </pc:spChg>
        <pc:spChg chg="mod">
          <ac:chgData name="Aryan Tah (MiddleEast)" userId="7f6066b6-35e9-4d47-9d15-8917e2720a06" providerId="ADAL" clId="{CB224072-EA94-4500-BB44-FA94C70FEF2B}" dt="2025-12-31T08:35:14.862" v="3188" actId="164"/>
          <ac:spMkLst>
            <pc:docMk/>
            <pc:sldMk cId="1323461625" sldId="263"/>
            <ac:spMk id="85" creationId="{10A21465-9CCD-AA56-314B-60DF05FE36E0}"/>
          </ac:spMkLst>
        </pc:spChg>
        <pc:spChg chg="add mod ord topLvl">
          <ac:chgData name="Aryan Tah (MiddleEast)" userId="7f6066b6-35e9-4d47-9d15-8917e2720a06" providerId="ADAL" clId="{CB224072-EA94-4500-BB44-FA94C70FEF2B}" dt="2025-12-31T09:28:10.095" v="4605" actId="14100"/>
          <ac:spMkLst>
            <pc:docMk/>
            <pc:sldMk cId="1323461625" sldId="263"/>
            <ac:spMk id="89" creationId="{BA794DF0-7274-F864-D68C-65C654ACE915}"/>
          </ac:spMkLst>
        </pc:spChg>
        <pc:spChg chg="add mod ord">
          <ac:chgData name="Aryan Tah (MiddleEast)" userId="7f6066b6-35e9-4d47-9d15-8917e2720a06" providerId="ADAL" clId="{CB224072-EA94-4500-BB44-FA94C70FEF2B}" dt="2025-12-31T09:40:07.018" v="4646" actId="1038"/>
          <ac:spMkLst>
            <pc:docMk/>
            <pc:sldMk cId="1323461625" sldId="263"/>
            <ac:spMk id="90" creationId="{DDB240B4-896B-8281-2649-4B7963632AC0}"/>
          </ac:spMkLst>
        </pc:spChg>
        <pc:spChg chg="add mod ord">
          <ac:chgData name="Aryan Tah (MiddleEast)" userId="7f6066b6-35e9-4d47-9d15-8917e2720a06" providerId="ADAL" clId="{CB224072-EA94-4500-BB44-FA94C70FEF2B}" dt="2025-12-31T08:39:01.879" v="3287" actId="14100"/>
          <ac:spMkLst>
            <pc:docMk/>
            <pc:sldMk cId="1323461625" sldId="263"/>
            <ac:spMk id="95" creationId="{E4D1AFC0-2683-B5F1-2417-716C3137058C}"/>
          </ac:spMkLst>
        </pc:spChg>
        <pc:grpChg chg="mod ord topLvl">
          <ac:chgData name="Aryan Tah (MiddleEast)" userId="7f6066b6-35e9-4d47-9d15-8917e2720a06" providerId="ADAL" clId="{CB224072-EA94-4500-BB44-FA94C70FEF2B}" dt="2025-12-31T09:40:07.018" v="4646" actId="1038"/>
          <ac:grpSpMkLst>
            <pc:docMk/>
            <pc:sldMk cId="1323461625" sldId="263"/>
            <ac:grpSpMk id="11" creationId="{73E4DAC0-EF92-1793-BFA7-87DAD203C5F0}"/>
          </ac:grpSpMkLst>
        </pc:grpChg>
        <pc:grpChg chg="add mod ord">
          <ac:chgData name="Aryan Tah (MiddleEast)" userId="7f6066b6-35e9-4d47-9d15-8917e2720a06" providerId="ADAL" clId="{CB224072-EA94-4500-BB44-FA94C70FEF2B}" dt="2025-12-31T09:40:07.018" v="4646" actId="1038"/>
          <ac:grpSpMkLst>
            <pc:docMk/>
            <pc:sldMk cId="1323461625" sldId="263"/>
            <ac:grpSpMk id="52" creationId="{D008633D-5068-0114-73D1-7B8C8A7A2540}"/>
          </ac:grpSpMkLst>
        </pc:grpChg>
        <pc:grpChg chg="add mod ord">
          <ac:chgData name="Aryan Tah (MiddleEast)" userId="7f6066b6-35e9-4d47-9d15-8917e2720a06" providerId="ADAL" clId="{CB224072-EA94-4500-BB44-FA94C70FEF2B}" dt="2025-12-31T09:40:07.018" v="4646" actId="1038"/>
          <ac:grpSpMkLst>
            <pc:docMk/>
            <pc:sldMk cId="1323461625" sldId="263"/>
            <ac:grpSpMk id="56" creationId="{91D1E2A3-7AAB-04D2-14E5-84819F980846}"/>
          </ac:grpSpMkLst>
        </pc:grpChg>
        <pc:grpChg chg="add mod">
          <ac:chgData name="Aryan Tah (MiddleEast)" userId="7f6066b6-35e9-4d47-9d15-8917e2720a06" providerId="ADAL" clId="{CB224072-EA94-4500-BB44-FA94C70FEF2B}" dt="2025-12-31T08:35:45.116" v="3197" actId="164"/>
          <ac:grpSpMkLst>
            <pc:docMk/>
            <pc:sldMk cId="1323461625" sldId="263"/>
            <ac:grpSpMk id="99" creationId="{195E1D95-CE98-754B-5E6E-FF17671161E9}"/>
          </ac:grpSpMkLst>
        </pc:grpChg>
        <pc:grpChg chg="add mod">
          <ac:chgData name="Aryan Tah (MiddleEast)" userId="7f6066b6-35e9-4d47-9d15-8917e2720a06" providerId="ADAL" clId="{CB224072-EA94-4500-BB44-FA94C70FEF2B}" dt="2025-12-31T09:32:42.817" v="4625" actId="1036"/>
          <ac:grpSpMkLst>
            <pc:docMk/>
            <pc:sldMk cId="1323461625" sldId="263"/>
            <ac:grpSpMk id="100" creationId="{7C46E31C-55A1-3A34-5757-E90B6C349E29}"/>
          </ac:grpSpMkLst>
        </pc:grpChg>
        <pc:graphicFrameChg chg="mod">
          <ac:chgData name="Aryan Tah (MiddleEast)" userId="7f6066b6-35e9-4d47-9d15-8917e2720a06" providerId="ADAL" clId="{CB224072-EA94-4500-BB44-FA94C70FEF2B}" dt="2025-12-31T08:19:04.543" v="2919"/>
          <ac:graphicFrameMkLst>
            <pc:docMk/>
            <pc:sldMk cId="1323461625" sldId="263"/>
            <ac:graphicFrameMk id="3" creationId="{E0ACB64B-8FCB-9D40-8813-A0DB4506E565}"/>
          </ac:graphicFrameMkLst>
        </pc:graphicFrameChg>
        <pc:picChg chg="add mod topLvl">
          <ac:chgData name="Aryan Tah (MiddleEast)" userId="7f6066b6-35e9-4d47-9d15-8917e2720a06" providerId="ADAL" clId="{CB224072-EA94-4500-BB44-FA94C70FEF2B}" dt="2025-12-31T08:31:10.309" v="3154" actId="165"/>
          <ac:picMkLst>
            <pc:docMk/>
            <pc:sldMk cId="1323461625" sldId="263"/>
            <ac:picMk id="67" creationId="{0B600507-42CE-A02E-8EB1-746F949C374B}"/>
          </ac:picMkLst>
        </pc:picChg>
        <pc:picChg chg="add mod topLvl">
          <ac:chgData name="Aryan Tah (MiddleEast)" userId="7f6066b6-35e9-4d47-9d15-8917e2720a06" providerId="ADAL" clId="{CB224072-EA94-4500-BB44-FA94C70FEF2B}" dt="2025-12-31T08:31:15.214" v="3163"/>
          <ac:picMkLst>
            <pc:docMk/>
            <pc:sldMk cId="1323461625" sldId="263"/>
            <ac:picMk id="69" creationId="{C571709A-A7BF-977A-DA0E-8358E53D1CAB}"/>
          </ac:picMkLst>
        </pc:picChg>
        <pc:picChg chg="add mod">
          <ac:chgData name="Aryan Tah (MiddleEast)" userId="7f6066b6-35e9-4d47-9d15-8917e2720a06" providerId="ADAL" clId="{CB224072-EA94-4500-BB44-FA94C70FEF2B}" dt="2025-12-31T08:37:27.221" v="3244" actId="1076"/>
          <ac:picMkLst>
            <pc:docMk/>
            <pc:sldMk cId="1323461625" sldId="263"/>
            <ac:picMk id="98" creationId="{73D91912-BB7A-97B0-6649-8A41E503E2AD}"/>
          </ac:picMkLst>
        </pc:picChg>
      </pc:sldChg>
      <pc:sldChg chg="add">
        <pc:chgData name="Aryan Tah (MiddleEast)" userId="7f6066b6-35e9-4d47-9d15-8917e2720a06" providerId="ADAL" clId="{CB224072-EA94-4500-BB44-FA94C70FEF2B}" dt="2025-12-31T08:03:24.428" v="2304" actId="2890"/>
        <pc:sldMkLst>
          <pc:docMk/>
          <pc:sldMk cId="3676419734" sldId="265"/>
        </pc:sldMkLst>
      </pc:sldChg>
      <pc:sldChg chg="addSp delSp modSp add mod modShow">
        <pc:chgData name="Aryan Tah (MiddleEast)" userId="7f6066b6-35e9-4d47-9d15-8917e2720a06" providerId="ADAL" clId="{CB224072-EA94-4500-BB44-FA94C70FEF2B}" dt="2025-12-31T10:42:29.454" v="5095" actId="478"/>
        <pc:sldMkLst>
          <pc:docMk/>
          <pc:sldMk cId="2114789477" sldId="266"/>
        </pc:sldMkLst>
        <pc:spChg chg="mod ord topLvl">
          <ac:chgData name="Aryan Tah (MiddleEast)" userId="7f6066b6-35e9-4d47-9d15-8917e2720a06" providerId="ADAL" clId="{CB224072-EA94-4500-BB44-FA94C70FEF2B}" dt="2025-12-31T09:24:14.309" v="4533" actId="165"/>
          <ac:spMkLst>
            <pc:docMk/>
            <pc:sldMk cId="2114789477" sldId="266"/>
            <ac:spMk id="2" creationId="{FAB4060A-003F-8295-BABB-563F8B5D6DFC}"/>
          </ac:spMkLst>
        </pc:spChg>
        <pc:spChg chg="mod ord">
          <ac:chgData name="Aryan Tah (MiddleEast)" userId="7f6066b6-35e9-4d47-9d15-8917e2720a06" providerId="ADAL" clId="{CB224072-EA94-4500-BB44-FA94C70FEF2B}" dt="2025-12-31T09:15:26.725" v="4369"/>
          <ac:spMkLst>
            <pc:docMk/>
            <pc:sldMk cId="2114789477" sldId="266"/>
            <ac:spMk id="4" creationId="{61444DB7-EC9F-428C-AE6B-DD38B045ADC8}"/>
          </ac:spMkLst>
        </pc:spChg>
        <pc:spChg chg="mod ord topLvl">
          <ac:chgData name="Aryan Tah (MiddleEast)" userId="7f6066b6-35e9-4d47-9d15-8917e2720a06" providerId="ADAL" clId="{CB224072-EA94-4500-BB44-FA94C70FEF2B}" dt="2025-12-31T09:15:26.727" v="4379"/>
          <ac:spMkLst>
            <pc:docMk/>
            <pc:sldMk cId="2114789477" sldId="266"/>
            <ac:spMk id="5" creationId="{B3247EB0-3240-A376-BF32-FAA1AC520527}"/>
          </ac:spMkLst>
        </pc:spChg>
        <pc:spChg chg="add mod ord topLvl">
          <ac:chgData name="Aryan Tah (MiddleEast)" userId="7f6066b6-35e9-4d47-9d15-8917e2720a06" providerId="ADAL" clId="{CB224072-EA94-4500-BB44-FA94C70FEF2B}" dt="2025-12-31T09:24:50.640" v="4554" actId="14100"/>
          <ac:spMkLst>
            <pc:docMk/>
            <pc:sldMk cId="2114789477" sldId="266"/>
            <ac:spMk id="6" creationId="{DBB0DDD4-1631-8D37-CBAE-98D09C9CE902}"/>
          </ac:spMkLst>
        </pc:spChg>
        <pc:spChg chg="mod ord topLvl">
          <ac:chgData name="Aryan Tah (MiddleEast)" userId="7f6066b6-35e9-4d47-9d15-8917e2720a06" providerId="ADAL" clId="{CB224072-EA94-4500-BB44-FA94C70FEF2B}" dt="2025-12-31T09:24:14.309" v="4533" actId="165"/>
          <ac:spMkLst>
            <pc:docMk/>
            <pc:sldMk cId="2114789477" sldId="266"/>
            <ac:spMk id="7" creationId="{9D6413BA-ABA6-027F-D27E-F8F5BF847706}"/>
          </ac:spMkLst>
        </pc:spChg>
        <pc:spChg chg="mod ord topLvl">
          <ac:chgData name="Aryan Tah (MiddleEast)" userId="7f6066b6-35e9-4d47-9d15-8917e2720a06" providerId="ADAL" clId="{CB224072-EA94-4500-BB44-FA94C70FEF2B}" dt="2025-12-31T09:24:14.309" v="4533" actId="165"/>
          <ac:spMkLst>
            <pc:docMk/>
            <pc:sldMk cId="2114789477" sldId="266"/>
            <ac:spMk id="8" creationId="{C375B4D3-2FEF-F3EA-6EF6-FFC7461C5619}"/>
          </ac:spMkLst>
        </pc:spChg>
        <pc:spChg chg="mod ord topLvl">
          <ac:chgData name="Aryan Tah (MiddleEast)" userId="7f6066b6-35e9-4d47-9d15-8917e2720a06" providerId="ADAL" clId="{CB224072-EA94-4500-BB44-FA94C70FEF2B}" dt="2025-12-31T09:24:14.309" v="4533" actId="165"/>
          <ac:spMkLst>
            <pc:docMk/>
            <pc:sldMk cId="2114789477" sldId="266"/>
            <ac:spMk id="10" creationId="{7D70208E-196F-E7D6-13DA-B1BD19956480}"/>
          </ac:spMkLst>
        </pc:spChg>
        <pc:spChg chg="add mod ord topLvl">
          <ac:chgData name="Aryan Tah (MiddleEast)" userId="7f6066b6-35e9-4d47-9d15-8917e2720a06" providerId="ADAL" clId="{CB224072-EA94-4500-BB44-FA94C70FEF2B}" dt="2025-12-31T09:20:57.773" v="4525" actId="14100"/>
          <ac:spMkLst>
            <pc:docMk/>
            <pc:sldMk cId="2114789477" sldId="266"/>
            <ac:spMk id="11" creationId="{9E90577B-C63F-0B35-E522-ABC025D81FEC}"/>
          </ac:spMkLst>
        </pc:spChg>
        <pc:spChg chg="mod ord topLvl">
          <ac:chgData name="Aryan Tah (MiddleEast)" userId="7f6066b6-35e9-4d47-9d15-8917e2720a06" providerId="ADAL" clId="{CB224072-EA94-4500-BB44-FA94C70FEF2B}" dt="2025-12-31T09:24:14.309" v="4533" actId="165"/>
          <ac:spMkLst>
            <pc:docMk/>
            <pc:sldMk cId="2114789477" sldId="266"/>
            <ac:spMk id="12" creationId="{92F73C36-A0BB-DFA3-B633-540B1D362839}"/>
          </ac:spMkLst>
        </pc:spChg>
        <pc:spChg chg="add del mod ord topLvl">
          <ac:chgData name="Aryan Tah (MiddleEast)" userId="7f6066b6-35e9-4d47-9d15-8917e2720a06" providerId="ADAL" clId="{CB224072-EA94-4500-BB44-FA94C70FEF2B}" dt="2025-12-31T09:24:51.296" v="4555" actId="14100"/>
          <ac:spMkLst>
            <pc:docMk/>
            <pc:sldMk cId="2114789477" sldId="266"/>
            <ac:spMk id="16" creationId="{7EC27EAA-6E75-446D-85B2-145F1821B365}"/>
          </ac:spMkLst>
        </pc:spChg>
        <pc:spChg chg="mod ord topLvl">
          <ac:chgData name="Aryan Tah (MiddleEast)" userId="7f6066b6-35e9-4d47-9d15-8917e2720a06" providerId="ADAL" clId="{CB224072-EA94-4500-BB44-FA94C70FEF2B}" dt="2025-12-31T09:24:14.309" v="4533" actId="165"/>
          <ac:spMkLst>
            <pc:docMk/>
            <pc:sldMk cId="2114789477" sldId="266"/>
            <ac:spMk id="18" creationId="{69A8BBAF-0F93-08DF-06E9-ADAD1018E41C}"/>
          </ac:spMkLst>
        </pc:spChg>
        <pc:spChg chg="add mod ord topLvl">
          <ac:chgData name="Aryan Tah (MiddleEast)" userId="7f6066b6-35e9-4d47-9d15-8917e2720a06" providerId="ADAL" clId="{CB224072-EA94-4500-BB44-FA94C70FEF2B}" dt="2025-12-31T09:20:03.501" v="4511" actId="120"/>
          <ac:spMkLst>
            <pc:docMk/>
            <pc:sldMk cId="2114789477" sldId="266"/>
            <ac:spMk id="22" creationId="{2F09E931-4106-6AB0-50B4-A83EF6DF5124}"/>
          </ac:spMkLst>
        </pc:spChg>
        <pc:spChg chg="mod ord topLvl">
          <ac:chgData name="Aryan Tah (MiddleEast)" userId="7f6066b6-35e9-4d47-9d15-8917e2720a06" providerId="ADAL" clId="{CB224072-EA94-4500-BB44-FA94C70FEF2B}" dt="2025-12-31T09:25:32.290" v="4559" actId="12"/>
          <ac:spMkLst>
            <pc:docMk/>
            <pc:sldMk cId="2114789477" sldId="266"/>
            <ac:spMk id="26" creationId="{C164BE12-8D5A-FE33-147A-66ACD4760DAD}"/>
          </ac:spMkLst>
        </pc:spChg>
        <pc:spChg chg="mod ord topLvl">
          <ac:chgData name="Aryan Tah (MiddleEast)" userId="7f6066b6-35e9-4d47-9d15-8917e2720a06" providerId="ADAL" clId="{CB224072-EA94-4500-BB44-FA94C70FEF2B}" dt="2025-12-31T09:24:14.309" v="4533" actId="165"/>
          <ac:spMkLst>
            <pc:docMk/>
            <pc:sldMk cId="2114789477" sldId="266"/>
            <ac:spMk id="27" creationId="{CFCE3E7E-CC1F-C299-DF14-BABEADE53029}"/>
          </ac:spMkLst>
        </pc:spChg>
        <pc:spChg chg="mod ord topLvl">
          <ac:chgData name="Aryan Tah (MiddleEast)" userId="7f6066b6-35e9-4d47-9d15-8917e2720a06" providerId="ADAL" clId="{CB224072-EA94-4500-BB44-FA94C70FEF2B}" dt="2025-12-31T09:26:50.655" v="4590" actId="20577"/>
          <ac:spMkLst>
            <pc:docMk/>
            <pc:sldMk cId="2114789477" sldId="266"/>
            <ac:spMk id="28" creationId="{ABECAADC-8CC6-864D-5FE6-6A987B10AB04}"/>
          </ac:spMkLst>
        </pc:spChg>
        <pc:spChg chg="mod">
          <ac:chgData name="Aryan Tah (MiddleEast)" userId="7f6066b6-35e9-4d47-9d15-8917e2720a06" providerId="ADAL" clId="{CB224072-EA94-4500-BB44-FA94C70FEF2B}" dt="2025-12-31T10:16:21.173" v="4649" actId="1076"/>
          <ac:spMkLst>
            <pc:docMk/>
            <pc:sldMk cId="2114789477" sldId="266"/>
            <ac:spMk id="40" creationId="{38DD68A5-027C-EF03-18DA-86D8FB141C05}"/>
          </ac:spMkLst>
        </pc:spChg>
        <pc:spChg chg="mod">
          <ac:chgData name="Aryan Tah (MiddleEast)" userId="7f6066b6-35e9-4d47-9d15-8917e2720a06" providerId="ADAL" clId="{CB224072-EA94-4500-BB44-FA94C70FEF2B}" dt="2025-12-31T10:16:22.978" v="4650" actId="1076"/>
          <ac:spMkLst>
            <pc:docMk/>
            <pc:sldMk cId="2114789477" sldId="266"/>
            <ac:spMk id="41" creationId="{3A8A1842-9DE1-50B2-34D3-362B8B928986}"/>
          </ac:spMkLst>
        </pc:spChg>
        <pc:spChg chg="add mod ord topLvl">
          <ac:chgData name="Aryan Tah (MiddleEast)" userId="7f6066b6-35e9-4d47-9d15-8917e2720a06" providerId="ADAL" clId="{CB224072-EA94-4500-BB44-FA94C70FEF2B}" dt="2025-12-31T09:24:35.422" v="4551" actId="1038"/>
          <ac:spMkLst>
            <pc:docMk/>
            <pc:sldMk cId="2114789477" sldId="266"/>
            <ac:spMk id="43" creationId="{0CDEE308-F99C-737F-6F3B-891B6777FD5B}"/>
          </ac:spMkLst>
        </pc:spChg>
        <pc:spChg chg="add mod ord">
          <ac:chgData name="Aryan Tah (MiddleEast)" userId="7f6066b6-35e9-4d47-9d15-8917e2720a06" providerId="ADAL" clId="{CB224072-EA94-4500-BB44-FA94C70FEF2B}" dt="2025-12-31T09:24:35.422" v="4551" actId="1038"/>
          <ac:spMkLst>
            <pc:docMk/>
            <pc:sldMk cId="2114789477" sldId="266"/>
            <ac:spMk id="56" creationId="{ACCDD0FE-2B2C-B9E5-AEEC-8503F95BC27A}"/>
          </ac:spMkLst>
        </pc:spChg>
        <pc:graphicFrameChg chg="mod">
          <ac:chgData name="Aryan Tah (MiddleEast)" userId="7f6066b6-35e9-4d47-9d15-8917e2720a06" providerId="ADAL" clId="{CB224072-EA94-4500-BB44-FA94C70FEF2B}" dt="2025-12-31T09:41:00.232" v="4648"/>
          <ac:graphicFrameMkLst>
            <pc:docMk/>
            <pc:sldMk cId="2114789477" sldId="266"/>
            <ac:graphicFrameMk id="3" creationId="{BF8BEFDD-D12C-11A6-B55A-8BA9685BB75D}"/>
          </ac:graphicFrameMkLst>
        </pc:graphicFrameChg>
        <pc:cxnChg chg="add mod ord">
          <ac:chgData name="Aryan Tah (MiddleEast)" userId="7f6066b6-35e9-4d47-9d15-8917e2720a06" providerId="ADAL" clId="{CB224072-EA94-4500-BB44-FA94C70FEF2B}" dt="2025-12-31T09:16:28.509" v="4414"/>
          <ac:cxnSpMkLst>
            <pc:docMk/>
            <pc:sldMk cId="2114789477" sldId="266"/>
            <ac:cxnSpMk id="25" creationId="{34B8D97B-7710-ED25-AAD8-5B21CFE59F1C}"/>
          </ac:cxnSpMkLst>
        </pc:cxnChg>
        <pc:cxnChg chg="add mod ord">
          <ac:chgData name="Aryan Tah (MiddleEast)" userId="7f6066b6-35e9-4d47-9d15-8917e2720a06" providerId="ADAL" clId="{CB224072-EA94-4500-BB44-FA94C70FEF2B}" dt="2025-12-31T09:16:28.509" v="4414"/>
          <ac:cxnSpMkLst>
            <pc:docMk/>
            <pc:sldMk cId="2114789477" sldId="266"/>
            <ac:cxnSpMk id="29" creationId="{12F0B724-EB27-3003-1492-1AFCCF3D20B8}"/>
          </ac:cxnSpMkLst>
        </pc:cxnChg>
        <pc:cxnChg chg="add mod ord">
          <ac:chgData name="Aryan Tah (MiddleEast)" userId="7f6066b6-35e9-4d47-9d15-8917e2720a06" providerId="ADAL" clId="{CB224072-EA94-4500-BB44-FA94C70FEF2B}" dt="2025-12-31T09:16:28.509" v="4414"/>
          <ac:cxnSpMkLst>
            <pc:docMk/>
            <pc:sldMk cId="2114789477" sldId="266"/>
            <ac:cxnSpMk id="35" creationId="{85F2F0AD-86B9-7263-70F1-A016117888BD}"/>
          </ac:cxnSpMkLst>
        </pc:cxnChg>
        <pc:cxnChg chg="add mod">
          <ac:chgData name="Aryan Tah (MiddleEast)" userId="7f6066b6-35e9-4d47-9d15-8917e2720a06" providerId="ADAL" clId="{CB224072-EA94-4500-BB44-FA94C70FEF2B}" dt="2025-12-31T09:19:43.586" v="4510" actId="1582"/>
          <ac:cxnSpMkLst>
            <pc:docMk/>
            <pc:sldMk cId="2114789477" sldId="266"/>
            <ac:cxnSpMk id="60" creationId="{4DA5184E-AAAE-672E-DA55-E3C241675848}"/>
          </ac:cxnSpMkLst>
        </pc:cxnChg>
        <pc:cxnChg chg="add mod">
          <ac:chgData name="Aryan Tah (MiddleEast)" userId="7f6066b6-35e9-4d47-9d15-8917e2720a06" providerId="ADAL" clId="{CB224072-EA94-4500-BB44-FA94C70FEF2B}" dt="2025-12-31T09:19:43.586" v="4510" actId="1582"/>
          <ac:cxnSpMkLst>
            <pc:docMk/>
            <pc:sldMk cId="2114789477" sldId="266"/>
            <ac:cxnSpMk id="61" creationId="{8562956D-A30B-7786-7490-A49A2277AE7E}"/>
          </ac:cxnSpMkLst>
        </pc:cxnChg>
        <pc:cxnChg chg="add mod">
          <ac:chgData name="Aryan Tah (MiddleEast)" userId="7f6066b6-35e9-4d47-9d15-8917e2720a06" providerId="ADAL" clId="{CB224072-EA94-4500-BB44-FA94C70FEF2B}" dt="2025-12-31T09:19:43.586" v="4510" actId="1582"/>
          <ac:cxnSpMkLst>
            <pc:docMk/>
            <pc:sldMk cId="2114789477" sldId="266"/>
            <ac:cxnSpMk id="62" creationId="{A5AD7777-65CA-F387-93C9-F4891699AB5B}"/>
          </ac:cxnSpMkLst>
        </pc:cxnChg>
      </pc:sldChg>
      <pc:sldChg chg="addSp delSp modSp add mod ord modShow">
        <pc:chgData name="Aryan Tah (MiddleEast)" userId="7f6066b6-35e9-4d47-9d15-8917e2720a06" providerId="ADAL" clId="{CB224072-EA94-4500-BB44-FA94C70FEF2B}" dt="2026-01-03T18:10:04.597" v="7874" actId="729"/>
        <pc:sldMkLst>
          <pc:docMk/>
          <pc:sldMk cId="3006325013" sldId="267"/>
        </pc:sldMkLst>
        <pc:spChg chg="add mod ord">
          <ac:chgData name="Aryan Tah (MiddleEast)" userId="7f6066b6-35e9-4d47-9d15-8917e2720a06" providerId="ADAL" clId="{CB224072-EA94-4500-BB44-FA94C70FEF2B}" dt="2025-12-31T10:40:11.069" v="5037"/>
          <ac:spMkLst>
            <pc:docMk/>
            <pc:sldMk cId="3006325013" sldId="267"/>
            <ac:spMk id="2" creationId="{BB75E392-5223-C570-D63E-7ECDD9F2773E}"/>
          </ac:spMkLst>
        </pc:spChg>
        <pc:spChg chg="mod ord">
          <ac:chgData name="Aryan Tah (MiddleEast)" userId="7f6066b6-35e9-4d47-9d15-8917e2720a06" providerId="ADAL" clId="{CB224072-EA94-4500-BB44-FA94C70FEF2B}" dt="2025-12-31T10:40:11.061" v="5021"/>
          <ac:spMkLst>
            <pc:docMk/>
            <pc:sldMk cId="3006325013" sldId="267"/>
            <ac:spMk id="4" creationId="{B77F3843-336A-DD2D-3E05-3DB417FC7E3F}"/>
          </ac:spMkLst>
        </pc:spChg>
        <pc:spChg chg="add del mod ord">
          <ac:chgData name="Aryan Tah (MiddleEast)" userId="7f6066b6-35e9-4d47-9d15-8917e2720a06" providerId="ADAL" clId="{CB224072-EA94-4500-BB44-FA94C70FEF2B}" dt="2025-12-31T10:40:11.069" v="5039"/>
          <ac:spMkLst>
            <pc:docMk/>
            <pc:sldMk cId="3006325013" sldId="267"/>
            <ac:spMk id="5" creationId="{BD2C5E88-CC4C-18B5-BD61-55764F624B4D}"/>
          </ac:spMkLst>
        </pc:spChg>
        <pc:spChg chg="add del mod ord">
          <ac:chgData name="Aryan Tah (MiddleEast)" userId="7f6066b6-35e9-4d47-9d15-8917e2720a06" providerId="ADAL" clId="{CB224072-EA94-4500-BB44-FA94C70FEF2B}" dt="2025-12-31T11:51:19.608" v="5726" actId="1076"/>
          <ac:spMkLst>
            <pc:docMk/>
            <pc:sldMk cId="3006325013" sldId="267"/>
            <ac:spMk id="6" creationId="{749FDA24-BCBC-152A-18DF-BE0D1F16AA2B}"/>
          </ac:spMkLst>
        </pc:spChg>
        <pc:spChg chg="add mod ord">
          <ac:chgData name="Aryan Tah (MiddleEast)" userId="7f6066b6-35e9-4d47-9d15-8917e2720a06" providerId="ADAL" clId="{CB224072-EA94-4500-BB44-FA94C70FEF2B}" dt="2025-12-31T10:40:11.069" v="5041"/>
          <ac:spMkLst>
            <pc:docMk/>
            <pc:sldMk cId="3006325013" sldId="267"/>
            <ac:spMk id="7" creationId="{1E35E866-48A7-E5D6-B0F8-768200DCAF91}"/>
          </ac:spMkLst>
        </pc:spChg>
        <pc:spChg chg="del mod ord">
          <ac:chgData name="Aryan Tah (MiddleEast)" userId="7f6066b6-35e9-4d47-9d15-8917e2720a06" providerId="ADAL" clId="{CB224072-EA94-4500-BB44-FA94C70FEF2B}" dt="2026-01-02T09:14:49.816" v="6805" actId="1076"/>
          <ac:spMkLst>
            <pc:docMk/>
            <pc:sldMk cId="3006325013" sldId="267"/>
            <ac:spMk id="8" creationId="{6ECA8249-6700-B7C0-00ED-EAFE9F8C9D50}"/>
          </ac:spMkLst>
        </pc:spChg>
        <pc:spChg chg="add mod ord">
          <ac:chgData name="Aryan Tah (MiddleEast)" userId="7f6066b6-35e9-4d47-9d15-8917e2720a06" providerId="ADAL" clId="{CB224072-EA94-4500-BB44-FA94C70FEF2B}" dt="2025-12-31T10:40:11.069" v="5045"/>
          <ac:spMkLst>
            <pc:docMk/>
            <pc:sldMk cId="3006325013" sldId="267"/>
            <ac:spMk id="10" creationId="{DBE07558-0BA8-B7BF-79CC-A178082D3A3F}"/>
          </ac:spMkLst>
        </pc:spChg>
        <pc:spChg chg="del mod ord">
          <ac:chgData name="Aryan Tah (MiddleEast)" userId="7f6066b6-35e9-4d47-9d15-8917e2720a06" providerId="ADAL" clId="{CB224072-EA94-4500-BB44-FA94C70FEF2B}" dt="2025-12-31T11:51:19.608" v="5726" actId="1076"/>
          <ac:spMkLst>
            <pc:docMk/>
            <pc:sldMk cId="3006325013" sldId="267"/>
            <ac:spMk id="11" creationId="{4D625B54-13A3-2B7F-84D7-FC9EBDE871FE}"/>
          </ac:spMkLst>
        </pc:spChg>
        <pc:spChg chg="mod ord">
          <ac:chgData name="Aryan Tah (MiddleEast)" userId="7f6066b6-35e9-4d47-9d15-8917e2720a06" providerId="ADAL" clId="{CB224072-EA94-4500-BB44-FA94C70FEF2B}" dt="2025-12-31T10:40:11.069" v="5047"/>
          <ac:spMkLst>
            <pc:docMk/>
            <pc:sldMk cId="3006325013" sldId="267"/>
            <ac:spMk id="12" creationId="{C512E7FD-A9BD-AA32-D3AF-00EC6A45FC7A}"/>
          </ac:spMkLst>
        </pc:spChg>
        <pc:spChg chg="mod ord">
          <ac:chgData name="Aryan Tah (MiddleEast)" userId="7f6066b6-35e9-4d47-9d15-8917e2720a06" providerId="ADAL" clId="{CB224072-EA94-4500-BB44-FA94C70FEF2B}" dt="2025-12-31T10:40:11.061" v="5035"/>
          <ac:spMkLst>
            <pc:docMk/>
            <pc:sldMk cId="3006325013" sldId="267"/>
            <ac:spMk id="16" creationId="{CE072F5D-D12E-7DE5-3F4D-E8AEC82A8FDE}"/>
          </ac:spMkLst>
        </pc:spChg>
        <pc:spChg chg="mod ord">
          <ac:chgData name="Aryan Tah (MiddleEast)" userId="7f6066b6-35e9-4d47-9d15-8917e2720a06" providerId="ADAL" clId="{CB224072-EA94-4500-BB44-FA94C70FEF2B}" dt="2025-12-31T10:40:11.069" v="5049"/>
          <ac:spMkLst>
            <pc:docMk/>
            <pc:sldMk cId="3006325013" sldId="267"/>
            <ac:spMk id="18" creationId="{CA6EAA7B-37D3-DC1A-CD47-49B2562646B4}"/>
          </ac:spMkLst>
        </pc:spChg>
        <pc:spChg chg="del mod ord">
          <ac:chgData name="Aryan Tah (MiddleEast)" userId="7f6066b6-35e9-4d47-9d15-8917e2720a06" providerId="ADAL" clId="{CB224072-EA94-4500-BB44-FA94C70FEF2B}" dt="2025-12-31T10:40:11.069" v="5051"/>
          <ac:spMkLst>
            <pc:docMk/>
            <pc:sldMk cId="3006325013" sldId="267"/>
            <ac:spMk id="22" creationId="{725ABBFC-4473-1A81-8CE7-6396723CF4B1}"/>
          </ac:spMkLst>
        </pc:spChg>
        <pc:spChg chg="del mod ord topLvl">
          <ac:chgData name="Aryan Tah (MiddleEast)" userId="7f6066b6-35e9-4d47-9d15-8917e2720a06" providerId="ADAL" clId="{CB224072-EA94-4500-BB44-FA94C70FEF2B}" dt="2025-12-31T10:41:19.446" v="5094" actId="403"/>
          <ac:spMkLst>
            <pc:docMk/>
            <pc:sldMk cId="3006325013" sldId="267"/>
            <ac:spMk id="23" creationId="{2A731040-DDDA-5D9D-6AC4-289B4D3C29DF}"/>
          </ac:spMkLst>
        </pc:spChg>
        <pc:spChg chg="mod ord topLvl">
          <ac:chgData name="Aryan Tah (MiddleEast)" userId="7f6066b6-35e9-4d47-9d15-8917e2720a06" providerId="ADAL" clId="{CB224072-EA94-4500-BB44-FA94C70FEF2B}" dt="2025-12-31T10:46:31.618" v="5168" actId="113"/>
          <ac:spMkLst>
            <pc:docMk/>
            <pc:sldMk cId="3006325013" sldId="267"/>
            <ac:spMk id="24" creationId="{AB933D85-BA24-FC7C-75DC-0E6DE1ED4DBF}"/>
          </ac:spMkLst>
        </pc:spChg>
        <pc:spChg chg="del mod ord">
          <ac:chgData name="Aryan Tah (MiddleEast)" userId="7f6066b6-35e9-4d47-9d15-8917e2720a06" providerId="ADAL" clId="{CB224072-EA94-4500-BB44-FA94C70FEF2B}" dt="2025-12-31T11:51:19.608" v="5726" actId="1076"/>
          <ac:spMkLst>
            <pc:docMk/>
            <pc:sldMk cId="3006325013" sldId="267"/>
            <ac:spMk id="26" creationId="{71E06C74-8597-5FBE-8972-E274DDB00946}"/>
          </ac:spMkLst>
        </pc:spChg>
        <pc:spChg chg="add mod ord">
          <ac:chgData name="Aryan Tah (MiddleEast)" userId="7f6066b6-35e9-4d47-9d15-8917e2720a06" providerId="ADAL" clId="{CB224072-EA94-4500-BB44-FA94C70FEF2B}" dt="2025-12-31T11:51:19.608" v="5726" actId="1076"/>
          <ac:spMkLst>
            <pc:docMk/>
            <pc:sldMk cId="3006325013" sldId="267"/>
            <ac:spMk id="28" creationId="{2CF60833-F4B4-0DA8-FFD5-9DDA2BD5407F}"/>
          </ac:spMkLst>
        </pc:spChg>
        <pc:spChg chg="add mod ord">
          <ac:chgData name="Aryan Tah (MiddleEast)" userId="7f6066b6-35e9-4d47-9d15-8917e2720a06" providerId="ADAL" clId="{CB224072-EA94-4500-BB44-FA94C70FEF2B}" dt="2025-12-31T11:51:19.608" v="5726" actId="1076"/>
          <ac:spMkLst>
            <pc:docMk/>
            <pc:sldMk cId="3006325013" sldId="267"/>
            <ac:spMk id="43" creationId="{81FE6F5E-DAB4-2CC9-EABE-1164E1B2843F}"/>
          </ac:spMkLst>
        </pc:spChg>
        <pc:spChg chg="add mod ord">
          <ac:chgData name="Aryan Tah (MiddleEast)" userId="7f6066b6-35e9-4d47-9d15-8917e2720a06" providerId="ADAL" clId="{CB224072-EA94-4500-BB44-FA94C70FEF2B}" dt="2025-12-31T11:51:19.608" v="5726" actId="1076"/>
          <ac:spMkLst>
            <pc:docMk/>
            <pc:sldMk cId="3006325013" sldId="267"/>
            <ac:spMk id="53" creationId="{F481192D-77B8-136C-2E90-E67C395E0609}"/>
          </ac:spMkLst>
        </pc:spChg>
        <pc:spChg chg="del mod ord">
          <ac:chgData name="Aryan Tah (MiddleEast)" userId="7f6066b6-35e9-4d47-9d15-8917e2720a06" providerId="ADAL" clId="{CB224072-EA94-4500-BB44-FA94C70FEF2B}" dt="2025-12-31T11:51:19.608" v="5726" actId="1076"/>
          <ac:spMkLst>
            <pc:docMk/>
            <pc:sldMk cId="3006325013" sldId="267"/>
            <ac:spMk id="56" creationId="{0DF0D3E4-06B5-5698-FC7E-09055CAF22DF}"/>
          </ac:spMkLst>
        </pc:spChg>
        <pc:spChg chg="mod topLvl">
          <ac:chgData name="Aryan Tah (MiddleEast)" userId="7f6066b6-35e9-4d47-9d15-8917e2720a06" providerId="ADAL" clId="{CB224072-EA94-4500-BB44-FA94C70FEF2B}" dt="2025-12-31T10:45:07.096" v="5129" actId="164"/>
          <ac:spMkLst>
            <pc:docMk/>
            <pc:sldMk cId="3006325013" sldId="267"/>
            <ac:spMk id="63" creationId="{1D15911D-B070-8DE8-3D7D-50BC763190A9}"/>
          </ac:spMkLst>
        </pc:spChg>
        <pc:spChg chg="mod topLvl">
          <ac:chgData name="Aryan Tah (MiddleEast)" userId="7f6066b6-35e9-4d47-9d15-8917e2720a06" providerId="ADAL" clId="{CB224072-EA94-4500-BB44-FA94C70FEF2B}" dt="2025-12-31T10:46:46.828" v="5185" actId="20577"/>
          <ac:spMkLst>
            <pc:docMk/>
            <pc:sldMk cId="3006325013" sldId="267"/>
            <ac:spMk id="64" creationId="{289EBD11-6054-D4BA-B447-183C44189C2A}"/>
          </ac:spMkLst>
        </pc:spChg>
        <pc:spChg chg="mod">
          <ac:chgData name="Aryan Tah (MiddleEast)" userId="7f6066b6-35e9-4d47-9d15-8917e2720a06" providerId="ADAL" clId="{CB224072-EA94-4500-BB44-FA94C70FEF2B}" dt="2025-12-31T10:41:19.446" v="5094" actId="403"/>
          <ac:spMkLst>
            <pc:docMk/>
            <pc:sldMk cId="3006325013" sldId="267"/>
            <ac:spMk id="69" creationId="{7E625384-7D6B-0BA5-7086-27C67976FBEB}"/>
          </ac:spMkLst>
        </pc:spChg>
        <pc:spChg chg="mod">
          <ac:chgData name="Aryan Tah (MiddleEast)" userId="7f6066b6-35e9-4d47-9d15-8917e2720a06" providerId="ADAL" clId="{CB224072-EA94-4500-BB44-FA94C70FEF2B}" dt="2025-12-31T10:47:01.778" v="5188" actId="20577"/>
          <ac:spMkLst>
            <pc:docMk/>
            <pc:sldMk cId="3006325013" sldId="267"/>
            <ac:spMk id="70" creationId="{304B2A6D-D0A8-449C-C430-F50036E715CF}"/>
          </ac:spMkLst>
        </pc:spChg>
        <pc:spChg chg="add mod">
          <ac:chgData name="Aryan Tah (MiddleEast)" userId="7f6066b6-35e9-4d47-9d15-8917e2720a06" providerId="ADAL" clId="{CB224072-EA94-4500-BB44-FA94C70FEF2B}" dt="2025-12-31T11:51:19.608" v="5726" actId="1076"/>
          <ac:spMkLst>
            <pc:docMk/>
            <pc:sldMk cId="3006325013" sldId="267"/>
            <ac:spMk id="72" creationId="{26A67E2F-9F3E-0BB5-7C81-5C39AC00E78A}"/>
          </ac:spMkLst>
        </pc:spChg>
        <pc:spChg chg="add mod">
          <ac:chgData name="Aryan Tah (MiddleEast)" userId="7f6066b6-35e9-4d47-9d15-8917e2720a06" providerId="ADAL" clId="{CB224072-EA94-4500-BB44-FA94C70FEF2B}" dt="2025-12-31T11:51:19.608" v="5726" actId="1076"/>
          <ac:spMkLst>
            <pc:docMk/>
            <pc:sldMk cId="3006325013" sldId="267"/>
            <ac:spMk id="73" creationId="{6D27BA4D-1F17-A570-CC40-A7C72CBFB8F9}"/>
          </ac:spMkLst>
        </pc:spChg>
        <pc:spChg chg="add mod">
          <ac:chgData name="Aryan Tah (MiddleEast)" userId="7f6066b6-35e9-4d47-9d15-8917e2720a06" providerId="ADAL" clId="{CB224072-EA94-4500-BB44-FA94C70FEF2B}" dt="2025-12-31T11:51:19.608" v="5726" actId="1076"/>
          <ac:spMkLst>
            <pc:docMk/>
            <pc:sldMk cId="3006325013" sldId="267"/>
            <ac:spMk id="74" creationId="{9C2B5A8A-5BBB-5446-E44C-E16CA8F6CA8C}"/>
          </ac:spMkLst>
        </pc:spChg>
        <pc:spChg chg="add mod">
          <ac:chgData name="Aryan Tah (MiddleEast)" userId="7f6066b6-35e9-4d47-9d15-8917e2720a06" providerId="ADAL" clId="{CB224072-EA94-4500-BB44-FA94C70FEF2B}" dt="2025-12-31T11:51:56.279" v="5806" actId="20577"/>
          <ac:spMkLst>
            <pc:docMk/>
            <pc:sldMk cId="3006325013" sldId="267"/>
            <ac:spMk id="75" creationId="{C2D4A7BE-C516-D07E-E7C3-AFF4BD85A3C4}"/>
          </ac:spMkLst>
        </pc:spChg>
        <pc:spChg chg="add mod">
          <ac:chgData name="Aryan Tah (MiddleEast)" userId="7f6066b6-35e9-4d47-9d15-8917e2720a06" providerId="ADAL" clId="{CB224072-EA94-4500-BB44-FA94C70FEF2B}" dt="2025-12-31T11:52:35.395" v="5822" actId="14100"/>
          <ac:spMkLst>
            <pc:docMk/>
            <pc:sldMk cId="3006325013" sldId="267"/>
            <ac:spMk id="76" creationId="{21ADEEC7-6C85-26DE-366A-4AEF0350F7A8}"/>
          </ac:spMkLst>
        </pc:spChg>
        <pc:grpChg chg="add mod">
          <ac:chgData name="Aryan Tah (MiddleEast)" userId="7f6066b6-35e9-4d47-9d15-8917e2720a06" providerId="ADAL" clId="{CB224072-EA94-4500-BB44-FA94C70FEF2B}" dt="2025-12-31T10:44:42.977" v="5124" actId="1035"/>
          <ac:grpSpMkLst>
            <pc:docMk/>
            <pc:sldMk cId="3006325013" sldId="267"/>
            <ac:grpSpMk id="58" creationId="{F19EF1F0-D760-9360-63A1-AE6DC158B173}"/>
          </ac:grpSpMkLst>
        </pc:grpChg>
        <pc:grpChg chg="add mod">
          <ac:chgData name="Aryan Tah (MiddleEast)" userId="7f6066b6-35e9-4d47-9d15-8917e2720a06" providerId="ADAL" clId="{CB224072-EA94-4500-BB44-FA94C70FEF2B}" dt="2025-12-31T10:40:46.931" v="5090" actId="571"/>
          <ac:grpSpMkLst>
            <pc:docMk/>
            <pc:sldMk cId="3006325013" sldId="267"/>
            <ac:grpSpMk id="68" creationId="{286BCF16-D45A-DCD9-7C7B-CF71F8FBC8D9}"/>
          </ac:grpSpMkLst>
        </pc:grpChg>
        <pc:grpChg chg="add mod">
          <ac:chgData name="Aryan Tah (MiddleEast)" userId="7f6066b6-35e9-4d47-9d15-8917e2720a06" providerId="ADAL" clId="{CB224072-EA94-4500-BB44-FA94C70FEF2B}" dt="2025-12-31T10:45:10.120" v="5131" actId="465"/>
          <ac:grpSpMkLst>
            <pc:docMk/>
            <pc:sldMk cId="3006325013" sldId="267"/>
            <ac:grpSpMk id="71" creationId="{498D18FF-D399-6314-57A5-5D7E71B1F161}"/>
          </ac:grpSpMkLst>
        </pc:grpChg>
        <pc:graphicFrameChg chg="mod">
          <ac:chgData name="Aryan Tah (MiddleEast)" userId="7f6066b6-35e9-4d47-9d15-8917e2720a06" providerId="ADAL" clId="{CB224072-EA94-4500-BB44-FA94C70FEF2B}" dt="2025-12-31T10:40:11.078" v="5077"/>
          <ac:graphicFrameMkLst>
            <pc:docMk/>
            <pc:sldMk cId="3006325013" sldId="267"/>
            <ac:graphicFrameMk id="3" creationId="{3FD4988E-EB83-0775-BD4A-AECDF14FE2E0}"/>
          </ac:graphicFrameMkLst>
        </pc:graphicFrameChg>
        <pc:cxnChg chg="mod ord">
          <ac:chgData name="Aryan Tah (MiddleEast)" userId="7f6066b6-35e9-4d47-9d15-8917e2720a06" providerId="ADAL" clId="{CB224072-EA94-4500-BB44-FA94C70FEF2B}" dt="2025-12-31T10:40:11.069" v="5053"/>
          <ac:cxnSpMkLst>
            <pc:docMk/>
            <pc:sldMk cId="3006325013" sldId="267"/>
            <ac:cxnSpMk id="25" creationId="{6EF77791-8CFF-F0B4-73B1-0B7C9C76FFC8}"/>
          </ac:cxnSpMkLst>
        </pc:cxnChg>
        <pc:cxnChg chg="mod ord">
          <ac:chgData name="Aryan Tah (MiddleEast)" userId="7f6066b6-35e9-4d47-9d15-8917e2720a06" providerId="ADAL" clId="{CB224072-EA94-4500-BB44-FA94C70FEF2B}" dt="2026-01-02T09:14:49.816" v="6805" actId="1076"/>
          <ac:cxnSpMkLst>
            <pc:docMk/>
            <pc:sldMk cId="3006325013" sldId="267"/>
            <ac:cxnSpMk id="29" creationId="{6523DFA3-968A-21AD-AE19-0109D20F5B3C}"/>
          </ac:cxnSpMkLst>
        </pc:cxnChg>
        <pc:cxnChg chg="mod ord">
          <ac:chgData name="Aryan Tah (MiddleEast)" userId="7f6066b6-35e9-4d47-9d15-8917e2720a06" providerId="ADAL" clId="{CB224072-EA94-4500-BB44-FA94C70FEF2B}" dt="2025-12-31T10:40:11.069" v="5057"/>
          <ac:cxnSpMkLst>
            <pc:docMk/>
            <pc:sldMk cId="3006325013" sldId="267"/>
            <ac:cxnSpMk id="35" creationId="{E26E44CF-D1CB-DF69-EB56-A924123F0111}"/>
          </ac:cxnSpMkLst>
        </pc:cxnChg>
      </pc:sldChg>
      <pc:sldChg chg="addSp delSp modSp mod ord modShow">
        <pc:chgData name="Aryan Tah (MiddleEast)" userId="7f6066b6-35e9-4d47-9d15-8917e2720a06" providerId="ADAL" clId="{CB224072-EA94-4500-BB44-FA94C70FEF2B}" dt="2026-01-03T18:19:11.369" v="7945" actId="729"/>
        <pc:sldMkLst>
          <pc:docMk/>
          <pc:sldMk cId="1123256039" sldId="273"/>
        </pc:sldMkLst>
        <pc:spChg chg="mod ord">
          <ac:chgData name="Aryan Tah (MiddleEast)" userId="7f6066b6-35e9-4d47-9d15-8917e2720a06" providerId="ADAL" clId="{CB224072-EA94-4500-BB44-FA94C70FEF2B}" dt="2025-12-31T10:55:36.182" v="5493"/>
          <ac:spMkLst>
            <pc:docMk/>
            <pc:sldMk cId="1123256039" sldId="273"/>
            <ac:spMk id="4" creationId="{5E2D0CCB-7842-86B2-BB43-53BB812BAF96}"/>
          </ac:spMkLst>
        </pc:spChg>
        <pc:spChg chg="mod ord">
          <ac:chgData name="Aryan Tah (MiddleEast)" userId="7f6066b6-35e9-4d47-9d15-8917e2720a06" providerId="ADAL" clId="{CB224072-EA94-4500-BB44-FA94C70FEF2B}" dt="2025-12-31T10:55:36.184" v="5505"/>
          <ac:spMkLst>
            <pc:docMk/>
            <pc:sldMk cId="1123256039" sldId="273"/>
            <ac:spMk id="7" creationId="{68595633-E46B-BBFB-F7FE-B67037FE8028}"/>
          </ac:spMkLst>
        </pc:spChg>
        <pc:spChg chg="add mod ord">
          <ac:chgData name="Aryan Tah (MiddleEast)" userId="7f6066b6-35e9-4d47-9d15-8917e2720a06" providerId="ADAL" clId="{CB224072-EA94-4500-BB44-FA94C70FEF2B}" dt="2025-12-31T10:55:41.204" v="5530" actId="20577"/>
          <ac:spMkLst>
            <pc:docMk/>
            <pc:sldMk cId="1123256039" sldId="273"/>
            <ac:spMk id="13" creationId="{7EABF7D7-1D4B-25D5-4F5C-E7FFA0AABBEC}"/>
          </ac:spMkLst>
        </pc:spChg>
        <pc:spChg chg="add mod ord topLvl">
          <ac:chgData name="Aryan Tah (MiddleEast)" userId="7f6066b6-35e9-4d47-9d15-8917e2720a06" providerId="ADAL" clId="{CB224072-EA94-4500-BB44-FA94C70FEF2B}" dt="2025-12-31T10:57:55.381" v="5607" actId="165"/>
          <ac:spMkLst>
            <pc:docMk/>
            <pc:sldMk cId="1123256039" sldId="273"/>
            <ac:spMk id="14" creationId="{D25B5C29-DEA6-4AA8-6B52-B72D0FA1C520}"/>
          </ac:spMkLst>
        </pc:spChg>
        <pc:spChg chg="add mod">
          <ac:chgData name="Aryan Tah (MiddleEast)" userId="7f6066b6-35e9-4d47-9d15-8917e2720a06" providerId="ADAL" clId="{CB224072-EA94-4500-BB44-FA94C70FEF2B}" dt="2025-12-31T11:00:36.863" v="5697"/>
          <ac:spMkLst>
            <pc:docMk/>
            <pc:sldMk cId="1123256039" sldId="273"/>
            <ac:spMk id="16" creationId="{C2328F6F-B8F2-60FC-BBCE-C89CF28A2D0D}"/>
          </ac:spMkLst>
        </pc:spChg>
        <pc:spChg chg="add mod">
          <ac:chgData name="Aryan Tah (MiddleEast)" userId="7f6066b6-35e9-4d47-9d15-8917e2720a06" providerId="ADAL" clId="{CB224072-EA94-4500-BB44-FA94C70FEF2B}" dt="2025-12-31T11:00:36.863" v="5697"/>
          <ac:spMkLst>
            <pc:docMk/>
            <pc:sldMk cId="1123256039" sldId="273"/>
            <ac:spMk id="17" creationId="{44DBA80F-990A-05E9-AA07-F9BB200A51A4}"/>
          </ac:spMkLst>
        </pc:spChg>
        <pc:spChg chg="add mod ord">
          <ac:chgData name="Aryan Tah (MiddleEast)" userId="7f6066b6-35e9-4d47-9d15-8917e2720a06" providerId="ADAL" clId="{CB224072-EA94-4500-BB44-FA94C70FEF2B}" dt="2025-12-31T11:00:36.863" v="5697"/>
          <ac:spMkLst>
            <pc:docMk/>
            <pc:sldMk cId="1123256039" sldId="273"/>
            <ac:spMk id="18" creationId="{306FE702-DF0E-C051-074F-221D1CC858B6}"/>
          </ac:spMkLst>
        </pc:spChg>
        <pc:spChg chg="add mod ord topLvl">
          <ac:chgData name="Aryan Tah (MiddleEast)" userId="7f6066b6-35e9-4d47-9d15-8917e2720a06" providerId="ADAL" clId="{CB224072-EA94-4500-BB44-FA94C70FEF2B}" dt="2025-12-31T10:59:58.326" v="5662" actId="33524"/>
          <ac:spMkLst>
            <pc:docMk/>
            <pc:sldMk cId="1123256039" sldId="273"/>
            <ac:spMk id="21" creationId="{7D4141C9-4697-9114-5705-EFFF603DE1A1}"/>
          </ac:spMkLst>
        </pc:spChg>
        <pc:spChg chg="add mod">
          <ac:chgData name="Aryan Tah (MiddleEast)" userId="7f6066b6-35e9-4d47-9d15-8917e2720a06" providerId="ADAL" clId="{CB224072-EA94-4500-BB44-FA94C70FEF2B}" dt="2025-12-31T10:57:47.106" v="5606" actId="20577"/>
          <ac:spMkLst>
            <pc:docMk/>
            <pc:sldMk cId="1123256039" sldId="273"/>
            <ac:spMk id="22" creationId="{A1FDC4C9-C53E-6F16-6455-528D5FFB2B80}"/>
          </ac:spMkLst>
        </pc:spChg>
        <pc:spChg chg="mod">
          <ac:chgData name="Aryan Tah (MiddleEast)" userId="7f6066b6-35e9-4d47-9d15-8917e2720a06" providerId="ADAL" clId="{CB224072-EA94-4500-BB44-FA94C70FEF2B}" dt="2025-12-31T11:00:36.861" v="5694"/>
          <ac:spMkLst>
            <pc:docMk/>
            <pc:sldMk cId="1123256039" sldId="273"/>
            <ac:spMk id="24" creationId="{375867F6-EE67-5B88-B2A4-17128CD8E890}"/>
          </ac:spMkLst>
        </pc:spChg>
        <pc:spChg chg="mod">
          <ac:chgData name="Aryan Tah (MiddleEast)" userId="7f6066b6-35e9-4d47-9d15-8917e2720a06" providerId="ADAL" clId="{CB224072-EA94-4500-BB44-FA94C70FEF2B}" dt="2025-12-31T11:00:36.861" v="5694"/>
          <ac:spMkLst>
            <pc:docMk/>
            <pc:sldMk cId="1123256039" sldId="273"/>
            <ac:spMk id="26" creationId="{1506BC17-EEB4-CD18-B48E-869A0DAB5975}"/>
          </ac:spMkLst>
        </pc:spChg>
        <pc:spChg chg="mod">
          <ac:chgData name="Aryan Tah (MiddleEast)" userId="7f6066b6-35e9-4d47-9d15-8917e2720a06" providerId="ADAL" clId="{CB224072-EA94-4500-BB44-FA94C70FEF2B}" dt="2025-12-31T11:00:36.861" v="5694"/>
          <ac:spMkLst>
            <pc:docMk/>
            <pc:sldMk cId="1123256039" sldId="273"/>
            <ac:spMk id="27" creationId="{EFD3FA48-AE5D-9F65-3E7B-7B7139A7A616}"/>
          </ac:spMkLst>
        </pc:spChg>
        <pc:spChg chg="add mod topLvl">
          <ac:chgData name="Aryan Tah (MiddleEast)" userId="7f6066b6-35e9-4d47-9d15-8917e2720a06" providerId="ADAL" clId="{CB224072-EA94-4500-BB44-FA94C70FEF2B}" dt="2025-12-31T11:07:14.745" v="5724" actId="20577"/>
          <ac:spMkLst>
            <pc:docMk/>
            <pc:sldMk cId="1123256039" sldId="273"/>
            <ac:spMk id="31" creationId="{DAE8A0C9-BF76-CFF2-87A1-9B8073FAACD9}"/>
          </ac:spMkLst>
        </pc:spChg>
        <pc:spChg chg="mod">
          <ac:chgData name="Aryan Tah (MiddleEast)" userId="7f6066b6-35e9-4d47-9d15-8917e2720a06" providerId="ADAL" clId="{CB224072-EA94-4500-BB44-FA94C70FEF2B}" dt="2025-12-31T11:00:36.861" v="5691"/>
          <ac:spMkLst>
            <pc:docMk/>
            <pc:sldMk cId="1123256039" sldId="273"/>
            <ac:spMk id="33" creationId="{4671AF00-6365-A1D3-F93F-17F1BF8E1AC5}"/>
          </ac:spMkLst>
        </pc:spChg>
        <pc:spChg chg="mod">
          <ac:chgData name="Aryan Tah (MiddleEast)" userId="7f6066b6-35e9-4d47-9d15-8917e2720a06" providerId="ADAL" clId="{CB224072-EA94-4500-BB44-FA94C70FEF2B}" dt="2025-12-31T11:00:36.861" v="5691"/>
          <ac:spMkLst>
            <pc:docMk/>
            <pc:sldMk cId="1123256039" sldId="273"/>
            <ac:spMk id="35" creationId="{C24D1C18-0724-5F75-D8D2-408B1FB38125}"/>
          </ac:spMkLst>
        </pc:spChg>
        <pc:spChg chg="mod">
          <ac:chgData name="Aryan Tah (MiddleEast)" userId="7f6066b6-35e9-4d47-9d15-8917e2720a06" providerId="ADAL" clId="{CB224072-EA94-4500-BB44-FA94C70FEF2B}" dt="2025-12-31T11:00:36.861" v="5691"/>
          <ac:spMkLst>
            <pc:docMk/>
            <pc:sldMk cId="1123256039" sldId="273"/>
            <ac:spMk id="36" creationId="{E5381B32-9CCF-43FA-ED10-A26750262055}"/>
          </ac:spMkLst>
        </pc:spChg>
        <pc:spChg chg="add mod">
          <ac:chgData name="Aryan Tah (MiddleEast)" userId="7f6066b6-35e9-4d47-9d15-8917e2720a06" providerId="ADAL" clId="{CB224072-EA94-4500-BB44-FA94C70FEF2B}" dt="2025-12-31T11:53:09.596" v="5831" actId="207"/>
          <ac:spMkLst>
            <pc:docMk/>
            <pc:sldMk cId="1123256039" sldId="273"/>
            <ac:spMk id="38" creationId="{00C539BA-75F5-2255-AC62-5C42E827BD88}"/>
          </ac:spMkLst>
        </pc:spChg>
        <pc:spChg chg="mod ord">
          <ac:chgData name="Aryan Tah (MiddleEast)" userId="7f6066b6-35e9-4d47-9d15-8917e2720a06" providerId="ADAL" clId="{CB224072-EA94-4500-BB44-FA94C70FEF2B}" dt="2025-12-31T10:55:36.186" v="5507"/>
          <ac:spMkLst>
            <pc:docMk/>
            <pc:sldMk cId="1123256039" sldId="273"/>
            <ac:spMk id="89" creationId="{BB86A975-AA86-BDC3-2FA5-5AE5FE1BDA9C}"/>
          </ac:spMkLst>
        </pc:spChg>
        <pc:spChg chg="mod ord">
          <ac:chgData name="Aryan Tah (MiddleEast)" userId="7f6066b6-35e9-4d47-9d15-8917e2720a06" providerId="ADAL" clId="{CB224072-EA94-4500-BB44-FA94C70FEF2B}" dt="2025-12-31T10:55:36.188" v="5511"/>
          <ac:spMkLst>
            <pc:docMk/>
            <pc:sldMk cId="1123256039" sldId="273"/>
            <ac:spMk id="90" creationId="{C77373EE-F384-D41C-D4DB-203413796038}"/>
          </ac:spMkLst>
        </pc:spChg>
        <pc:spChg chg="mod ord">
          <ac:chgData name="Aryan Tah (MiddleEast)" userId="7f6066b6-35e9-4d47-9d15-8917e2720a06" providerId="ADAL" clId="{CB224072-EA94-4500-BB44-FA94C70FEF2B}" dt="2025-12-31T10:55:36.174" v="5491"/>
          <ac:spMkLst>
            <pc:docMk/>
            <pc:sldMk cId="1123256039" sldId="273"/>
            <ac:spMk id="95" creationId="{2C7D79A4-0036-8B67-D0D4-8239661D8884}"/>
          </ac:spMkLst>
        </pc:spChg>
        <pc:grpChg chg="add mod ord">
          <ac:chgData name="Aryan Tah (MiddleEast)" userId="7f6066b6-35e9-4d47-9d15-8917e2720a06" providerId="ADAL" clId="{CB224072-EA94-4500-BB44-FA94C70FEF2B}" dt="2025-12-31T11:00:36.863" v="5697"/>
          <ac:grpSpMkLst>
            <pc:docMk/>
            <pc:sldMk cId="1123256039" sldId="273"/>
            <ac:grpSpMk id="19" creationId="{9EFE09F1-5A10-9014-2F56-C7272B08A594}"/>
          </ac:grpSpMkLst>
        </pc:grpChg>
        <pc:grpChg chg="add mod ord">
          <ac:chgData name="Aryan Tah (MiddleEast)" userId="7f6066b6-35e9-4d47-9d15-8917e2720a06" providerId="ADAL" clId="{CB224072-EA94-4500-BB44-FA94C70FEF2B}" dt="2025-12-31T11:00:50.388" v="5702" actId="1035"/>
          <ac:grpSpMkLst>
            <pc:docMk/>
            <pc:sldMk cId="1123256039" sldId="273"/>
            <ac:grpSpMk id="20" creationId="{1E2D3CE8-46DE-4DD8-AB46-DEA79098AFF4}"/>
          </ac:grpSpMkLst>
        </pc:grpChg>
        <pc:grpChg chg="add mod">
          <ac:chgData name="Aryan Tah (MiddleEast)" userId="7f6066b6-35e9-4d47-9d15-8917e2720a06" providerId="ADAL" clId="{CB224072-EA94-4500-BB44-FA94C70FEF2B}" dt="2025-12-31T11:00:52.998" v="5704" actId="1035"/>
          <ac:grpSpMkLst>
            <pc:docMk/>
            <pc:sldMk cId="1123256039" sldId="273"/>
            <ac:grpSpMk id="23" creationId="{230AE7D6-3F21-54D2-8369-CF01513B504E}"/>
          </ac:grpSpMkLst>
        </pc:grpChg>
        <pc:grpChg chg="mod">
          <ac:chgData name="Aryan Tah (MiddleEast)" userId="7f6066b6-35e9-4d47-9d15-8917e2720a06" providerId="ADAL" clId="{CB224072-EA94-4500-BB44-FA94C70FEF2B}" dt="2025-12-31T11:00:36.861" v="5694"/>
          <ac:grpSpMkLst>
            <pc:docMk/>
            <pc:sldMk cId="1123256039" sldId="273"/>
            <ac:grpSpMk id="25" creationId="{2CB3C7F6-3073-003F-F875-DF209B7C4B90}"/>
          </ac:grpSpMkLst>
        </pc:grpChg>
        <pc:grpChg chg="add mod">
          <ac:chgData name="Aryan Tah (MiddleEast)" userId="7f6066b6-35e9-4d47-9d15-8917e2720a06" providerId="ADAL" clId="{CB224072-EA94-4500-BB44-FA94C70FEF2B}" dt="2025-12-31T11:00:36.861" v="5691"/>
          <ac:grpSpMkLst>
            <pc:docMk/>
            <pc:sldMk cId="1123256039" sldId="273"/>
            <ac:grpSpMk id="32" creationId="{F57BDFF5-DE38-97FE-B141-FE7BF9E9044B}"/>
          </ac:grpSpMkLst>
        </pc:grpChg>
        <pc:grpChg chg="mod">
          <ac:chgData name="Aryan Tah (MiddleEast)" userId="7f6066b6-35e9-4d47-9d15-8917e2720a06" providerId="ADAL" clId="{CB224072-EA94-4500-BB44-FA94C70FEF2B}" dt="2025-12-31T11:00:36.861" v="5691"/>
          <ac:grpSpMkLst>
            <pc:docMk/>
            <pc:sldMk cId="1123256039" sldId="273"/>
            <ac:grpSpMk id="34" creationId="{F80D3F3E-669F-5CAE-BAEA-E5C1FD1E0106}"/>
          </ac:grpSpMkLst>
        </pc:grpChg>
        <pc:grpChg chg="mod ord">
          <ac:chgData name="Aryan Tah (MiddleEast)" userId="7f6066b6-35e9-4d47-9d15-8917e2720a06" providerId="ADAL" clId="{CB224072-EA94-4500-BB44-FA94C70FEF2B}" dt="2025-12-31T10:55:36.187" v="5509"/>
          <ac:grpSpMkLst>
            <pc:docMk/>
            <pc:sldMk cId="1123256039" sldId="273"/>
            <ac:grpSpMk id="100" creationId="{DF7CF3D3-0623-B246-7223-FA12231A1EC9}"/>
          </ac:grpSpMkLst>
        </pc:grpChg>
        <pc:graphicFrameChg chg="mod">
          <ac:chgData name="Aryan Tah (MiddleEast)" userId="7f6066b6-35e9-4d47-9d15-8917e2720a06" providerId="ADAL" clId="{CB224072-EA94-4500-BB44-FA94C70FEF2B}" dt="2025-12-31T10:55:36.190" v="5529"/>
          <ac:graphicFrameMkLst>
            <pc:docMk/>
            <pc:sldMk cId="1123256039" sldId="273"/>
            <ac:graphicFrameMk id="3" creationId="{0A961910-78C1-16E7-5B2B-ABBBE40937C2}"/>
          </ac:graphicFrameMkLst>
        </pc:graphicFrameChg>
      </pc:sldChg>
      <pc:sldChg chg="delSp modSp add mod ord modShow">
        <pc:chgData name="Aryan Tah (MiddleEast)" userId="7f6066b6-35e9-4d47-9d15-8917e2720a06" providerId="ADAL" clId="{CB224072-EA94-4500-BB44-FA94C70FEF2B}" dt="2025-12-31T11:02:52.107" v="5714"/>
        <pc:sldMkLst>
          <pc:docMk/>
          <pc:sldMk cId="29872956" sldId="274"/>
        </pc:sldMkLst>
        <pc:spChg chg="mod">
          <ac:chgData name="Aryan Tah (MiddleEast)" userId="7f6066b6-35e9-4d47-9d15-8917e2720a06" providerId="ADAL" clId="{CB224072-EA94-4500-BB44-FA94C70FEF2B}" dt="2025-12-31T11:02:17.153" v="5708"/>
          <ac:spMkLst>
            <pc:docMk/>
            <pc:sldMk cId="29872956" sldId="274"/>
            <ac:spMk id="12" creationId="{00779AB1-6646-7455-D1C1-9FFF47AF466C}"/>
          </ac:spMkLst>
        </pc:spChg>
        <pc:spChg chg="mod">
          <ac:chgData name="Aryan Tah (MiddleEast)" userId="7f6066b6-35e9-4d47-9d15-8917e2720a06" providerId="ADAL" clId="{CB224072-EA94-4500-BB44-FA94C70FEF2B}" dt="2025-12-31T11:02:32.076" v="5709"/>
          <ac:spMkLst>
            <pc:docMk/>
            <pc:sldMk cId="29872956" sldId="274"/>
            <ac:spMk id="26" creationId="{2444BE1F-9BD0-B7B6-1760-ECA1B97617A2}"/>
          </ac:spMkLst>
        </pc:spChg>
      </pc:sldChg>
      <pc:sldChg chg="add mod modShow">
        <pc:chgData name="Aryan Tah (MiddleEast)" userId="7f6066b6-35e9-4d47-9d15-8917e2720a06" providerId="ADAL" clId="{CB224072-EA94-4500-BB44-FA94C70FEF2B}" dt="2025-12-31T10:30:59.524" v="4733" actId="729"/>
        <pc:sldMkLst>
          <pc:docMk/>
          <pc:sldMk cId="2813437918" sldId="276"/>
        </pc:sldMkLst>
      </pc:sldChg>
      <pc:sldChg chg="addSp delSp modSp mod ord modShow">
        <pc:chgData name="Aryan Tah (MiddleEast)" userId="7f6066b6-35e9-4d47-9d15-8917e2720a06" providerId="ADAL" clId="{CB224072-EA94-4500-BB44-FA94C70FEF2B}" dt="2026-01-03T18:19:17.623" v="7946" actId="729"/>
        <pc:sldMkLst>
          <pc:docMk/>
          <pc:sldMk cId="3250220506" sldId="277"/>
        </pc:sldMkLst>
        <pc:spChg chg="mod">
          <ac:chgData name="Aryan Tah (MiddleEast)" userId="7f6066b6-35e9-4d47-9d15-8917e2720a06" providerId="ADAL" clId="{CB224072-EA94-4500-BB44-FA94C70FEF2B}" dt="2025-12-31T12:22:53.426" v="6011" actId="20577"/>
          <ac:spMkLst>
            <pc:docMk/>
            <pc:sldMk cId="3250220506" sldId="277"/>
            <ac:spMk id="3" creationId="{BC5A8CE4-07F7-733B-6932-6E941213F16A}"/>
          </ac:spMkLst>
        </pc:spChg>
      </pc:sldChg>
      <pc:sldChg chg="addSp delSp modSp add mod modShow">
        <pc:chgData name="Aryan Tah (MiddleEast)" userId="7f6066b6-35e9-4d47-9d15-8917e2720a06" providerId="ADAL" clId="{CB224072-EA94-4500-BB44-FA94C70FEF2B}" dt="2026-01-03T21:38:26.385" v="10532" actId="14100"/>
        <pc:sldMkLst>
          <pc:docMk/>
          <pc:sldMk cId="153474260" sldId="280"/>
        </pc:sldMkLst>
        <pc:spChg chg="mod ord">
          <ac:chgData name="Aryan Tah (MiddleEast)" userId="7f6066b6-35e9-4d47-9d15-8917e2720a06" providerId="ADAL" clId="{CB224072-EA94-4500-BB44-FA94C70FEF2B}" dt="2026-01-03T17:58:30.496" v="7499" actId="948"/>
          <ac:spMkLst>
            <pc:docMk/>
            <pc:sldMk cId="153474260" sldId="280"/>
            <ac:spMk id="2" creationId="{2AA56B67-344C-ED66-0846-CD96773BB6F5}"/>
          </ac:spMkLst>
        </pc:spChg>
        <pc:spChg chg="add mod ord topLvl">
          <ac:chgData name="Aryan Tah (MiddleEast)" userId="7f6066b6-35e9-4d47-9d15-8917e2720a06" providerId="ADAL" clId="{CB224072-EA94-4500-BB44-FA94C70FEF2B}" dt="2026-01-03T17:58:24.754" v="7497" actId="20577"/>
          <ac:spMkLst>
            <pc:docMk/>
            <pc:sldMk cId="153474260" sldId="280"/>
            <ac:spMk id="10" creationId="{CEA467FD-8D1C-A6CF-2A5C-03C66BD47137}"/>
          </ac:spMkLst>
        </pc:spChg>
        <pc:spChg chg="add mod ord topLvl">
          <ac:chgData name="Aryan Tah (MiddleEast)" userId="7f6066b6-35e9-4d47-9d15-8917e2720a06" providerId="ADAL" clId="{CB224072-EA94-4500-BB44-FA94C70FEF2B}" dt="2026-01-02T08:58:29.855" v="6671"/>
          <ac:spMkLst>
            <pc:docMk/>
            <pc:sldMk cId="153474260" sldId="280"/>
            <ac:spMk id="12" creationId="{38C59F42-E085-C2EB-A560-CBF1578ED7D4}"/>
          </ac:spMkLst>
        </pc:spChg>
        <pc:spChg chg="add mod ord topLvl">
          <ac:chgData name="Aryan Tah (MiddleEast)" userId="7f6066b6-35e9-4d47-9d15-8917e2720a06" providerId="ADAL" clId="{CB224072-EA94-4500-BB44-FA94C70FEF2B}" dt="2026-01-03T21:23:20.360" v="9972"/>
          <ac:spMkLst>
            <pc:docMk/>
            <pc:sldMk cId="153474260" sldId="280"/>
            <ac:spMk id="27" creationId="{D9ED3E9E-1140-7C70-4F94-5000804B1819}"/>
          </ac:spMkLst>
        </pc:spChg>
        <pc:spChg chg="add mod topLvl">
          <ac:chgData name="Aryan Tah (MiddleEast)" userId="7f6066b6-35e9-4d47-9d15-8917e2720a06" providerId="ADAL" clId="{CB224072-EA94-4500-BB44-FA94C70FEF2B}" dt="2026-01-02T09:01:09.063" v="6720" actId="20577"/>
          <ac:spMkLst>
            <pc:docMk/>
            <pc:sldMk cId="153474260" sldId="280"/>
            <ac:spMk id="28" creationId="{7B45212A-73FC-9E3F-E557-DA7F11671220}"/>
          </ac:spMkLst>
        </pc:spChg>
        <pc:spChg chg="mod topLvl">
          <ac:chgData name="Aryan Tah (MiddleEast)" userId="7f6066b6-35e9-4d47-9d15-8917e2720a06" providerId="ADAL" clId="{CB224072-EA94-4500-BB44-FA94C70FEF2B}" dt="2026-01-02T09:00:59.106" v="6718" actId="20577"/>
          <ac:spMkLst>
            <pc:docMk/>
            <pc:sldMk cId="153474260" sldId="280"/>
            <ac:spMk id="32" creationId="{2783CD85-ADDB-CD01-D354-B2D959A61944}"/>
          </ac:spMkLst>
        </pc:spChg>
        <pc:spChg chg="mod topLvl">
          <ac:chgData name="Aryan Tah (MiddleEast)" userId="7f6066b6-35e9-4d47-9d15-8917e2720a06" providerId="ADAL" clId="{CB224072-EA94-4500-BB44-FA94C70FEF2B}" dt="2026-01-03T21:31:54.656" v="10101"/>
          <ac:spMkLst>
            <pc:docMk/>
            <pc:sldMk cId="153474260" sldId="280"/>
            <ac:spMk id="33" creationId="{6A6DDE97-2FBC-E7F8-693A-8698C3286BC7}"/>
          </ac:spMkLst>
        </pc:spChg>
        <pc:spChg chg="mod topLvl">
          <ac:chgData name="Aryan Tah (MiddleEast)" userId="7f6066b6-35e9-4d47-9d15-8917e2720a06" providerId="ADAL" clId="{CB224072-EA94-4500-BB44-FA94C70FEF2B}" dt="2026-01-02T08:59:51.604" v="6699" actId="20577"/>
          <ac:spMkLst>
            <pc:docMk/>
            <pc:sldMk cId="153474260" sldId="280"/>
            <ac:spMk id="35" creationId="{11B3C26F-6F53-8556-A937-54A1492A4B84}"/>
          </ac:spMkLst>
        </pc:spChg>
        <pc:spChg chg="mod topLvl">
          <ac:chgData name="Aryan Tah (MiddleEast)" userId="7f6066b6-35e9-4d47-9d15-8917e2720a06" providerId="ADAL" clId="{CB224072-EA94-4500-BB44-FA94C70FEF2B}" dt="2026-01-03T21:31:45.938" v="10087"/>
          <ac:spMkLst>
            <pc:docMk/>
            <pc:sldMk cId="153474260" sldId="280"/>
            <ac:spMk id="36" creationId="{9DCB1500-DB51-D50C-93C6-E83331A19FEA}"/>
          </ac:spMkLst>
        </pc:spChg>
        <pc:spChg chg="add mod topLvl">
          <ac:chgData name="Aryan Tah (MiddleEast)" userId="7f6066b6-35e9-4d47-9d15-8917e2720a06" providerId="ADAL" clId="{CB224072-EA94-4500-BB44-FA94C70FEF2B}" dt="2026-01-02T08:51:34.673" v="6482" actId="164"/>
          <ac:spMkLst>
            <pc:docMk/>
            <pc:sldMk cId="153474260" sldId="280"/>
            <ac:spMk id="40" creationId="{D58C7832-74C4-A379-E304-DAB4FD2F7E7A}"/>
          </ac:spMkLst>
        </pc:spChg>
        <pc:spChg chg="add mod topLvl">
          <ac:chgData name="Aryan Tah (MiddleEast)" userId="7f6066b6-35e9-4d47-9d15-8917e2720a06" providerId="ADAL" clId="{CB224072-EA94-4500-BB44-FA94C70FEF2B}" dt="2026-01-02T08:51:34.673" v="6482" actId="164"/>
          <ac:spMkLst>
            <pc:docMk/>
            <pc:sldMk cId="153474260" sldId="280"/>
            <ac:spMk id="41" creationId="{F824E7B3-4FE3-EAB5-FEDC-86D194BAAC45}"/>
          </ac:spMkLst>
        </pc:spChg>
        <pc:spChg chg="add mod topLvl">
          <ac:chgData name="Aryan Tah (MiddleEast)" userId="7f6066b6-35e9-4d47-9d15-8917e2720a06" providerId="ADAL" clId="{CB224072-EA94-4500-BB44-FA94C70FEF2B}" dt="2026-01-02T08:58:25.829" v="6662" actId="165"/>
          <ac:spMkLst>
            <pc:docMk/>
            <pc:sldMk cId="153474260" sldId="280"/>
            <ac:spMk id="46" creationId="{716EB72C-D1B6-31A8-92D2-985939C02476}"/>
          </ac:spMkLst>
        </pc:spChg>
        <pc:spChg chg="add mod topLvl">
          <ac:chgData name="Aryan Tah (MiddleEast)" userId="7f6066b6-35e9-4d47-9d15-8917e2720a06" providerId="ADAL" clId="{CB224072-EA94-4500-BB44-FA94C70FEF2B}" dt="2026-01-02T08:58:40.989" v="6675" actId="14100"/>
          <ac:spMkLst>
            <pc:docMk/>
            <pc:sldMk cId="153474260" sldId="280"/>
            <ac:spMk id="47" creationId="{3A1E711E-13E3-23C0-E088-BC739A888ED7}"/>
          </ac:spMkLst>
        </pc:spChg>
        <pc:spChg chg="add mod topLvl">
          <ac:chgData name="Aryan Tah (MiddleEast)" userId="7f6066b6-35e9-4d47-9d15-8917e2720a06" providerId="ADAL" clId="{CB224072-EA94-4500-BB44-FA94C70FEF2B}" dt="2026-01-02T08:59:26.627" v="6693" actId="1037"/>
          <ac:spMkLst>
            <pc:docMk/>
            <pc:sldMk cId="153474260" sldId="280"/>
            <ac:spMk id="48" creationId="{736ECE5C-51BE-C4B1-69BD-1F4516C21864}"/>
          </ac:spMkLst>
        </pc:spChg>
        <pc:spChg chg="add mod topLvl">
          <ac:chgData name="Aryan Tah (MiddleEast)" userId="7f6066b6-35e9-4d47-9d15-8917e2720a06" providerId="ADAL" clId="{CB224072-EA94-4500-BB44-FA94C70FEF2B}" dt="2026-01-02T08:59:29.288" v="6694" actId="408"/>
          <ac:spMkLst>
            <pc:docMk/>
            <pc:sldMk cId="153474260" sldId="280"/>
            <ac:spMk id="49" creationId="{9B84EBC1-34AC-041E-7B09-722EA20EF63C}"/>
          </ac:spMkLst>
        </pc:spChg>
        <pc:spChg chg="add mod topLvl">
          <ac:chgData name="Aryan Tah (MiddleEast)" userId="7f6066b6-35e9-4d47-9d15-8917e2720a06" providerId="ADAL" clId="{CB224072-EA94-4500-BB44-FA94C70FEF2B}" dt="2026-01-02T08:59:29.288" v="6694" actId="408"/>
          <ac:spMkLst>
            <pc:docMk/>
            <pc:sldMk cId="153474260" sldId="280"/>
            <ac:spMk id="50" creationId="{98D81BD2-3ABD-4C81-96DE-44D90C1AABC4}"/>
          </ac:spMkLst>
        </pc:spChg>
        <pc:spChg chg="add mod topLvl">
          <ac:chgData name="Aryan Tah (MiddleEast)" userId="7f6066b6-35e9-4d47-9d15-8917e2720a06" providerId="ADAL" clId="{CB224072-EA94-4500-BB44-FA94C70FEF2B}" dt="2026-01-02T08:59:22.963" v="6684" actId="165"/>
          <ac:spMkLst>
            <pc:docMk/>
            <pc:sldMk cId="153474260" sldId="280"/>
            <ac:spMk id="51" creationId="{EA1FD13D-C9D7-9E6E-9692-25ED0ED7E159}"/>
          </ac:spMkLst>
        </pc:spChg>
        <pc:spChg chg="add mod">
          <ac:chgData name="Aryan Tah (MiddleEast)" userId="7f6066b6-35e9-4d47-9d15-8917e2720a06" providerId="ADAL" clId="{CB224072-EA94-4500-BB44-FA94C70FEF2B}" dt="2026-01-03T21:35:06.790" v="10299" actId="20577"/>
          <ac:spMkLst>
            <pc:docMk/>
            <pc:sldMk cId="153474260" sldId="280"/>
            <ac:spMk id="59" creationId="{D6EC8B16-3A22-170D-D27D-0B814B226682}"/>
          </ac:spMkLst>
        </pc:spChg>
        <pc:grpChg chg="add mod">
          <ac:chgData name="Aryan Tah (MiddleEast)" userId="7f6066b6-35e9-4d47-9d15-8917e2720a06" providerId="ADAL" clId="{CB224072-EA94-4500-BB44-FA94C70FEF2B}" dt="2026-01-02T08:51:38.545" v="6489" actId="14100"/>
          <ac:grpSpMkLst>
            <pc:docMk/>
            <pc:sldMk cId="153474260" sldId="280"/>
            <ac:grpSpMk id="43" creationId="{9600DB3F-5A77-DFB9-8067-4A329BC2753C}"/>
          </ac:grpSpMkLst>
        </pc:grpChg>
        <pc:graphicFrameChg chg="mod ord modGraphic">
          <ac:chgData name="Aryan Tah (MiddleEast)" userId="7f6066b6-35e9-4d47-9d15-8917e2720a06" providerId="ADAL" clId="{CB224072-EA94-4500-BB44-FA94C70FEF2B}" dt="2026-01-02T09:01:22.162" v="6721" actId="122"/>
          <ac:graphicFrameMkLst>
            <pc:docMk/>
            <pc:sldMk cId="153474260" sldId="280"/>
            <ac:graphicFrameMk id="4" creationId="{213C3D92-DC6F-8D4C-9839-9664EFE9C19E}"/>
          </ac:graphicFrameMkLst>
        </pc:graphicFrameChg>
        <pc:graphicFrameChg chg="add mod ord modVis">
          <ac:chgData name="Aryan Tah (MiddleEast)" userId="7f6066b6-35e9-4d47-9d15-8917e2720a06" providerId="ADAL" clId="{CB224072-EA94-4500-BB44-FA94C70FEF2B}" dt="2026-01-03T17:58:30.520" v="7523"/>
          <ac:graphicFrameMkLst>
            <pc:docMk/>
            <pc:sldMk cId="153474260" sldId="280"/>
            <ac:graphicFrameMk id="20" creationId="{5AE196D9-6749-4722-1A4D-943C904B9110}"/>
          </ac:graphicFrameMkLst>
        </pc:graphicFrameChg>
        <pc:picChg chg="add mod">
          <ac:chgData name="Aryan Tah (MiddleEast)" userId="7f6066b6-35e9-4d47-9d15-8917e2720a06" providerId="ADAL" clId="{CB224072-EA94-4500-BB44-FA94C70FEF2B}" dt="2026-01-03T21:31:50.598" v="10094"/>
          <ac:picMkLst>
            <pc:docMk/>
            <pc:sldMk cId="153474260" sldId="280"/>
            <ac:picMk id="2050" creationId="{DC4D5D6E-C4CE-9C3B-8662-13FA885333EE}"/>
          </ac:picMkLst>
        </pc:picChg>
        <pc:picChg chg="add mod">
          <ac:chgData name="Aryan Tah (MiddleEast)" userId="7f6066b6-35e9-4d47-9d15-8917e2720a06" providerId="ADAL" clId="{CB224072-EA94-4500-BB44-FA94C70FEF2B}" dt="2026-01-03T21:31:54.657" v="10102"/>
          <ac:picMkLst>
            <pc:docMk/>
            <pc:sldMk cId="153474260" sldId="280"/>
            <ac:picMk id="2052" creationId="{311F31D5-F1C2-0F10-EFB9-37280A585691}"/>
          </ac:picMkLst>
        </pc:picChg>
        <pc:picChg chg="add mod">
          <ac:chgData name="Aryan Tah (MiddleEast)" userId="7f6066b6-35e9-4d47-9d15-8917e2720a06" providerId="ADAL" clId="{CB224072-EA94-4500-BB44-FA94C70FEF2B}" dt="2026-01-03T21:38:26.385" v="10532" actId="14100"/>
          <ac:picMkLst>
            <pc:docMk/>
            <pc:sldMk cId="153474260" sldId="280"/>
            <ac:picMk id="2054" creationId="{EA5B7F07-366F-25A2-E965-ABE4E5583C2A}"/>
          </ac:picMkLst>
        </pc:picChg>
        <pc:cxnChg chg="add mod topLvl">
          <ac:chgData name="Aryan Tah (MiddleEast)" userId="7f6066b6-35e9-4d47-9d15-8917e2720a06" providerId="ADAL" clId="{CB224072-EA94-4500-BB44-FA94C70FEF2B}" dt="2026-01-02T08:51:30.653" v="6481" actId="165"/>
          <ac:cxnSpMkLst>
            <pc:docMk/>
            <pc:sldMk cId="153474260" sldId="280"/>
            <ac:cxnSpMk id="39" creationId="{FC1A0B0C-B1F9-94A7-871D-0B894DADDFD3}"/>
          </ac:cxnSpMkLst>
        </pc:cxnChg>
      </pc:sldChg>
      <pc:sldChg chg="addSp delSp modSp add mod ord modShow">
        <pc:chgData name="Aryan Tah (MiddleEast)" userId="7f6066b6-35e9-4d47-9d15-8917e2720a06" providerId="ADAL" clId="{CB224072-EA94-4500-BB44-FA94C70FEF2B}" dt="2026-01-05T11:02:36.268" v="20600" actId="729"/>
        <pc:sldMkLst>
          <pc:docMk/>
          <pc:sldMk cId="212521428" sldId="281"/>
        </pc:sldMkLst>
        <pc:spChg chg="mod">
          <ac:chgData name="Aryan Tah (MiddleEast)" userId="7f6066b6-35e9-4d47-9d15-8917e2720a06" providerId="ADAL" clId="{CB224072-EA94-4500-BB44-FA94C70FEF2B}" dt="2026-01-05T09:12:29.112" v="12147" actId="1076"/>
          <ac:spMkLst>
            <pc:docMk/>
            <pc:sldMk cId="212521428" sldId="281"/>
            <ac:spMk id="2" creationId="{A4B1A655-1B88-E83C-59BE-D873F850DE28}"/>
          </ac:spMkLst>
        </pc:spChg>
        <pc:spChg chg="mod ord">
          <ac:chgData name="Aryan Tah (MiddleEast)" userId="7f6066b6-35e9-4d47-9d15-8917e2720a06" providerId="ADAL" clId="{CB224072-EA94-4500-BB44-FA94C70FEF2B}" dt="2026-01-02T09:52:57.165" v="7481"/>
          <ac:spMkLst>
            <pc:docMk/>
            <pc:sldMk cId="212521428" sldId="281"/>
            <ac:spMk id="4" creationId="{570A90E8-B784-DC61-5AD0-1EAE94609C71}"/>
          </ac:spMkLst>
        </pc:spChg>
        <pc:spChg chg="add mod ord topLvl">
          <ac:chgData name="Aryan Tah (MiddleEast)" userId="7f6066b6-35e9-4d47-9d15-8917e2720a06" providerId="ADAL" clId="{CB224072-EA94-4500-BB44-FA94C70FEF2B}" dt="2026-01-03T21:35:22.696" v="10300" actId="14100"/>
          <ac:spMkLst>
            <pc:docMk/>
            <pc:sldMk cId="212521428" sldId="281"/>
            <ac:spMk id="9" creationId="{8BD97175-43E8-3E34-4895-FD90DC9BAE53}"/>
          </ac:spMkLst>
        </pc:spChg>
        <pc:spChg chg="mod ord">
          <ac:chgData name="Aryan Tah (MiddleEast)" userId="7f6066b6-35e9-4d47-9d15-8917e2720a06" providerId="ADAL" clId="{CB224072-EA94-4500-BB44-FA94C70FEF2B}" dt="2026-01-02T09:52:57.165" v="7475"/>
          <ac:spMkLst>
            <pc:docMk/>
            <pc:sldMk cId="212521428" sldId="281"/>
            <ac:spMk id="11" creationId="{E61171AC-4BA5-48AE-7E50-BD4F53BDAA2C}"/>
          </ac:spMkLst>
        </pc:spChg>
        <pc:spChg chg="add mod ord topLvl">
          <ac:chgData name="Aryan Tah (MiddleEast)" userId="7f6066b6-35e9-4d47-9d15-8917e2720a06" providerId="ADAL" clId="{CB224072-EA94-4500-BB44-FA94C70FEF2B}" dt="2026-01-02T09:52:57.165" v="7481"/>
          <ac:spMkLst>
            <pc:docMk/>
            <pc:sldMk cId="212521428" sldId="281"/>
            <ac:spMk id="14" creationId="{63820508-0D6F-10C6-1BC0-F580E367DDF9}"/>
          </ac:spMkLst>
        </pc:spChg>
        <pc:spChg chg="mod ord topLvl">
          <ac:chgData name="Aryan Tah (MiddleEast)" userId="7f6066b6-35e9-4d47-9d15-8917e2720a06" providerId="ADAL" clId="{CB224072-EA94-4500-BB44-FA94C70FEF2B}" dt="2026-01-03T21:35:22.696" v="10300" actId="14100"/>
          <ac:spMkLst>
            <pc:docMk/>
            <pc:sldMk cId="212521428" sldId="281"/>
            <ac:spMk id="19" creationId="{59BFE29D-E0FB-F4DF-F14A-D107924B423C}"/>
          </ac:spMkLst>
        </pc:spChg>
        <pc:spChg chg="mod ord topLvl">
          <ac:chgData name="Aryan Tah (MiddleEast)" userId="7f6066b6-35e9-4d47-9d15-8917e2720a06" providerId="ADAL" clId="{CB224072-EA94-4500-BB44-FA94C70FEF2B}" dt="2026-01-02T09:52:57.165" v="7461"/>
          <ac:spMkLst>
            <pc:docMk/>
            <pc:sldMk cId="212521428" sldId="281"/>
            <ac:spMk id="20" creationId="{A43C286A-1FE3-A4C4-0238-CDCE73C412C5}"/>
          </ac:spMkLst>
        </pc:spChg>
        <pc:spChg chg="mod ord topLvl">
          <ac:chgData name="Aryan Tah (MiddleEast)" userId="7f6066b6-35e9-4d47-9d15-8917e2720a06" providerId="ADAL" clId="{CB224072-EA94-4500-BB44-FA94C70FEF2B}" dt="2026-01-03T21:35:22.696" v="10300" actId="14100"/>
          <ac:spMkLst>
            <pc:docMk/>
            <pc:sldMk cId="212521428" sldId="281"/>
            <ac:spMk id="27" creationId="{7F501AD6-2600-FF40-4195-3403C2091D11}"/>
          </ac:spMkLst>
        </pc:spChg>
        <pc:spChg chg="mod ord">
          <ac:chgData name="Aryan Tah (MiddleEast)" userId="7f6066b6-35e9-4d47-9d15-8917e2720a06" providerId="ADAL" clId="{CB224072-EA94-4500-BB44-FA94C70FEF2B}" dt="2026-01-02T09:52:57.165" v="7472"/>
          <ac:spMkLst>
            <pc:docMk/>
            <pc:sldMk cId="212521428" sldId="281"/>
            <ac:spMk id="28" creationId="{EE07E4E4-3FE1-D95A-4570-35258FE43E40}"/>
          </ac:spMkLst>
        </pc:spChg>
        <pc:spChg chg="mod ord topLvl">
          <ac:chgData name="Aryan Tah (MiddleEast)" userId="7f6066b6-35e9-4d47-9d15-8917e2720a06" providerId="ADAL" clId="{CB224072-EA94-4500-BB44-FA94C70FEF2B}" dt="2026-01-02T09:52:57.159" v="7459"/>
          <ac:spMkLst>
            <pc:docMk/>
            <pc:sldMk cId="212521428" sldId="281"/>
            <ac:spMk id="30" creationId="{9EBBEB83-1527-AE4A-CA8F-44700AC483E6}"/>
          </ac:spMkLst>
        </pc:spChg>
        <pc:spChg chg="add mod ord topLvl">
          <ac:chgData name="Aryan Tah (MiddleEast)" userId="7f6066b6-35e9-4d47-9d15-8917e2720a06" providerId="ADAL" clId="{CB224072-EA94-4500-BB44-FA94C70FEF2B}" dt="2026-01-02T09:53:12.094" v="7491"/>
          <ac:spMkLst>
            <pc:docMk/>
            <pc:sldMk cId="212521428" sldId="281"/>
            <ac:spMk id="32" creationId="{C0C76DFE-1337-BCF6-19D6-0F24C714A3F4}"/>
          </ac:spMkLst>
        </pc:spChg>
        <pc:spChg chg="add mod ord">
          <ac:chgData name="Aryan Tah (MiddleEast)" userId="7f6066b6-35e9-4d47-9d15-8917e2720a06" providerId="ADAL" clId="{CB224072-EA94-4500-BB44-FA94C70FEF2B}" dt="2026-01-03T21:35:32.803" v="10306" actId="1038"/>
          <ac:spMkLst>
            <pc:docMk/>
            <pc:sldMk cId="212521428" sldId="281"/>
            <ac:spMk id="38" creationId="{77DB7969-7079-DD00-BEE1-5CDE74E129C4}"/>
          </ac:spMkLst>
        </pc:spChg>
        <pc:spChg chg="add mod ord topLvl">
          <ac:chgData name="Aryan Tah (MiddleEast)" userId="7f6066b6-35e9-4d47-9d15-8917e2720a06" providerId="ADAL" clId="{CB224072-EA94-4500-BB44-FA94C70FEF2B}" dt="2026-01-03T21:35:32.803" v="10306" actId="1038"/>
          <ac:spMkLst>
            <pc:docMk/>
            <pc:sldMk cId="212521428" sldId="281"/>
            <ac:spMk id="42" creationId="{0F2E7057-47FE-9EEE-E3EA-11AB95C3B3E5}"/>
          </ac:spMkLst>
        </pc:spChg>
        <pc:spChg chg="add mod ord topLvl">
          <ac:chgData name="Aryan Tah (MiddleEast)" userId="7f6066b6-35e9-4d47-9d15-8917e2720a06" providerId="ADAL" clId="{CB224072-EA94-4500-BB44-FA94C70FEF2B}" dt="2026-01-03T21:35:32.803" v="10306" actId="1038"/>
          <ac:spMkLst>
            <pc:docMk/>
            <pc:sldMk cId="212521428" sldId="281"/>
            <ac:spMk id="52" creationId="{2D528F1F-9871-C493-6455-CA9B5C01ACA9}"/>
          </ac:spMkLst>
        </pc:spChg>
        <pc:spChg chg="mod ord">
          <ac:chgData name="Aryan Tah (MiddleEast)" userId="7f6066b6-35e9-4d47-9d15-8917e2720a06" providerId="ADAL" clId="{CB224072-EA94-4500-BB44-FA94C70FEF2B}" dt="2026-01-02T09:52:57.165" v="7481"/>
          <ac:spMkLst>
            <pc:docMk/>
            <pc:sldMk cId="212521428" sldId="281"/>
            <ac:spMk id="53" creationId="{80488ADC-25D7-CF1E-3D53-784C6DA84769}"/>
          </ac:spMkLst>
        </pc:spChg>
        <pc:spChg chg="add mod ord topLvl">
          <ac:chgData name="Aryan Tah (MiddleEast)" userId="7f6066b6-35e9-4d47-9d15-8917e2720a06" providerId="ADAL" clId="{CB224072-EA94-4500-BB44-FA94C70FEF2B}" dt="2026-01-02T09:52:57.159" v="7450"/>
          <ac:spMkLst>
            <pc:docMk/>
            <pc:sldMk cId="212521428" sldId="281"/>
            <ac:spMk id="61" creationId="{2555245F-FF57-6B0B-F5E6-068A4C61A545}"/>
          </ac:spMkLst>
        </pc:spChg>
        <pc:spChg chg="add mod ord">
          <ac:chgData name="Aryan Tah (MiddleEast)" userId="7f6066b6-35e9-4d47-9d15-8917e2720a06" providerId="ADAL" clId="{CB224072-EA94-4500-BB44-FA94C70FEF2B}" dt="2026-01-02T09:52:57.165" v="7481"/>
          <ac:spMkLst>
            <pc:docMk/>
            <pc:sldMk cId="212521428" sldId="281"/>
            <ac:spMk id="67" creationId="{27A34CCB-5B4E-54BC-8718-5854E5ADA903}"/>
          </ac:spMkLst>
        </pc:spChg>
        <pc:spChg chg="mod ord">
          <ac:chgData name="Aryan Tah (MiddleEast)" userId="7f6066b6-35e9-4d47-9d15-8917e2720a06" providerId="ADAL" clId="{CB224072-EA94-4500-BB44-FA94C70FEF2B}" dt="2026-01-02T09:52:57.165" v="7481"/>
          <ac:spMkLst>
            <pc:docMk/>
            <pc:sldMk cId="212521428" sldId="281"/>
            <ac:spMk id="72" creationId="{BF070723-B04C-3551-E0A4-EEBFD5FCA222}"/>
          </ac:spMkLst>
        </pc:spChg>
        <pc:spChg chg="mod ord">
          <ac:chgData name="Aryan Tah (MiddleEast)" userId="7f6066b6-35e9-4d47-9d15-8917e2720a06" providerId="ADAL" clId="{CB224072-EA94-4500-BB44-FA94C70FEF2B}" dt="2026-01-02T09:52:57.165" v="7468"/>
          <ac:spMkLst>
            <pc:docMk/>
            <pc:sldMk cId="212521428" sldId="281"/>
            <ac:spMk id="73" creationId="{5BC46C3A-A2DC-1D8A-CA37-47B513E71A01}"/>
          </ac:spMkLst>
        </pc:spChg>
        <pc:spChg chg="mod ord">
          <ac:chgData name="Aryan Tah (MiddleEast)" userId="7f6066b6-35e9-4d47-9d15-8917e2720a06" providerId="ADAL" clId="{CB224072-EA94-4500-BB44-FA94C70FEF2B}" dt="2026-01-02T09:52:57.165" v="7467"/>
          <ac:spMkLst>
            <pc:docMk/>
            <pc:sldMk cId="212521428" sldId="281"/>
            <ac:spMk id="74" creationId="{5C94149F-EEAC-EBAF-4D6B-22A2B6E3471D}"/>
          </ac:spMkLst>
        </pc:spChg>
        <pc:spChg chg="mod ord topLvl">
          <ac:chgData name="Aryan Tah (MiddleEast)" userId="7f6066b6-35e9-4d47-9d15-8917e2720a06" providerId="ADAL" clId="{CB224072-EA94-4500-BB44-FA94C70FEF2B}" dt="2026-01-05T09:12:34.804" v="12148" actId="948"/>
          <ac:spMkLst>
            <pc:docMk/>
            <pc:sldMk cId="212521428" sldId="281"/>
            <ac:spMk id="76" creationId="{D772D8BE-6060-3767-7DA0-D231D402E340}"/>
          </ac:spMkLst>
        </pc:spChg>
        <pc:spChg chg="add mod ord">
          <ac:chgData name="Aryan Tah (MiddleEast)" userId="7f6066b6-35e9-4d47-9d15-8917e2720a06" providerId="ADAL" clId="{CB224072-EA94-4500-BB44-FA94C70FEF2B}" dt="2026-01-02T09:52:57.159" v="7447"/>
          <ac:spMkLst>
            <pc:docMk/>
            <pc:sldMk cId="212521428" sldId="281"/>
            <ac:spMk id="77" creationId="{7D094951-42F3-1D41-D0AE-D4E85145446B}"/>
          </ac:spMkLst>
        </pc:spChg>
        <pc:grpChg chg="mod ord">
          <ac:chgData name="Aryan Tah (MiddleEast)" userId="7f6066b6-35e9-4d47-9d15-8917e2720a06" providerId="ADAL" clId="{CB224072-EA94-4500-BB44-FA94C70FEF2B}" dt="2026-01-02T09:52:57.165" v="7473"/>
          <ac:grpSpMkLst>
            <pc:docMk/>
            <pc:sldMk cId="212521428" sldId="281"/>
            <ac:grpSpMk id="58" creationId="{9F72BBF4-6E7C-AD14-9E3E-F947B02F36F1}"/>
          </ac:grpSpMkLst>
        </pc:grpChg>
        <pc:grpChg chg="mod ord">
          <ac:chgData name="Aryan Tah (MiddleEast)" userId="7f6066b6-35e9-4d47-9d15-8917e2720a06" providerId="ADAL" clId="{CB224072-EA94-4500-BB44-FA94C70FEF2B}" dt="2026-01-02T09:52:57.165" v="7470"/>
          <ac:grpSpMkLst>
            <pc:docMk/>
            <pc:sldMk cId="212521428" sldId="281"/>
            <ac:grpSpMk id="68" creationId="{2420D134-FDA5-8A74-BA75-868A7E039BD6}"/>
          </ac:grpSpMkLst>
        </pc:grpChg>
        <pc:grpChg chg="mod ord">
          <ac:chgData name="Aryan Tah (MiddleEast)" userId="7f6066b6-35e9-4d47-9d15-8917e2720a06" providerId="ADAL" clId="{CB224072-EA94-4500-BB44-FA94C70FEF2B}" dt="2026-01-02T09:52:57.165" v="7471"/>
          <ac:grpSpMkLst>
            <pc:docMk/>
            <pc:sldMk cId="212521428" sldId="281"/>
            <ac:grpSpMk id="71" creationId="{2B3510C5-1818-1905-E518-9689A1B03512}"/>
          </ac:grpSpMkLst>
        </pc:grpChg>
        <pc:graphicFrameChg chg="mod">
          <ac:chgData name="Aryan Tah (MiddleEast)" userId="7f6066b6-35e9-4d47-9d15-8917e2720a06" providerId="ADAL" clId="{CB224072-EA94-4500-BB44-FA94C70FEF2B}" dt="2026-01-02T09:52:57.202" v="7484" actId="1076"/>
          <ac:graphicFrameMkLst>
            <pc:docMk/>
            <pc:sldMk cId="212521428" sldId="281"/>
            <ac:graphicFrameMk id="3" creationId="{27D80864-4085-82A5-EF46-7C13EE2ACA13}"/>
          </ac:graphicFrameMkLst>
        </pc:graphicFrameChg>
        <pc:picChg chg="add mod ord">
          <ac:chgData name="Aryan Tah (MiddleEast)" userId="7f6066b6-35e9-4d47-9d15-8917e2720a06" providerId="ADAL" clId="{CB224072-EA94-4500-BB44-FA94C70FEF2B}" dt="2026-01-02T09:53:12.102" v="7493"/>
          <ac:picMkLst>
            <pc:docMk/>
            <pc:sldMk cId="212521428" sldId="281"/>
            <ac:picMk id="37" creationId="{1C6C9484-94C0-DA21-8A8C-48F89B39884E}"/>
          </ac:picMkLst>
        </pc:picChg>
        <pc:cxnChg chg="add mod ord">
          <ac:chgData name="Aryan Tah (MiddleEast)" userId="7f6066b6-35e9-4d47-9d15-8917e2720a06" providerId="ADAL" clId="{CB224072-EA94-4500-BB44-FA94C70FEF2B}" dt="2026-01-02T09:53:12.094" v="7491"/>
          <ac:cxnSpMkLst>
            <pc:docMk/>
            <pc:sldMk cId="212521428" sldId="281"/>
            <ac:cxnSpMk id="45" creationId="{D6F27EE3-00C6-27D8-C0B4-50D9B6C4E38D}"/>
          </ac:cxnSpMkLst>
        </pc:cxnChg>
        <pc:cxnChg chg="add mod ord">
          <ac:chgData name="Aryan Tah (MiddleEast)" userId="7f6066b6-35e9-4d47-9d15-8917e2720a06" providerId="ADAL" clId="{CB224072-EA94-4500-BB44-FA94C70FEF2B}" dt="2026-01-02T09:53:12.094" v="7491"/>
          <ac:cxnSpMkLst>
            <pc:docMk/>
            <pc:sldMk cId="212521428" sldId="281"/>
            <ac:cxnSpMk id="46" creationId="{8025E9F1-E75F-01BD-19DC-28ABDB3001CE}"/>
          </ac:cxnSpMkLst>
        </pc:cxnChg>
        <pc:cxnChg chg="add mod ord">
          <ac:chgData name="Aryan Tah (MiddleEast)" userId="7f6066b6-35e9-4d47-9d15-8917e2720a06" providerId="ADAL" clId="{CB224072-EA94-4500-BB44-FA94C70FEF2B}" dt="2026-01-02T09:53:12.094" v="7491"/>
          <ac:cxnSpMkLst>
            <pc:docMk/>
            <pc:sldMk cId="212521428" sldId="281"/>
            <ac:cxnSpMk id="47" creationId="{D98816BB-8488-4C80-9344-9BD73129DC9F}"/>
          </ac:cxnSpMkLst>
        </pc:cxnChg>
      </pc:sldChg>
      <pc:sldChg chg="add">
        <pc:chgData name="Aryan Tah (MiddleEast)" userId="7f6066b6-35e9-4d47-9d15-8917e2720a06" providerId="ADAL" clId="{CB224072-EA94-4500-BB44-FA94C70FEF2B}" dt="2026-01-03T17:59:35.506" v="7526" actId="2890"/>
        <pc:sldMkLst>
          <pc:docMk/>
          <pc:sldMk cId="2965109155" sldId="282"/>
        </pc:sldMkLst>
      </pc:sldChg>
      <pc:sldChg chg="addSp delSp modSp add mod">
        <pc:chgData name="Aryan Tah (MiddleEast)" userId="7f6066b6-35e9-4d47-9d15-8917e2720a06" providerId="ADAL" clId="{CB224072-EA94-4500-BB44-FA94C70FEF2B}" dt="2026-01-03T21:32:19.284" v="10145"/>
        <pc:sldMkLst>
          <pc:docMk/>
          <pc:sldMk cId="3693496644" sldId="283"/>
        </pc:sldMkLst>
        <pc:spChg chg="mod">
          <ac:chgData name="Aryan Tah (MiddleEast)" userId="7f6066b6-35e9-4d47-9d15-8917e2720a06" providerId="ADAL" clId="{CB224072-EA94-4500-BB44-FA94C70FEF2B}" dt="2026-01-03T21:32:19.244" v="10121" actId="948"/>
          <ac:spMkLst>
            <pc:docMk/>
            <pc:sldMk cId="3693496644" sldId="283"/>
            <ac:spMk id="4" creationId="{B3CE96C7-F74E-00DD-2C35-3202FC9B6567}"/>
          </ac:spMkLst>
        </pc:spChg>
        <pc:spChg chg="add mod">
          <ac:chgData name="Aryan Tah (MiddleEast)" userId="7f6066b6-35e9-4d47-9d15-8917e2720a06" providerId="ADAL" clId="{CB224072-EA94-4500-BB44-FA94C70FEF2B}" dt="2026-01-03T21:22:54.382" v="9957" actId="1076"/>
          <ac:spMkLst>
            <pc:docMk/>
            <pc:sldMk cId="3693496644" sldId="283"/>
            <ac:spMk id="55" creationId="{38BDA99C-6012-44F3-B0DB-E831A535AF1E}"/>
          </ac:spMkLst>
        </pc:spChg>
        <pc:graphicFrameChg chg="mod">
          <ac:chgData name="Aryan Tah (MiddleEast)" userId="7f6066b6-35e9-4d47-9d15-8917e2720a06" providerId="ADAL" clId="{CB224072-EA94-4500-BB44-FA94C70FEF2B}" dt="2026-01-03T21:32:19.284" v="10145"/>
          <ac:graphicFrameMkLst>
            <pc:docMk/>
            <pc:sldMk cId="3693496644" sldId="283"/>
            <ac:graphicFrameMk id="3" creationId="{D8CDE970-8197-2355-BDD3-2722558C3AAF}"/>
          </ac:graphicFrameMkLst>
        </pc:graphicFrameChg>
      </pc:sldChg>
      <pc:sldChg chg="addSp delSp modSp add mod">
        <pc:chgData name="Aryan Tah (MiddleEast)" userId="7f6066b6-35e9-4d47-9d15-8917e2720a06" providerId="ADAL" clId="{CB224072-EA94-4500-BB44-FA94C70FEF2B}" dt="2026-01-04T13:28:04.847" v="10534" actId="1076"/>
        <pc:sldMkLst>
          <pc:docMk/>
          <pc:sldMk cId="12106807" sldId="284"/>
        </pc:sldMkLst>
        <pc:spChg chg="mod ord">
          <ac:chgData name="Aryan Tah (MiddleEast)" userId="7f6066b6-35e9-4d47-9d15-8917e2720a06" providerId="ADAL" clId="{CB224072-EA94-4500-BB44-FA94C70FEF2B}" dt="2026-01-03T21:37:09.630" v="10503" actId="948"/>
          <ac:spMkLst>
            <pc:docMk/>
            <pc:sldMk cId="12106807" sldId="284"/>
            <ac:spMk id="4" creationId="{468C70B1-15F1-481D-D183-8964958B1FA0}"/>
          </ac:spMkLst>
        </pc:spChg>
        <pc:spChg chg="add mod ord">
          <ac:chgData name="Aryan Tah (MiddleEast)" userId="7f6066b6-35e9-4d47-9d15-8917e2720a06" providerId="ADAL" clId="{CB224072-EA94-4500-BB44-FA94C70FEF2B}" dt="2026-01-03T21:15:48.424" v="9759" actId="403"/>
          <ac:spMkLst>
            <pc:docMk/>
            <pc:sldMk cId="12106807" sldId="284"/>
            <ac:spMk id="5" creationId="{2932A6A5-8C2B-D907-BEA1-C0A6128FD7C7}"/>
          </ac:spMkLst>
        </pc:spChg>
        <pc:spChg chg="add mod ord">
          <ac:chgData name="Aryan Tah (MiddleEast)" userId="7f6066b6-35e9-4d47-9d15-8917e2720a06" providerId="ADAL" clId="{CB224072-EA94-4500-BB44-FA94C70FEF2B}" dt="2026-01-03T21:01:23.177" v="9419" actId="1076"/>
          <ac:spMkLst>
            <pc:docMk/>
            <pc:sldMk cId="12106807" sldId="284"/>
            <ac:spMk id="6" creationId="{8AA791AD-34A2-4552-0A15-1DDF2811E7BF}"/>
          </ac:spMkLst>
        </pc:spChg>
        <pc:spChg chg="mod ord topLvl">
          <ac:chgData name="Aryan Tah (MiddleEast)" userId="7f6066b6-35e9-4d47-9d15-8917e2720a06" providerId="ADAL" clId="{CB224072-EA94-4500-BB44-FA94C70FEF2B}" dt="2026-01-03T21:25:57.861" v="10074" actId="20577"/>
          <ac:spMkLst>
            <pc:docMk/>
            <pc:sldMk cId="12106807" sldId="284"/>
            <ac:spMk id="7" creationId="{7FDE2CA0-EA8E-FCA5-CA43-5427F3044FB3}"/>
          </ac:spMkLst>
        </pc:spChg>
        <pc:spChg chg="add mod ord">
          <ac:chgData name="Aryan Tah (MiddleEast)" userId="7f6066b6-35e9-4d47-9d15-8917e2720a06" providerId="ADAL" clId="{CB224072-EA94-4500-BB44-FA94C70FEF2B}" dt="2026-01-03T21:16:15.693" v="9766"/>
          <ac:spMkLst>
            <pc:docMk/>
            <pc:sldMk cId="12106807" sldId="284"/>
            <ac:spMk id="8" creationId="{3FEC7A6A-9CEB-8B85-7702-491892BF1CBA}"/>
          </ac:spMkLst>
        </pc:spChg>
        <pc:spChg chg="add mod ord">
          <ac:chgData name="Aryan Tah (MiddleEast)" userId="7f6066b6-35e9-4d47-9d15-8917e2720a06" providerId="ADAL" clId="{CB224072-EA94-4500-BB44-FA94C70FEF2B}" dt="2026-01-03T20:54:06.869" v="9146"/>
          <ac:spMkLst>
            <pc:docMk/>
            <pc:sldMk cId="12106807" sldId="284"/>
            <ac:spMk id="9" creationId="{608D789A-5821-6434-83ED-783AF545C9DD}"/>
          </ac:spMkLst>
        </pc:spChg>
        <pc:spChg chg="add mod ord topLvl">
          <ac:chgData name="Aryan Tah (MiddleEast)" userId="7f6066b6-35e9-4d47-9d15-8917e2720a06" providerId="ADAL" clId="{CB224072-EA94-4500-BB44-FA94C70FEF2B}" dt="2026-01-03T21:16:01.362" v="9762" actId="165"/>
          <ac:spMkLst>
            <pc:docMk/>
            <pc:sldMk cId="12106807" sldId="284"/>
            <ac:spMk id="10" creationId="{38423821-8395-1A7F-9A23-CBED2FBDAAA7}"/>
          </ac:spMkLst>
        </pc:spChg>
        <pc:spChg chg="add mod ord">
          <ac:chgData name="Aryan Tah (MiddleEast)" userId="7f6066b6-35e9-4d47-9d15-8917e2720a06" providerId="ADAL" clId="{CB224072-EA94-4500-BB44-FA94C70FEF2B}" dt="2026-01-03T21:24:52.208" v="9985" actId="164"/>
          <ac:spMkLst>
            <pc:docMk/>
            <pc:sldMk cId="12106807" sldId="284"/>
            <ac:spMk id="11" creationId="{0900D19E-FD59-59C5-A5E4-F8EA8E6358E5}"/>
          </ac:spMkLst>
        </pc:spChg>
        <pc:spChg chg="add mod ord">
          <ac:chgData name="Aryan Tah (MiddleEast)" userId="7f6066b6-35e9-4d47-9d15-8917e2720a06" providerId="ADAL" clId="{CB224072-EA94-4500-BB44-FA94C70FEF2B}" dt="2026-01-03T20:54:06.871" v="9152"/>
          <ac:spMkLst>
            <pc:docMk/>
            <pc:sldMk cId="12106807" sldId="284"/>
            <ac:spMk id="12" creationId="{E82B2B7E-7AEA-5B5E-F95B-FA69988CAC15}"/>
          </ac:spMkLst>
        </pc:spChg>
        <pc:spChg chg="mod">
          <ac:chgData name="Aryan Tah (MiddleEast)" userId="7f6066b6-35e9-4d47-9d15-8917e2720a06" providerId="ADAL" clId="{CB224072-EA94-4500-BB44-FA94C70FEF2B}" dt="2026-01-03T18:37:56.605" v="8109"/>
          <ac:spMkLst>
            <pc:docMk/>
            <pc:sldMk cId="12106807" sldId="284"/>
            <ac:spMk id="28" creationId="{F666A15A-D170-ED23-76FA-2ECCBE1D7208}"/>
          </ac:spMkLst>
        </pc:spChg>
        <pc:spChg chg="mod">
          <ac:chgData name="Aryan Tah (MiddleEast)" userId="7f6066b6-35e9-4d47-9d15-8917e2720a06" providerId="ADAL" clId="{CB224072-EA94-4500-BB44-FA94C70FEF2B}" dt="2026-01-03T18:37:56.605" v="8109"/>
          <ac:spMkLst>
            <pc:docMk/>
            <pc:sldMk cId="12106807" sldId="284"/>
            <ac:spMk id="29" creationId="{30A02DAF-20AE-90CA-110A-4B1578E748B1}"/>
          </ac:spMkLst>
        </pc:spChg>
        <pc:spChg chg="add mod ord">
          <ac:chgData name="Aryan Tah (MiddleEast)" userId="7f6066b6-35e9-4d47-9d15-8917e2720a06" providerId="ADAL" clId="{CB224072-EA94-4500-BB44-FA94C70FEF2B}" dt="2026-01-03T18:38:23.514" v="8532" actId="164"/>
          <ac:spMkLst>
            <pc:docMk/>
            <pc:sldMk cId="12106807" sldId="284"/>
            <ac:spMk id="30" creationId="{72A5CA22-B005-772E-99F2-697A60A95CBA}"/>
          </ac:spMkLst>
        </pc:spChg>
        <pc:spChg chg="mod ord">
          <ac:chgData name="Aryan Tah (MiddleEast)" userId="7f6066b6-35e9-4d47-9d15-8917e2720a06" providerId="ADAL" clId="{CB224072-EA94-4500-BB44-FA94C70FEF2B}" dt="2026-01-03T20:54:06.867" v="9138"/>
          <ac:spMkLst>
            <pc:docMk/>
            <pc:sldMk cId="12106807" sldId="284"/>
            <ac:spMk id="38" creationId="{6BA126DB-EE53-8215-222F-03648F8AA7F7}"/>
          </ac:spMkLst>
        </pc:spChg>
        <pc:spChg chg="mod">
          <ac:chgData name="Aryan Tah (MiddleEast)" userId="7f6066b6-35e9-4d47-9d15-8917e2720a06" providerId="ADAL" clId="{CB224072-EA94-4500-BB44-FA94C70FEF2B}" dt="2026-01-03T18:38:36.654" v="8535" actId="571"/>
          <ac:spMkLst>
            <pc:docMk/>
            <pc:sldMk cId="12106807" sldId="284"/>
            <ac:spMk id="41" creationId="{3A952BD7-53C7-9386-44F8-D7CF594B8040}"/>
          </ac:spMkLst>
        </pc:spChg>
        <pc:spChg chg="mod">
          <ac:chgData name="Aryan Tah (MiddleEast)" userId="7f6066b6-35e9-4d47-9d15-8917e2720a06" providerId="ADAL" clId="{CB224072-EA94-4500-BB44-FA94C70FEF2B}" dt="2026-01-03T18:38:36.654" v="8535" actId="571"/>
          <ac:spMkLst>
            <pc:docMk/>
            <pc:sldMk cId="12106807" sldId="284"/>
            <ac:spMk id="43" creationId="{E28E9519-0896-64FE-2903-5EDF53D4D61A}"/>
          </ac:spMkLst>
        </pc:spChg>
        <pc:spChg chg="mod">
          <ac:chgData name="Aryan Tah (MiddleEast)" userId="7f6066b6-35e9-4d47-9d15-8917e2720a06" providerId="ADAL" clId="{CB224072-EA94-4500-BB44-FA94C70FEF2B}" dt="2026-01-03T18:38:36.654" v="8535" actId="571"/>
          <ac:spMkLst>
            <pc:docMk/>
            <pc:sldMk cId="12106807" sldId="284"/>
            <ac:spMk id="44" creationId="{94A8055B-D504-00A4-2073-993E73E02852}"/>
          </ac:spMkLst>
        </pc:spChg>
        <pc:spChg chg="mod">
          <ac:chgData name="Aryan Tah (MiddleEast)" userId="7f6066b6-35e9-4d47-9d15-8917e2720a06" providerId="ADAL" clId="{CB224072-EA94-4500-BB44-FA94C70FEF2B}" dt="2026-01-03T21:11:59.021" v="9558" actId="165"/>
          <ac:spMkLst>
            <pc:docMk/>
            <pc:sldMk cId="12106807" sldId="284"/>
            <ac:spMk id="46" creationId="{FCDCEF76-AD0A-A8EF-CC0B-2BAD2C6346EC}"/>
          </ac:spMkLst>
        </pc:spChg>
        <pc:spChg chg="mod">
          <ac:chgData name="Aryan Tah (MiddleEast)" userId="7f6066b6-35e9-4d47-9d15-8917e2720a06" providerId="ADAL" clId="{CB224072-EA94-4500-BB44-FA94C70FEF2B}" dt="2026-01-03T18:38:38.907" v="8536" actId="571"/>
          <ac:spMkLst>
            <pc:docMk/>
            <pc:sldMk cId="12106807" sldId="284"/>
            <ac:spMk id="48" creationId="{26F14393-B54F-0DC7-B196-8032DCABB85F}"/>
          </ac:spMkLst>
        </pc:spChg>
        <pc:spChg chg="mod">
          <ac:chgData name="Aryan Tah (MiddleEast)" userId="7f6066b6-35e9-4d47-9d15-8917e2720a06" providerId="ADAL" clId="{CB224072-EA94-4500-BB44-FA94C70FEF2B}" dt="2026-01-03T18:38:38.907" v="8536" actId="571"/>
          <ac:spMkLst>
            <pc:docMk/>
            <pc:sldMk cId="12106807" sldId="284"/>
            <ac:spMk id="49" creationId="{75E90ED7-72A6-08A6-5E2B-A5428D3A45F7}"/>
          </ac:spMkLst>
        </pc:spChg>
        <pc:spChg chg="add mod ord topLvl">
          <ac:chgData name="Aryan Tah (MiddleEast)" userId="7f6066b6-35e9-4d47-9d15-8917e2720a06" providerId="ADAL" clId="{CB224072-EA94-4500-BB44-FA94C70FEF2B}" dt="2026-01-03T21:21:02.939" v="9940"/>
          <ac:spMkLst>
            <pc:docMk/>
            <pc:sldMk cId="12106807" sldId="284"/>
            <ac:spMk id="50" creationId="{748F3A8B-C3FB-229B-3ACE-F4BC7D76A78C}"/>
          </ac:spMkLst>
        </pc:spChg>
        <pc:spChg chg="add mod ord">
          <ac:chgData name="Aryan Tah (MiddleEast)" userId="7f6066b6-35e9-4d47-9d15-8917e2720a06" providerId="ADAL" clId="{CB224072-EA94-4500-BB44-FA94C70FEF2B}" dt="2026-01-03T21:24:52.208" v="9985" actId="164"/>
          <ac:spMkLst>
            <pc:docMk/>
            <pc:sldMk cId="12106807" sldId="284"/>
            <ac:spMk id="51" creationId="{3C7D45E4-B088-E00D-28B9-F0ED62E70302}"/>
          </ac:spMkLst>
        </pc:spChg>
        <pc:spChg chg="add mod ord">
          <ac:chgData name="Aryan Tah (MiddleEast)" userId="7f6066b6-35e9-4d47-9d15-8917e2720a06" providerId="ADAL" clId="{CB224072-EA94-4500-BB44-FA94C70FEF2B}" dt="2026-01-03T21:24:23.114" v="9983"/>
          <ac:spMkLst>
            <pc:docMk/>
            <pc:sldMk cId="12106807" sldId="284"/>
            <ac:spMk id="52" creationId="{B863AEF4-38FF-44A5-05FE-AC15B11BCC8C}"/>
          </ac:spMkLst>
        </pc:spChg>
        <pc:spChg chg="add mod ord">
          <ac:chgData name="Aryan Tah (MiddleEast)" userId="7f6066b6-35e9-4d47-9d15-8917e2720a06" providerId="ADAL" clId="{CB224072-EA94-4500-BB44-FA94C70FEF2B}" dt="2026-01-03T21:21:17.670" v="9942"/>
          <ac:spMkLst>
            <pc:docMk/>
            <pc:sldMk cId="12106807" sldId="284"/>
            <ac:spMk id="53" creationId="{A4B83B5E-C608-8B4A-BB6B-BBEDF8A9625A}"/>
          </ac:spMkLst>
        </pc:spChg>
        <pc:spChg chg="mod">
          <ac:chgData name="Aryan Tah (MiddleEast)" userId="7f6066b6-35e9-4d47-9d15-8917e2720a06" providerId="ADAL" clId="{CB224072-EA94-4500-BB44-FA94C70FEF2B}" dt="2026-01-03T19:27:46.777" v="8684" actId="571"/>
          <ac:spMkLst>
            <pc:docMk/>
            <pc:sldMk cId="12106807" sldId="284"/>
            <ac:spMk id="55" creationId="{8A3CD33B-D44C-BFFC-9E2E-DC50985FA3BA}"/>
          </ac:spMkLst>
        </pc:spChg>
        <pc:spChg chg="mod">
          <ac:chgData name="Aryan Tah (MiddleEast)" userId="7f6066b6-35e9-4d47-9d15-8917e2720a06" providerId="ADAL" clId="{CB224072-EA94-4500-BB44-FA94C70FEF2B}" dt="2026-01-03T19:27:46.777" v="8684" actId="571"/>
          <ac:spMkLst>
            <pc:docMk/>
            <pc:sldMk cId="12106807" sldId="284"/>
            <ac:spMk id="57" creationId="{69DB733A-CF05-8D13-69B1-7B5F5B7898E6}"/>
          </ac:spMkLst>
        </pc:spChg>
        <pc:spChg chg="mod">
          <ac:chgData name="Aryan Tah (MiddleEast)" userId="7f6066b6-35e9-4d47-9d15-8917e2720a06" providerId="ADAL" clId="{CB224072-EA94-4500-BB44-FA94C70FEF2B}" dt="2026-01-03T19:27:46.777" v="8684" actId="571"/>
          <ac:spMkLst>
            <pc:docMk/>
            <pc:sldMk cId="12106807" sldId="284"/>
            <ac:spMk id="58" creationId="{9BF27985-223C-10DF-860F-C2BBBCD2D5A8}"/>
          </ac:spMkLst>
        </pc:spChg>
        <pc:spChg chg="mod">
          <ac:chgData name="Aryan Tah (MiddleEast)" userId="7f6066b6-35e9-4d47-9d15-8917e2720a06" providerId="ADAL" clId="{CB224072-EA94-4500-BB44-FA94C70FEF2B}" dt="2026-01-03T19:27:46.777" v="8684" actId="571"/>
          <ac:spMkLst>
            <pc:docMk/>
            <pc:sldMk cId="12106807" sldId="284"/>
            <ac:spMk id="60" creationId="{E01520CA-F7ED-6E15-D396-D67AA3CDCFD6}"/>
          </ac:spMkLst>
        </pc:spChg>
        <pc:spChg chg="mod">
          <ac:chgData name="Aryan Tah (MiddleEast)" userId="7f6066b6-35e9-4d47-9d15-8917e2720a06" providerId="ADAL" clId="{CB224072-EA94-4500-BB44-FA94C70FEF2B}" dt="2026-01-03T19:27:46.777" v="8684" actId="571"/>
          <ac:spMkLst>
            <pc:docMk/>
            <pc:sldMk cId="12106807" sldId="284"/>
            <ac:spMk id="62" creationId="{AAF67CD2-43A9-F746-49A9-D30140C4AEE5}"/>
          </ac:spMkLst>
        </pc:spChg>
        <pc:spChg chg="mod">
          <ac:chgData name="Aryan Tah (MiddleEast)" userId="7f6066b6-35e9-4d47-9d15-8917e2720a06" providerId="ADAL" clId="{CB224072-EA94-4500-BB44-FA94C70FEF2B}" dt="2026-01-03T19:27:46.777" v="8684" actId="571"/>
          <ac:spMkLst>
            <pc:docMk/>
            <pc:sldMk cId="12106807" sldId="284"/>
            <ac:spMk id="63" creationId="{D8035A5F-D269-94E7-E36C-85C85179B9EE}"/>
          </ac:spMkLst>
        </pc:spChg>
        <pc:spChg chg="mod">
          <ac:chgData name="Aryan Tah (MiddleEast)" userId="7f6066b6-35e9-4d47-9d15-8917e2720a06" providerId="ADAL" clId="{CB224072-EA94-4500-BB44-FA94C70FEF2B}" dt="2026-01-03T19:27:46.777" v="8684" actId="571"/>
          <ac:spMkLst>
            <pc:docMk/>
            <pc:sldMk cId="12106807" sldId="284"/>
            <ac:spMk id="65" creationId="{BFB36DCE-A212-E0F6-DE45-4D68E8E1FBA7}"/>
          </ac:spMkLst>
        </pc:spChg>
        <pc:spChg chg="mod">
          <ac:chgData name="Aryan Tah (MiddleEast)" userId="7f6066b6-35e9-4d47-9d15-8917e2720a06" providerId="ADAL" clId="{CB224072-EA94-4500-BB44-FA94C70FEF2B}" dt="2026-01-03T19:27:46.777" v="8684" actId="571"/>
          <ac:spMkLst>
            <pc:docMk/>
            <pc:sldMk cId="12106807" sldId="284"/>
            <ac:spMk id="67" creationId="{EEB4E190-E327-EFAC-952B-B090237AE9C7}"/>
          </ac:spMkLst>
        </pc:spChg>
        <pc:spChg chg="mod">
          <ac:chgData name="Aryan Tah (MiddleEast)" userId="7f6066b6-35e9-4d47-9d15-8917e2720a06" providerId="ADAL" clId="{CB224072-EA94-4500-BB44-FA94C70FEF2B}" dt="2026-01-03T19:27:46.777" v="8684" actId="571"/>
          <ac:spMkLst>
            <pc:docMk/>
            <pc:sldMk cId="12106807" sldId="284"/>
            <ac:spMk id="68" creationId="{A7CBBDED-2836-3133-0353-2A3A7CF3499A}"/>
          </ac:spMkLst>
        </pc:spChg>
        <pc:spChg chg="add mod ord">
          <ac:chgData name="Aryan Tah (MiddleEast)" userId="7f6066b6-35e9-4d47-9d15-8917e2720a06" providerId="ADAL" clId="{CB224072-EA94-4500-BB44-FA94C70FEF2B}" dt="2026-01-03T21:24:52.208" v="9985" actId="164"/>
          <ac:spMkLst>
            <pc:docMk/>
            <pc:sldMk cId="12106807" sldId="284"/>
            <ac:spMk id="69" creationId="{5B92432C-7C83-D823-AB3D-35484826FFFB}"/>
          </ac:spMkLst>
        </pc:spChg>
        <pc:spChg chg="add mod ord">
          <ac:chgData name="Aryan Tah (MiddleEast)" userId="7f6066b6-35e9-4d47-9d15-8917e2720a06" providerId="ADAL" clId="{CB224072-EA94-4500-BB44-FA94C70FEF2B}" dt="2026-01-03T21:24:52.208" v="9985" actId="164"/>
          <ac:spMkLst>
            <pc:docMk/>
            <pc:sldMk cId="12106807" sldId="284"/>
            <ac:spMk id="70" creationId="{5596ACA9-D72D-15B4-D7E5-BD18559D9733}"/>
          </ac:spMkLst>
        </pc:spChg>
        <pc:spChg chg="add mod ord">
          <ac:chgData name="Aryan Tah (MiddleEast)" userId="7f6066b6-35e9-4d47-9d15-8917e2720a06" providerId="ADAL" clId="{CB224072-EA94-4500-BB44-FA94C70FEF2B}" dt="2026-01-03T21:15:38.759" v="9753" actId="164"/>
          <ac:spMkLst>
            <pc:docMk/>
            <pc:sldMk cId="12106807" sldId="284"/>
            <ac:spMk id="71" creationId="{560ADFEC-1535-384F-1DBE-13E23310A53F}"/>
          </ac:spMkLst>
        </pc:spChg>
        <pc:spChg chg="mod ord topLvl">
          <ac:chgData name="Aryan Tah (MiddleEast)" userId="7f6066b6-35e9-4d47-9d15-8917e2720a06" providerId="ADAL" clId="{CB224072-EA94-4500-BB44-FA94C70FEF2B}" dt="2026-01-03T21:16:01.362" v="9762" actId="165"/>
          <ac:spMkLst>
            <pc:docMk/>
            <pc:sldMk cId="12106807" sldId="284"/>
            <ac:spMk id="72" creationId="{99422CF8-769F-2160-9C4B-6C62F492E2DB}"/>
          </ac:spMkLst>
        </pc:spChg>
        <pc:spChg chg="mod ord topLvl">
          <ac:chgData name="Aryan Tah (MiddleEast)" userId="7f6066b6-35e9-4d47-9d15-8917e2720a06" providerId="ADAL" clId="{CB224072-EA94-4500-BB44-FA94C70FEF2B}" dt="2026-01-03T21:07:50.015" v="9454" actId="14100"/>
          <ac:spMkLst>
            <pc:docMk/>
            <pc:sldMk cId="12106807" sldId="284"/>
            <ac:spMk id="73" creationId="{E3121A9F-84C1-4691-E302-AEA70C7314E5}"/>
          </ac:spMkLst>
        </pc:spChg>
        <pc:spChg chg="mod ord topLvl">
          <ac:chgData name="Aryan Tah (MiddleEast)" userId="7f6066b6-35e9-4d47-9d15-8917e2720a06" providerId="ADAL" clId="{CB224072-EA94-4500-BB44-FA94C70FEF2B}" dt="2026-01-03T21:24:52.208" v="9985" actId="164"/>
          <ac:spMkLst>
            <pc:docMk/>
            <pc:sldMk cId="12106807" sldId="284"/>
            <ac:spMk id="74" creationId="{33A0B900-BC9A-3C1F-7956-23D27C57C99C}"/>
          </ac:spMkLst>
        </pc:spChg>
        <pc:spChg chg="mod ord topLvl">
          <ac:chgData name="Aryan Tah (MiddleEast)" userId="7f6066b6-35e9-4d47-9d15-8917e2720a06" providerId="ADAL" clId="{CB224072-EA94-4500-BB44-FA94C70FEF2B}" dt="2026-01-03T21:07:50.015" v="9454" actId="14100"/>
          <ac:spMkLst>
            <pc:docMk/>
            <pc:sldMk cId="12106807" sldId="284"/>
            <ac:spMk id="75" creationId="{C9F20206-B052-3390-5F66-4E8776AE2D15}"/>
          </ac:spMkLst>
        </pc:spChg>
        <pc:spChg chg="mod ord topLvl">
          <ac:chgData name="Aryan Tah (MiddleEast)" userId="7f6066b6-35e9-4d47-9d15-8917e2720a06" providerId="ADAL" clId="{CB224072-EA94-4500-BB44-FA94C70FEF2B}" dt="2026-01-03T21:16:01.362" v="9762" actId="165"/>
          <ac:spMkLst>
            <pc:docMk/>
            <pc:sldMk cId="12106807" sldId="284"/>
            <ac:spMk id="76" creationId="{B12E2BE4-B055-41E5-7377-58031B963795}"/>
          </ac:spMkLst>
        </pc:spChg>
        <pc:spChg chg="mod ord topLvl">
          <ac:chgData name="Aryan Tah (MiddleEast)" userId="7f6066b6-35e9-4d47-9d15-8917e2720a06" providerId="ADAL" clId="{CB224072-EA94-4500-BB44-FA94C70FEF2B}" dt="2026-01-03T21:16:01.362" v="9762" actId="165"/>
          <ac:spMkLst>
            <pc:docMk/>
            <pc:sldMk cId="12106807" sldId="284"/>
            <ac:spMk id="77" creationId="{C486031D-0FE8-CC69-5AB6-942EAF8EEBC8}"/>
          </ac:spMkLst>
        </pc:spChg>
        <pc:spChg chg="mod ord topLvl">
          <ac:chgData name="Aryan Tah (MiddleEast)" userId="7f6066b6-35e9-4d47-9d15-8917e2720a06" providerId="ADAL" clId="{CB224072-EA94-4500-BB44-FA94C70FEF2B}" dt="2026-01-03T21:16:17.973" v="9770"/>
          <ac:spMkLst>
            <pc:docMk/>
            <pc:sldMk cId="12106807" sldId="284"/>
            <ac:spMk id="79" creationId="{045713AF-DDF5-9566-7BB4-86D72AD808AA}"/>
          </ac:spMkLst>
        </pc:spChg>
        <pc:spChg chg="mod ord topLvl">
          <ac:chgData name="Aryan Tah (MiddleEast)" userId="7f6066b6-35e9-4d47-9d15-8917e2720a06" providerId="ADAL" clId="{CB224072-EA94-4500-BB44-FA94C70FEF2B}" dt="2026-01-03T21:24:52.208" v="9985" actId="164"/>
          <ac:spMkLst>
            <pc:docMk/>
            <pc:sldMk cId="12106807" sldId="284"/>
            <ac:spMk id="80" creationId="{5EA9D3F1-72CC-B685-2681-9731507EDD9E}"/>
          </ac:spMkLst>
        </pc:spChg>
        <pc:spChg chg="mod ord topLvl">
          <ac:chgData name="Aryan Tah (MiddleEast)" userId="7f6066b6-35e9-4d47-9d15-8917e2720a06" providerId="ADAL" clId="{CB224072-EA94-4500-BB44-FA94C70FEF2B}" dt="2026-01-03T21:24:52.208" v="9985" actId="164"/>
          <ac:spMkLst>
            <pc:docMk/>
            <pc:sldMk cId="12106807" sldId="284"/>
            <ac:spMk id="81" creationId="{E2B0AB35-C071-DC8E-3027-C7F8E9485638}"/>
          </ac:spMkLst>
        </pc:spChg>
        <pc:spChg chg="mod ord topLvl">
          <ac:chgData name="Aryan Tah (MiddleEast)" userId="7f6066b6-35e9-4d47-9d15-8917e2720a06" providerId="ADAL" clId="{CB224072-EA94-4500-BB44-FA94C70FEF2B}" dt="2026-01-03T21:16:31.823" v="9782"/>
          <ac:spMkLst>
            <pc:docMk/>
            <pc:sldMk cId="12106807" sldId="284"/>
            <ac:spMk id="82" creationId="{3400BD56-6177-A2CF-FC94-4B419B251609}"/>
          </ac:spMkLst>
        </pc:spChg>
        <pc:spChg chg="mod ord topLvl">
          <ac:chgData name="Aryan Tah (MiddleEast)" userId="7f6066b6-35e9-4d47-9d15-8917e2720a06" providerId="ADAL" clId="{CB224072-EA94-4500-BB44-FA94C70FEF2B}" dt="2026-01-03T21:15:38.759" v="9753" actId="164"/>
          <ac:spMkLst>
            <pc:docMk/>
            <pc:sldMk cId="12106807" sldId="284"/>
            <ac:spMk id="83" creationId="{023A48D3-C2E2-86F4-A5C9-7F573808055E}"/>
          </ac:spMkLst>
        </pc:spChg>
        <pc:spChg chg="mod ord">
          <ac:chgData name="Aryan Tah (MiddleEast)" userId="7f6066b6-35e9-4d47-9d15-8917e2720a06" providerId="ADAL" clId="{CB224072-EA94-4500-BB44-FA94C70FEF2B}" dt="2026-01-03T21:14:29.285" v="9707"/>
          <ac:spMkLst>
            <pc:docMk/>
            <pc:sldMk cId="12106807" sldId="284"/>
            <ac:spMk id="84" creationId="{D13C7028-FEB3-C777-EBB9-9B17CDF87179}"/>
          </ac:spMkLst>
        </pc:spChg>
        <pc:spChg chg="mod ord topLvl">
          <ac:chgData name="Aryan Tah (MiddleEast)" userId="7f6066b6-35e9-4d47-9d15-8917e2720a06" providerId="ADAL" clId="{CB224072-EA94-4500-BB44-FA94C70FEF2B}" dt="2026-01-03T21:14:29.284" v="9705"/>
          <ac:spMkLst>
            <pc:docMk/>
            <pc:sldMk cId="12106807" sldId="284"/>
            <ac:spMk id="85" creationId="{4FD24F97-9F32-8C00-CDF7-E306CFDAC3EC}"/>
          </ac:spMkLst>
        </pc:spChg>
        <pc:spChg chg="add mod ord">
          <ac:chgData name="Aryan Tah (MiddleEast)" userId="7f6066b6-35e9-4d47-9d15-8917e2720a06" providerId="ADAL" clId="{CB224072-EA94-4500-BB44-FA94C70FEF2B}" dt="2026-01-03T21:12:31.789" v="9659" actId="1037"/>
          <ac:spMkLst>
            <pc:docMk/>
            <pc:sldMk cId="12106807" sldId="284"/>
            <ac:spMk id="87" creationId="{B02A2906-BFB4-C925-58DC-25A05A5B532B}"/>
          </ac:spMkLst>
        </pc:spChg>
        <pc:spChg chg="mod">
          <ac:chgData name="Aryan Tah (MiddleEast)" userId="7f6066b6-35e9-4d47-9d15-8917e2720a06" providerId="ADAL" clId="{CB224072-EA94-4500-BB44-FA94C70FEF2B}" dt="2026-01-03T19:28:49.350" v="8687" actId="571"/>
          <ac:spMkLst>
            <pc:docMk/>
            <pc:sldMk cId="12106807" sldId="284"/>
            <ac:spMk id="91" creationId="{DD928230-5BAB-E106-0601-4EAE275AF5D5}"/>
          </ac:spMkLst>
        </pc:spChg>
        <pc:spChg chg="mod">
          <ac:chgData name="Aryan Tah (MiddleEast)" userId="7f6066b6-35e9-4d47-9d15-8917e2720a06" providerId="ADAL" clId="{CB224072-EA94-4500-BB44-FA94C70FEF2B}" dt="2026-01-03T19:28:49.350" v="8687" actId="571"/>
          <ac:spMkLst>
            <pc:docMk/>
            <pc:sldMk cId="12106807" sldId="284"/>
            <ac:spMk id="93" creationId="{2773FD1F-44E1-BBF6-8F95-B7A3B179B0E4}"/>
          </ac:spMkLst>
        </pc:spChg>
        <pc:spChg chg="mod">
          <ac:chgData name="Aryan Tah (MiddleEast)" userId="7f6066b6-35e9-4d47-9d15-8917e2720a06" providerId="ADAL" clId="{CB224072-EA94-4500-BB44-FA94C70FEF2B}" dt="2026-01-03T19:28:49.350" v="8687" actId="571"/>
          <ac:spMkLst>
            <pc:docMk/>
            <pc:sldMk cId="12106807" sldId="284"/>
            <ac:spMk id="94" creationId="{03D144AE-44A3-ACB1-6E7A-893FF3120557}"/>
          </ac:spMkLst>
        </pc:spChg>
        <pc:spChg chg="mod">
          <ac:chgData name="Aryan Tah (MiddleEast)" userId="7f6066b6-35e9-4d47-9d15-8917e2720a06" providerId="ADAL" clId="{CB224072-EA94-4500-BB44-FA94C70FEF2B}" dt="2026-01-03T19:28:49.350" v="8687" actId="571"/>
          <ac:spMkLst>
            <pc:docMk/>
            <pc:sldMk cId="12106807" sldId="284"/>
            <ac:spMk id="97" creationId="{7DB53270-2B78-0917-F743-56B0F9E3FA5D}"/>
          </ac:spMkLst>
        </pc:spChg>
        <pc:spChg chg="mod">
          <ac:chgData name="Aryan Tah (MiddleEast)" userId="7f6066b6-35e9-4d47-9d15-8917e2720a06" providerId="ADAL" clId="{CB224072-EA94-4500-BB44-FA94C70FEF2B}" dt="2026-01-03T19:28:49.350" v="8687" actId="571"/>
          <ac:spMkLst>
            <pc:docMk/>
            <pc:sldMk cId="12106807" sldId="284"/>
            <ac:spMk id="101" creationId="{2D45515F-E092-3DFC-8F95-4A8462E11596}"/>
          </ac:spMkLst>
        </pc:spChg>
        <pc:spChg chg="mod">
          <ac:chgData name="Aryan Tah (MiddleEast)" userId="7f6066b6-35e9-4d47-9d15-8917e2720a06" providerId="ADAL" clId="{CB224072-EA94-4500-BB44-FA94C70FEF2B}" dt="2026-01-03T19:28:49.350" v="8687" actId="571"/>
          <ac:spMkLst>
            <pc:docMk/>
            <pc:sldMk cId="12106807" sldId="284"/>
            <ac:spMk id="102" creationId="{4DD5E3AB-E141-C2F5-6184-0FA8FC81AAB6}"/>
          </ac:spMkLst>
        </pc:spChg>
        <pc:spChg chg="mod">
          <ac:chgData name="Aryan Tah (MiddleEast)" userId="7f6066b6-35e9-4d47-9d15-8917e2720a06" providerId="ADAL" clId="{CB224072-EA94-4500-BB44-FA94C70FEF2B}" dt="2026-01-03T19:28:49.350" v="8687" actId="571"/>
          <ac:spMkLst>
            <pc:docMk/>
            <pc:sldMk cId="12106807" sldId="284"/>
            <ac:spMk id="104" creationId="{CBA45659-0AEC-9AF9-53C7-E42D68D3036F}"/>
          </ac:spMkLst>
        </pc:spChg>
        <pc:spChg chg="mod">
          <ac:chgData name="Aryan Tah (MiddleEast)" userId="7f6066b6-35e9-4d47-9d15-8917e2720a06" providerId="ADAL" clId="{CB224072-EA94-4500-BB44-FA94C70FEF2B}" dt="2026-01-03T19:28:49.350" v="8687" actId="571"/>
          <ac:spMkLst>
            <pc:docMk/>
            <pc:sldMk cId="12106807" sldId="284"/>
            <ac:spMk id="106" creationId="{916FFA3E-8B4F-C8A3-EF44-DC95CAD86751}"/>
          </ac:spMkLst>
        </pc:spChg>
        <pc:spChg chg="mod">
          <ac:chgData name="Aryan Tah (MiddleEast)" userId="7f6066b6-35e9-4d47-9d15-8917e2720a06" providerId="ADAL" clId="{CB224072-EA94-4500-BB44-FA94C70FEF2B}" dt="2026-01-03T21:16:01.362" v="9762" actId="165"/>
          <ac:spMkLst>
            <pc:docMk/>
            <pc:sldMk cId="12106807" sldId="284"/>
            <ac:spMk id="107" creationId="{C128916D-7F52-0AE8-F6A9-B8A18454E44C}"/>
          </ac:spMkLst>
        </pc:spChg>
        <pc:spChg chg="mod">
          <ac:chgData name="Aryan Tah (MiddleEast)" userId="7f6066b6-35e9-4d47-9d15-8917e2720a06" providerId="ADAL" clId="{CB224072-EA94-4500-BB44-FA94C70FEF2B}" dt="2026-01-03T21:08:08.178" v="9456"/>
          <ac:spMkLst>
            <pc:docMk/>
            <pc:sldMk cId="12106807" sldId="284"/>
            <ac:spMk id="154" creationId="{E339B9AC-0174-F859-27F5-E5323F16168B}"/>
          </ac:spMkLst>
        </pc:spChg>
        <pc:spChg chg="add mod">
          <ac:chgData name="Aryan Tah (MiddleEast)" userId="7f6066b6-35e9-4d47-9d15-8917e2720a06" providerId="ADAL" clId="{CB224072-EA94-4500-BB44-FA94C70FEF2B}" dt="2026-01-03T21:24:52.208" v="9985" actId="164"/>
          <ac:spMkLst>
            <pc:docMk/>
            <pc:sldMk cId="12106807" sldId="284"/>
            <ac:spMk id="155" creationId="{3504494E-C9EE-F4AE-A412-B3A524E008E3}"/>
          </ac:spMkLst>
        </pc:spChg>
        <pc:spChg chg="add mod">
          <ac:chgData name="Aryan Tah (MiddleEast)" userId="7f6066b6-35e9-4d47-9d15-8917e2720a06" providerId="ADAL" clId="{CB224072-EA94-4500-BB44-FA94C70FEF2B}" dt="2026-01-03T21:24:38.064" v="9984"/>
          <ac:spMkLst>
            <pc:docMk/>
            <pc:sldMk cId="12106807" sldId="284"/>
            <ac:spMk id="156" creationId="{B2D4D582-0197-CFC5-18EB-FA525503EFA5}"/>
          </ac:spMkLst>
        </pc:spChg>
        <pc:spChg chg="mod">
          <ac:chgData name="Aryan Tah (MiddleEast)" userId="7f6066b6-35e9-4d47-9d15-8917e2720a06" providerId="ADAL" clId="{CB224072-EA94-4500-BB44-FA94C70FEF2B}" dt="2026-01-03T21:09:03.555" v="9463"/>
          <ac:spMkLst>
            <pc:docMk/>
            <pc:sldMk cId="12106807" sldId="284"/>
            <ac:spMk id="157" creationId="{E4EA3A5A-E8DA-F6B5-60C4-67771593DD3A}"/>
          </ac:spMkLst>
        </pc:spChg>
        <pc:spChg chg="mod">
          <ac:chgData name="Aryan Tah (MiddleEast)" userId="7f6066b6-35e9-4d47-9d15-8917e2720a06" providerId="ADAL" clId="{CB224072-EA94-4500-BB44-FA94C70FEF2B}" dt="2026-01-03T21:16:01.362" v="9762" actId="165"/>
          <ac:spMkLst>
            <pc:docMk/>
            <pc:sldMk cId="12106807" sldId="284"/>
            <ac:spMk id="161" creationId="{0F0A871E-7D46-3581-2189-4AD42E1D91A5}"/>
          </ac:spMkLst>
        </pc:spChg>
        <pc:spChg chg="mod">
          <ac:chgData name="Aryan Tah (MiddleEast)" userId="7f6066b6-35e9-4d47-9d15-8917e2720a06" providerId="ADAL" clId="{CB224072-EA94-4500-BB44-FA94C70FEF2B}" dt="2026-01-03T21:06:20.393" v="9438" actId="948"/>
          <ac:spMkLst>
            <pc:docMk/>
            <pc:sldMk cId="12106807" sldId="284"/>
            <ac:spMk id="167" creationId="{86267FA3-9646-3175-E769-EE787C5CD58B}"/>
          </ac:spMkLst>
        </pc:spChg>
        <pc:spChg chg="mod">
          <ac:chgData name="Aryan Tah (MiddleEast)" userId="7f6066b6-35e9-4d47-9d15-8917e2720a06" providerId="ADAL" clId="{CB224072-EA94-4500-BB44-FA94C70FEF2B}" dt="2026-01-03T21:06:20.393" v="9438" actId="948"/>
          <ac:spMkLst>
            <pc:docMk/>
            <pc:sldMk cId="12106807" sldId="284"/>
            <ac:spMk id="169" creationId="{B6A92293-DC9E-0452-E41C-800C296C757B}"/>
          </ac:spMkLst>
        </pc:spChg>
        <pc:spChg chg="mod">
          <ac:chgData name="Aryan Tah (MiddleEast)" userId="7f6066b6-35e9-4d47-9d15-8917e2720a06" providerId="ADAL" clId="{CB224072-EA94-4500-BB44-FA94C70FEF2B}" dt="2026-01-03T21:06:20.393" v="9438" actId="948"/>
          <ac:spMkLst>
            <pc:docMk/>
            <pc:sldMk cId="12106807" sldId="284"/>
            <ac:spMk id="171" creationId="{E4BC71F7-205C-2864-02BA-242FCE0DD909}"/>
          </ac:spMkLst>
        </pc:spChg>
        <pc:spChg chg="mod">
          <ac:chgData name="Aryan Tah (MiddleEast)" userId="7f6066b6-35e9-4d47-9d15-8917e2720a06" providerId="ADAL" clId="{CB224072-EA94-4500-BB44-FA94C70FEF2B}" dt="2026-01-03T21:07:13.880" v="9444"/>
          <ac:spMkLst>
            <pc:docMk/>
            <pc:sldMk cId="12106807" sldId="284"/>
            <ac:spMk id="173" creationId="{0557F1C1-57BB-3CA3-DAD9-170D38ADBBBF}"/>
          </ac:spMkLst>
        </pc:spChg>
        <pc:spChg chg="mod">
          <ac:chgData name="Aryan Tah (MiddleEast)" userId="7f6066b6-35e9-4d47-9d15-8917e2720a06" providerId="ADAL" clId="{CB224072-EA94-4500-BB44-FA94C70FEF2B}" dt="2026-01-03T21:09:03.555" v="9463"/>
          <ac:spMkLst>
            <pc:docMk/>
            <pc:sldMk cId="12106807" sldId="284"/>
            <ac:spMk id="174" creationId="{C703264D-CB06-48D7-A40E-F25C6BFA9253}"/>
          </ac:spMkLst>
        </pc:spChg>
        <pc:spChg chg="mod topLvl">
          <ac:chgData name="Aryan Tah (MiddleEast)" userId="7f6066b6-35e9-4d47-9d15-8917e2720a06" providerId="ADAL" clId="{CB224072-EA94-4500-BB44-FA94C70FEF2B}" dt="2026-01-03T21:16:01.362" v="9762" actId="165"/>
          <ac:spMkLst>
            <pc:docMk/>
            <pc:sldMk cId="12106807" sldId="284"/>
            <ac:spMk id="175" creationId="{A5EB964F-F859-98F1-B648-72282C95FE91}"/>
          </ac:spMkLst>
        </pc:spChg>
        <pc:spChg chg="mod">
          <ac:chgData name="Aryan Tah (MiddleEast)" userId="7f6066b6-35e9-4d47-9d15-8917e2720a06" providerId="ADAL" clId="{CB224072-EA94-4500-BB44-FA94C70FEF2B}" dt="2026-01-03T21:24:52.208" v="9985" actId="164"/>
          <ac:spMkLst>
            <pc:docMk/>
            <pc:sldMk cId="12106807" sldId="284"/>
            <ac:spMk id="176" creationId="{EA54D034-D9C9-E618-3084-6ED0C865A1A6}"/>
          </ac:spMkLst>
        </pc:spChg>
        <pc:spChg chg="mod">
          <ac:chgData name="Aryan Tah (MiddleEast)" userId="7f6066b6-35e9-4d47-9d15-8917e2720a06" providerId="ADAL" clId="{CB224072-EA94-4500-BB44-FA94C70FEF2B}" dt="2026-01-03T21:06:20.393" v="9438" actId="948"/>
          <ac:spMkLst>
            <pc:docMk/>
            <pc:sldMk cId="12106807" sldId="284"/>
            <ac:spMk id="178" creationId="{9FD3BC47-8487-497F-18D4-460DAC8E06EF}"/>
          </ac:spMkLst>
        </pc:spChg>
        <pc:spChg chg="mod">
          <ac:chgData name="Aryan Tah (MiddleEast)" userId="7f6066b6-35e9-4d47-9d15-8917e2720a06" providerId="ADAL" clId="{CB224072-EA94-4500-BB44-FA94C70FEF2B}" dt="2026-01-03T21:06:20.393" v="9438" actId="948"/>
          <ac:spMkLst>
            <pc:docMk/>
            <pc:sldMk cId="12106807" sldId="284"/>
            <ac:spMk id="180" creationId="{22DB7C9E-319B-EC9E-16FA-16195EEF9486}"/>
          </ac:spMkLst>
        </pc:spChg>
        <pc:spChg chg="mod">
          <ac:chgData name="Aryan Tah (MiddleEast)" userId="7f6066b6-35e9-4d47-9d15-8917e2720a06" providerId="ADAL" clId="{CB224072-EA94-4500-BB44-FA94C70FEF2B}" dt="2026-01-03T21:06:20.393" v="9438" actId="948"/>
          <ac:spMkLst>
            <pc:docMk/>
            <pc:sldMk cId="12106807" sldId="284"/>
            <ac:spMk id="183" creationId="{B3D4B0CD-08D5-F61A-9C21-79EC2C81DC97}"/>
          </ac:spMkLst>
        </pc:spChg>
        <pc:spChg chg="mod">
          <ac:chgData name="Aryan Tah (MiddleEast)" userId="7f6066b6-35e9-4d47-9d15-8917e2720a06" providerId="ADAL" clId="{CB224072-EA94-4500-BB44-FA94C70FEF2B}" dt="2026-01-03T21:06:20.393" v="9438" actId="948"/>
          <ac:spMkLst>
            <pc:docMk/>
            <pc:sldMk cId="12106807" sldId="284"/>
            <ac:spMk id="185" creationId="{1BD3918A-7009-1148-9CB7-94EEEA5EC584}"/>
          </ac:spMkLst>
        </pc:spChg>
        <pc:spChg chg="mod">
          <ac:chgData name="Aryan Tah (MiddleEast)" userId="7f6066b6-35e9-4d47-9d15-8917e2720a06" providerId="ADAL" clId="{CB224072-EA94-4500-BB44-FA94C70FEF2B}" dt="2026-01-03T21:11:59.021" v="9558" actId="165"/>
          <ac:spMkLst>
            <pc:docMk/>
            <pc:sldMk cId="12106807" sldId="284"/>
            <ac:spMk id="190" creationId="{EDF49ABD-D5C9-FF1A-3533-613311E6AAFF}"/>
          </ac:spMkLst>
        </pc:spChg>
        <pc:spChg chg="mod topLvl">
          <ac:chgData name="Aryan Tah (MiddleEast)" userId="7f6066b6-35e9-4d47-9d15-8917e2720a06" providerId="ADAL" clId="{CB224072-EA94-4500-BB44-FA94C70FEF2B}" dt="2026-01-03T21:16:15.693" v="9768"/>
          <ac:spMkLst>
            <pc:docMk/>
            <pc:sldMk cId="12106807" sldId="284"/>
            <ac:spMk id="196" creationId="{D3361E2D-C048-81D7-7815-8993C9A39E4B}"/>
          </ac:spMkLst>
        </pc:spChg>
        <pc:spChg chg="mod topLvl">
          <ac:chgData name="Aryan Tah (MiddleEast)" userId="7f6066b6-35e9-4d47-9d15-8917e2720a06" providerId="ADAL" clId="{CB224072-EA94-4500-BB44-FA94C70FEF2B}" dt="2026-01-03T21:18:22.084" v="9835" actId="20577"/>
          <ac:spMkLst>
            <pc:docMk/>
            <pc:sldMk cId="12106807" sldId="284"/>
            <ac:spMk id="197" creationId="{E876F7B0-D18D-B455-1F18-D4ED297490D7}"/>
          </ac:spMkLst>
        </pc:spChg>
        <pc:spChg chg="mod topLvl">
          <ac:chgData name="Aryan Tah (MiddleEast)" userId="7f6066b6-35e9-4d47-9d15-8917e2720a06" providerId="ADAL" clId="{CB224072-EA94-4500-BB44-FA94C70FEF2B}" dt="2026-01-03T21:23:58.471" v="9980" actId="20577"/>
          <ac:spMkLst>
            <pc:docMk/>
            <pc:sldMk cId="12106807" sldId="284"/>
            <ac:spMk id="198" creationId="{5030FF08-F403-1D97-8406-3924C86AD5F7}"/>
          </ac:spMkLst>
        </pc:spChg>
        <pc:spChg chg="mod topLvl">
          <ac:chgData name="Aryan Tah (MiddleEast)" userId="7f6066b6-35e9-4d47-9d15-8917e2720a06" providerId="ADAL" clId="{CB224072-EA94-4500-BB44-FA94C70FEF2B}" dt="2026-01-03T21:16:12.686" v="9764" actId="165"/>
          <ac:spMkLst>
            <pc:docMk/>
            <pc:sldMk cId="12106807" sldId="284"/>
            <ac:spMk id="199" creationId="{D7F2F807-E0DF-7A56-F185-6BB4E991AD16}"/>
          </ac:spMkLst>
        </pc:spChg>
        <pc:spChg chg="mod topLvl">
          <ac:chgData name="Aryan Tah (MiddleEast)" userId="7f6066b6-35e9-4d47-9d15-8917e2720a06" providerId="ADAL" clId="{CB224072-EA94-4500-BB44-FA94C70FEF2B}" dt="2026-01-03T21:16:25.273" v="9780"/>
          <ac:spMkLst>
            <pc:docMk/>
            <pc:sldMk cId="12106807" sldId="284"/>
            <ac:spMk id="200" creationId="{3950C3DE-F9F7-C82C-5D40-B8426CB9E59A}"/>
          </ac:spMkLst>
        </pc:spChg>
        <pc:spChg chg="mod topLvl">
          <ac:chgData name="Aryan Tah (MiddleEast)" userId="7f6066b6-35e9-4d47-9d15-8917e2720a06" providerId="ADAL" clId="{CB224072-EA94-4500-BB44-FA94C70FEF2B}" dt="2026-01-03T21:18:57.695" v="9882" actId="20577"/>
          <ac:spMkLst>
            <pc:docMk/>
            <pc:sldMk cId="12106807" sldId="284"/>
            <ac:spMk id="201" creationId="{7335114F-2756-5C5F-841B-AA3037F511DC}"/>
          </ac:spMkLst>
        </pc:spChg>
        <pc:spChg chg="mod topLvl">
          <ac:chgData name="Aryan Tah (MiddleEast)" userId="7f6066b6-35e9-4d47-9d15-8917e2720a06" providerId="ADAL" clId="{CB224072-EA94-4500-BB44-FA94C70FEF2B}" dt="2026-01-03T21:24:52.208" v="9985" actId="164"/>
          <ac:spMkLst>
            <pc:docMk/>
            <pc:sldMk cId="12106807" sldId="284"/>
            <ac:spMk id="202" creationId="{76B9A3E4-5D7E-9101-3406-4212C4F1AEE7}"/>
          </ac:spMkLst>
        </pc:spChg>
        <pc:spChg chg="mod topLvl">
          <ac:chgData name="Aryan Tah (MiddleEast)" userId="7f6066b6-35e9-4d47-9d15-8917e2720a06" providerId="ADAL" clId="{CB224072-EA94-4500-BB44-FA94C70FEF2B}" dt="2026-01-03T21:16:12.686" v="9764" actId="165"/>
          <ac:spMkLst>
            <pc:docMk/>
            <pc:sldMk cId="12106807" sldId="284"/>
            <ac:spMk id="203" creationId="{065AB40B-993E-1D9E-4A34-D0FEC542E35D}"/>
          </ac:spMkLst>
        </pc:spChg>
        <pc:spChg chg="mod topLvl">
          <ac:chgData name="Aryan Tah (MiddleEast)" userId="7f6066b6-35e9-4d47-9d15-8917e2720a06" providerId="ADAL" clId="{CB224072-EA94-4500-BB44-FA94C70FEF2B}" dt="2026-01-03T21:16:12.686" v="9764" actId="165"/>
          <ac:spMkLst>
            <pc:docMk/>
            <pc:sldMk cId="12106807" sldId="284"/>
            <ac:spMk id="204" creationId="{0958496D-E0FC-92A7-CB21-B7D9F78A5A97}"/>
          </ac:spMkLst>
        </pc:spChg>
        <pc:spChg chg="mod topLvl">
          <ac:chgData name="Aryan Tah (MiddleEast)" userId="7f6066b6-35e9-4d47-9d15-8917e2720a06" providerId="ADAL" clId="{CB224072-EA94-4500-BB44-FA94C70FEF2B}" dt="2026-01-03T21:16:12.686" v="9764" actId="165"/>
          <ac:spMkLst>
            <pc:docMk/>
            <pc:sldMk cId="12106807" sldId="284"/>
            <ac:spMk id="205" creationId="{A98D450A-5A9D-9ACA-15E9-8BD1BE65E127}"/>
          </ac:spMkLst>
        </pc:spChg>
        <pc:spChg chg="add mod">
          <ac:chgData name="Aryan Tah (MiddleEast)" userId="7f6066b6-35e9-4d47-9d15-8917e2720a06" providerId="ADAL" clId="{CB224072-EA94-4500-BB44-FA94C70FEF2B}" dt="2026-01-03T21:14:29.283" v="9703"/>
          <ac:spMkLst>
            <pc:docMk/>
            <pc:sldMk cId="12106807" sldId="284"/>
            <ac:spMk id="206" creationId="{608026CC-3105-1361-98DD-9540F518BB3E}"/>
          </ac:spMkLst>
        </pc:spChg>
        <pc:spChg chg="add mod">
          <ac:chgData name="Aryan Tah (MiddleEast)" userId="7f6066b6-35e9-4d47-9d15-8917e2720a06" providerId="ADAL" clId="{CB224072-EA94-4500-BB44-FA94C70FEF2B}" dt="2026-01-03T21:22:08.643" v="9946" actId="207"/>
          <ac:spMkLst>
            <pc:docMk/>
            <pc:sldMk cId="12106807" sldId="284"/>
            <ac:spMk id="209" creationId="{76A3D691-8B5A-73E5-2F53-4106FFFF5BC6}"/>
          </ac:spMkLst>
        </pc:spChg>
        <pc:spChg chg="add mod">
          <ac:chgData name="Aryan Tah (MiddleEast)" userId="7f6066b6-35e9-4d47-9d15-8917e2720a06" providerId="ADAL" clId="{CB224072-EA94-4500-BB44-FA94C70FEF2B}" dt="2026-01-03T21:21:53.689" v="9944" actId="207"/>
          <ac:spMkLst>
            <pc:docMk/>
            <pc:sldMk cId="12106807" sldId="284"/>
            <ac:spMk id="210" creationId="{D898A6A3-AD7E-0F02-DF21-796552847A5A}"/>
          </ac:spMkLst>
        </pc:spChg>
        <pc:spChg chg="add mod">
          <ac:chgData name="Aryan Tah (MiddleEast)" userId="7f6066b6-35e9-4d47-9d15-8917e2720a06" providerId="ADAL" clId="{CB224072-EA94-4500-BB44-FA94C70FEF2B}" dt="2026-01-03T21:24:06.764" v="9982"/>
          <ac:spMkLst>
            <pc:docMk/>
            <pc:sldMk cId="12106807" sldId="284"/>
            <ac:spMk id="211" creationId="{B2D007A4-A3A9-60C8-5222-3B74F8C60D44}"/>
          </ac:spMkLst>
        </pc:spChg>
        <pc:spChg chg="add mod">
          <ac:chgData name="Aryan Tah (MiddleEast)" userId="7f6066b6-35e9-4d47-9d15-8917e2720a06" providerId="ADAL" clId="{CB224072-EA94-4500-BB44-FA94C70FEF2B}" dt="2026-01-03T21:21:53.689" v="9944" actId="207"/>
          <ac:spMkLst>
            <pc:docMk/>
            <pc:sldMk cId="12106807" sldId="284"/>
            <ac:spMk id="212" creationId="{B3951C64-DC4A-BDF4-7D33-B8DF14B38929}"/>
          </ac:spMkLst>
        </pc:spChg>
        <pc:spChg chg="add mod">
          <ac:chgData name="Aryan Tah (MiddleEast)" userId="7f6066b6-35e9-4d47-9d15-8917e2720a06" providerId="ADAL" clId="{CB224072-EA94-4500-BB44-FA94C70FEF2B}" dt="2026-01-03T21:24:04.011" v="9981"/>
          <ac:spMkLst>
            <pc:docMk/>
            <pc:sldMk cId="12106807" sldId="284"/>
            <ac:spMk id="213" creationId="{65041037-66ED-DA7B-5E84-035B6C89D959}"/>
          </ac:spMkLst>
        </pc:spChg>
        <pc:grpChg chg="add mod ord">
          <ac:chgData name="Aryan Tah (MiddleEast)" userId="7f6066b6-35e9-4d47-9d15-8917e2720a06" providerId="ADAL" clId="{CB224072-EA94-4500-BB44-FA94C70FEF2B}" dt="2026-01-03T18:38:23.514" v="8532" actId="164"/>
          <ac:grpSpMkLst>
            <pc:docMk/>
            <pc:sldMk cId="12106807" sldId="284"/>
            <ac:grpSpMk id="15" creationId="{BE40E028-C1D1-5084-7F0E-D0752283C60F}"/>
          </ac:grpSpMkLst>
        </pc:grpChg>
        <pc:grpChg chg="add mod ord">
          <ac:chgData name="Aryan Tah (MiddleEast)" userId="7f6066b6-35e9-4d47-9d15-8917e2720a06" providerId="ADAL" clId="{CB224072-EA94-4500-BB44-FA94C70FEF2B}" dt="2026-01-03T20:54:06.871" v="9154"/>
          <ac:grpSpMkLst>
            <pc:docMk/>
            <pc:sldMk cId="12106807" sldId="284"/>
            <ac:grpSpMk id="39" creationId="{B402CFA0-342F-5F4C-E3E8-9F3E11150F68}"/>
          </ac:grpSpMkLst>
        </pc:grpChg>
        <pc:grpChg chg="add mod ord">
          <ac:chgData name="Aryan Tah (MiddleEast)" userId="7f6066b6-35e9-4d47-9d15-8917e2720a06" providerId="ADAL" clId="{CB224072-EA94-4500-BB44-FA94C70FEF2B}" dt="2026-01-03T20:54:06.872" v="9156"/>
          <ac:grpSpMkLst>
            <pc:docMk/>
            <pc:sldMk cId="12106807" sldId="284"/>
            <ac:grpSpMk id="40" creationId="{0830A2EE-08BB-7197-BCDD-D2B8BBD525C4}"/>
          </ac:grpSpMkLst>
        </pc:grpChg>
        <pc:grpChg chg="mod">
          <ac:chgData name="Aryan Tah (MiddleEast)" userId="7f6066b6-35e9-4d47-9d15-8917e2720a06" providerId="ADAL" clId="{CB224072-EA94-4500-BB44-FA94C70FEF2B}" dt="2026-01-03T18:38:36.654" v="8535" actId="571"/>
          <ac:grpSpMkLst>
            <pc:docMk/>
            <pc:sldMk cId="12106807" sldId="284"/>
            <ac:grpSpMk id="42" creationId="{270499DF-5907-187E-2141-EABDC5D9422B}"/>
          </ac:grpSpMkLst>
        </pc:grpChg>
        <pc:grpChg chg="add mod ord">
          <ac:chgData name="Aryan Tah (MiddleEast)" userId="7f6066b6-35e9-4d47-9d15-8917e2720a06" providerId="ADAL" clId="{CB224072-EA94-4500-BB44-FA94C70FEF2B}" dt="2026-01-03T20:54:06.872" v="9158"/>
          <ac:grpSpMkLst>
            <pc:docMk/>
            <pc:sldMk cId="12106807" sldId="284"/>
            <ac:grpSpMk id="45" creationId="{21532939-7325-C8C0-4560-4416AD501C75}"/>
          </ac:grpSpMkLst>
        </pc:grpChg>
        <pc:grpChg chg="mod">
          <ac:chgData name="Aryan Tah (MiddleEast)" userId="7f6066b6-35e9-4d47-9d15-8917e2720a06" providerId="ADAL" clId="{CB224072-EA94-4500-BB44-FA94C70FEF2B}" dt="2026-01-03T18:38:38.907" v="8536" actId="571"/>
          <ac:grpSpMkLst>
            <pc:docMk/>
            <pc:sldMk cId="12106807" sldId="284"/>
            <ac:grpSpMk id="47" creationId="{027CA4B3-6FAC-075D-BAEC-EF23F728F7E4}"/>
          </ac:grpSpMkLst>
        </pc:grpChg>
        <pc:grpChg chg="mod ord">
          <ac:chgData name="Aryan Tah (MiddleEast)" userId="7f6066b6-35e9-4d47-9d15-8917e2720a06" providerId="ADAL" clId="{CB224072-EA94-4500-BB44-FA94C70FEF2B}" dt="2026-01-03T20:54:06.875" v="9168"/>
          <ac:grpSpMkLst>
            <pc:docMk/>
            <pc:sldMk cId="12106807" sldId="284"/>
            <ac:grpSpMk id="54" creationId="{90E16BAD-ECE2-3070-79B5-34B2B6674791}"/>
          </ac:grpSpMkLst>
        </pc:grpChg>
        <pc:grpChg chg="add mod ord">
          <ac:chgData name="Aryan Tah (MiddleEast)" userId="7f6066b6-35e9-4d47-9d15-8917e2720a06" providerId="ADAL" clId="{CB224072-EA94-4500-BB44-FA94C70FEF2B}" dt="2026-01-03T20:54:06.876" v="9170"/>
          <ac:grpSpMkLst>
            <pc:docMk/>
            <pc:sldMk cId="12106807" sldId="284"/>
            <ac:grpSpMk id="59" creationId="{2D7FA422-0560-E51D-99EF-E859E259D996}"/>
          </ac:grpSpMkLst>
        </pc:grpChg>
        <pc:grpChg chg="mod ord">
          <ac:chgData name="Aryan Tah (MiddleEast)" userId="7f6066b6-35e9-4d47-9d15-8917e2720a06" providerId="ADAL" clId="{CB224072-EA94-4500-BB44-FA94C70FEF2B}" dt="2026-01-03T20:54:06.877" v="9172"/>
          <ac:grpSpMkLst>
            <pc:docMk/>
            <pc:sldMk cId="12106807" sldId="284"/>
            <ac:grpSpMk id="64" creationId="{91021683-ADEE-ACD2-6593-5853ADFA5D48}"/>
          </ac:grpSpMkLst>
        </pc:grpChg>
        <pc:grpChg chg="mod ord">
          <ac:chgData name="Aryan Tah (MiddleEast)" userId="7f6066b6-35e9-4d47-9d15-8917e2720a06" providerId="ADAL" clId="{CB224072-EA94-4500-BB44-FA94C70FEF2B}" dt="2026-01-03T20:54:06.881" v="9182"/>
          <ac:grpSpMkLst>
            <pc:docMk/>
            <pc:sldMk cId="12106807" sldId="284"/>
            <ac:grpSpMk id="88" creationId="{BA37804E-505B-D16C-1B1A-EF443BB4F48E}"/>
          </ac:grpSpMkLst>
        </pc:grpChg>
        <pc:grpChg chg="mod ord">
          <ac:chgData name="Aryan Tah (MiddleEast)" userId="7f6066b6-35e9-4d47-9d15-8917e2720a06" providerId="ADAL" clId="{CB224072-EA94-4500-BB44-FA94C70FEF2B}" dt="2026-01-03T20:54:06.881" v="9184"/>
          <ac:grpSpMkLst>
            <pc:docMk/>
            <pc:sldMk cId="12106807" sldId="284"/>
            <ac:grpSpMk id="96" creationId="{DF22E303-B640-5202-27C9-27D847141275}"/>
          </ac:grpSpMkLst>
        </pc:grpChg>
        <pc:grpChg chg="mod ord">
          <ac:chgData name="Aryan Tah (MiddleEast)" userId="7f6066b6-35e9-4d47-9d15-8917e2720a06" providerId="ADAL" clId="{CB224072-EA94-4500-BB44-FA94C70FEF2B}" dt="2026-01-03T20:54:06.882" v="9186"/>
          <ac:grpSpMkLst>
            <pc:docMk/>
            <pc:sldMk cId="12106807" sldId="284"/>
            <ac:grpSpMk id="103" creationId="{E8C8D6D4-8B39-2334-F07C-74DE5B34E74B}"/>
          </ac:grpSpMkLst>
        </pc:grpChg>
        <pc:grpChg chg="mod">
          <ac:chgData name="Aryan Tah (MiddleEast)" userId="7f6066b6-35e9-4d47-9d15-8917e2720a06" providerId="ADAL" clId="{CB224072-EA94-4500-BB44-FA94C70FEF2B}" dt="2026-01-03T19:28:49.350" v="8687" actId="571"/>
          <ac:grpSpMkLst>
            <pc:docMk/>
            <pc:sldMk cId="12106807" sldId="284"/>
            <ac:grpSpMk id="105" creationId="{B61FECAB-A652-E1EA-E4BE-429FD5C7E813}"/>
          </ac:grpSpMkLst>
        </pc:grpChg>
        <pc:grpChg chg="mod">
          <ac:chgData name="Aryan Tah (MiddleEast)" userId="7f6066b6-35e9-4d47-9d15-8917e2720a06" providerId="ADAL" clId="{CB224072-EA94-4500-BB44-FA94C70FEF2B}" dt="2026-01-04T13:28:04.847" v="10534" actId="1076"/>
          <ac:grpSpMkLst>
            <pc:docMk/>
            <pc:sldMk cId="12106807" sldId="284"/>
            <ac:grpSpMk id="214" creationId="{4D6CAB98-9511-F85C-4317-F403BC84D2C4}"/>
          </ac:grpSpMkLst>
        </pc:grpChg>
        <pc:graphicFrameChg chg="mod">
          <ac:chgData name="Aryan Tah (MiddleEast)" userId="7f6066b6-35e9-4d47-9d15-8917e2720a06" providerId="ADAL" clId="{CB224072-EA94-4500-BB44-FA94C70FEF2B}" dt="2026-01-03T21:37:09.657" v="10527"/>
          <ac:graphicFrameMkLst>
            <pc:docMk/>
            <pc:sldMk cId="12106807" sldId="284"/>
            <ac:graphicFrameMk id="3" creationId="{8511485B-839D-B873-B147-82485EC95CD0}"/>
          </ac:graphicFrameMkLst>
        </pc:graphicFrameChg>
        <pc:cxnChg chg="mod ord">
          <ac:chgData name="Aryan Tah (MiddleEast)" userId="7f6066b6-35e9-4d47-9d15-8917e2720a06" providerId="ADAL" clId="{CB224072-EA94-4500-BB44-FA94C70FEF2B}" dt="2026-01-03T20:54:06.866" v="9136"/>
          <ac:cxnSpMkLst>
            <pc:docMk/>
            <pc:sldMk cId="12106807" sldId="284"/>
            <ac:cxnSpMk id="86" creationId="{D9A4EFF3-C264-53FB-E442-F448FA9B79A1}"/>
          </ac:cxnSpMkLst>
        </pc:cxnChg>
      </pc:sldChg>
      <pc:sldChg chg="mod ord modShow">
        <pc:chgData name="Aryan Tah (MiddleEast)" userId="7f6066b6-35e9-4d47-9d15-8917e2720a06" providerId="ADAL" clId="{CB224072-EA94-4500-BB44-FA94C70FEF2B}" dt="2026-01-05T09:46:52.976" v="12907"/>
        <pc:sldMkLst>
          <pc:docMk/>
          <pc:sldMk cId="3395879485" sldId="286"/>
        </pc:sldMkLst>
      </pc:sldChg>
      <pc:sldChg chg="modSp mod ord modShow">
        <pc:chgData name="Aryan Tah (MiddleEast)" userId="7f6066b6-35e9-4d47-9d15-8917e2720a06" providerId="ADAL" clId="{CB224072-EA94-4500-BB44-FA94C70FEF2B}" dt="2026-01-05T10:59:03.995" v="20346" actId="20577"/>
        <pc:sldMkLst>
          <pc:docMk/>
          <pc:sldMk cId="57036395" sldId="287"/>
        </pc:sldMkLst>
        <pc:spChg chg="mod">
          <ac:chgData name="Aryan Tah (MiddleEast)" userId="7f6066b6-35e9-4d47-9d15-8917e2720a06" providerId="ADAL" clId="{CB224072-EA94-4500-BB44-FA94C70FEF2B}" dt="2026-01-05T10:59:03.995" v="20346" actId="20577"/>
          <ac:spMkLst>
            <pc:docMk/>
            <pc:sldMk cId="57036395" sldId="287"/>
            <ac:spMk id="37" creationId="{A773F129-B0B8-5269-0260-C0ADBAE15C92}"/>
          </ac:spMkLst>
        </pc:spChg>
      </pc:sldChg>
      <pc:sldChg chg="mod ord modShow">
        <pc:chgData name="Aryan Tah (MiddleEast)" userId="7f6066b6-35e9-4d47-9d15-8917e2720a06" providerId="ADAL" clId="{CB224072-EA94-4500-BB44-FA94C70FEF2B}" dt="2026-01-05T09:46:58.539" v="12910" actId="729"/>
        <pc:sldMkLst>
          <pc:docMk/>
          <pc:sldMk cId="1603140465" sldId="288"/>
        </pc:sldMkLst>
      </pc:sldChg>
      <pc:sldChg chg="modSp mod ord modShow">
        <pc:chgData name="Aryan Tah (MiddleEast)" userId="7f6066b6-35e9-4d47-9d15-8917e2720a06" providerId="ADAL" clId="{CB224072-EA94-4500-BB44-FA94C70FEF2B}" dt="2026-01-05T11:02:36.268" v="20600" actId="729"/>
        <pc:sldMkLst>
          <pc:docMk/>
          <pc:sldMk cId="3738340758" sldId="289"/>
        </pc:sldMkLst>
        <pc:spChg chg="mod">
          <ac:chgData name="Aryan Tah (MiddleEast)" userId="7f6066b6-35e9-4d47-9d15-8917e2720a06" providerId="ADAL" clId="{CB224072-EA94-4500-BB44-FA94C70FEF2B}" dt="2026-01-05T10:18:38.115" v="19693" actId="1076"/>
          <ac:spMkLst>
            <pc:docMk/>
            <pc:sldMk cId="3738340758" sldId="289"/>
            <ac:spMk id="56" creationId="{F5F0421D-E874-2129-3200-CFFF6420FCE9}"/>
          </ac:spMkLst>
        </pc:spChg>
      </pc:sldChg>
      <pc:sldChg chg="modSp mod modShow">
        <pc:chgData name="Aryan Tah (MiddleEast)" userId="7f6066b6-35e9-4d47-9d15-8917e2720a06" providerId="ADAL" clId="{CB224072-EA94-4500-BB44-FA94C70FEF2B}" dt="2026-01-05T11:02:36.268" v="20600" actId="729"/>
        <pc:sldMkLst>
          <pc:docMk/>
          <pc:sldMk cId="710515050" sldId="295"/>
        </pc:sldMkLst>
        <pc:spChg chg="mod">
          <ac:chgData name="Aryan Tah (MiddleEast)" userId="7f6066b6-35e9-4d47-9d15-8917e2720a06" providerId="ADAL" clId="{CB224072-EA94-4500-BB44-FA94C70FEF2B}" dt="2026-01-05T10:34:05.229" v="19841" actId="1076"/>
          <ac:spMkLst>
            <pc:docMk/>
            <pc:sldMk cId="710515050" sldId="295"/>
            <ac:spMk id="10" creationId="{0DB71941-4018-4842-E5A5-5AE2FEE58374}"/>
          </ac:spMkLst>
        </pc:spChg>
        <pc:spChg chg="mod">
          <ac:chgData name="Aryan Tah (MiddleEast)" userId="7f6066b6-35e9-4d47-9d15-8917e2720a06" providerId="ADAL" clId="{CB224072-EA94-4500-BB44-FA94C70FEF2B}" dt="2026-01-05T10:30:32.674" v="19839" actId="1076"/>
          <ac:spMkLst>
            <pc:docMk/>
            <pc:sldMk cId="710515050" sldId="295"/>
            <ac:spMk id="29" creationId="{A274711C-7A81-99B0-D87D-1AC2C20877E7}"/>
          </ac:spMkLst>
        </pc:spChg>
      </pc:sldChg>
      <pc:sldChg chg="ord">
        <pc:chgData name="Aryan Tah (MiddleEast)" userId="7f6066b6-35e9-4d47-9d15-8917e2720a06" providerId="ADAL" clId="{CB224072-EA94-4500-BB44-FA94C70FEF2B}" dt="2026-01-05T10:51:44.066" v="20015"/>
        <pc:sldMkLst>
          <pc:docMk/>
          <pc:sldMk cId="970457798" sldId="298"/>
        </pc:sldMkLst>
      </pc:sldChg>
      <pc:sldChg chg="addSp delSp modSp add mod">
        <pc:chgData name="Aryan Tah (MiddleEast)" userId="7f6066b6-35e9-4d47-9d15-8917e2720a06" providerId="ADAL" clId="{CB224072-EA94-4500-BB44-FA94C70FEF2B}" dt="2026-01-05T10:56:19.197" v="20083" actId="14100"/>
        <pc:sldMkLst>
          <pc:docMk/>
          <pc:sldMk cId="3862166169" sldId="299"/>
        </pc:sldMkLst>
        <pc:spChg chg="mod ord">
          <ac:chgData name="Aryan Tah (MiddleEast)" userId="7f6066b6-35e9-4d47-9d15-8917e2720a06" providerId="ADAL" clId="{CB224072-EA94-4500-BB44-FA94C70FEF2B}" dt="2026-01-05T06:48:07.611" v="10784"/>
          <ac:spMkLst>
            <pc:docMk/>
            <pc:sldMk cId="3862166169" sldId="299"/>
            <ac:spMk id="2" creationId="{A8EDF295-1285-0D63-F980-DD57D003E9F7}"/>
          </ac:spMkLst>
        </pc:spChg>
        <pc:spChg chg="del mod">
          <ac:chgData name="Aryan Tah (MiddleEast)" userId="7f6066b6-35e9-4d47-9d15-8917e2720a06" providerId="ADAL" clId="{CB224072-EA94-4500-BB44-FA94C70FEF2B}" dt="2026-01-05T06:30:38.095" v="10537" actId="478"/>
          <ac:spMkLst>
            <pc:docMk/>
            <pc:sldMk cId="3862166169" sldId="299"/>
            <ac:spMk id="3" creationId="{C714DE71-4B23-DA7D-8728-48B069E9C56D}"/>
          </ac:spMkLst>
        </pc:spChg>
        <pc:spChg chg="add mod ord">
          <ac:chgData name="Aryan Tah (MiddleEast)" userId="7f6066b6-35e9-4d47-9d15-8917e2720a06" providerId="ADAL" clId="{CB224072-EA94-4500-BB44-FA94C70FEF2B}" dt="2026-01-05T10:56:19.197" v="20083" actId="14100"/>
          <ac:spMkLst>
            <pc:docMk/>
            <pc:sldMk cId="3862166169" sldId="299"/>
            <ac:spMk id="5" creationId="{9651793D-1010-1752-6EA4-ADA2985E322F}"/>
          </ac:spMkLst>
        </pc:spChg>
        <pc:spChg chg="add mod ord">
          <ac:chgData name="Aryan Tah (MiddleEast)" userId="7f6066b6-35e9-4d47-9d15-8917e2720a06" providerId="ADAL" clId="{CB224072-EA94-4500-BB44-FA94C70FEF2B}" dt="2026-01-05T06:53:21.317" v="10893" actId="207"/>
          <ac:spMkLst>
            <pc:docMk/>
            <pc:sldMk cId="3862166169" sldId="299"/>
            <ac:spMk id="6" creationId="{B1CEA8A6-61DF-8B97-F5C4-E967D89474E3}"/>
          </ac:spMkLst>
        </pc:spChg>
        <pc:spChg chg="del">
          <ac:chgData name="Aryan Tah (MiddleEast)" userId="7f6066b6-35e9-4d47-9d15-8917e2720a06" providerId="ADAL" clId="{CB224072-EA94-4500-BB44-FA94C70FEF2B}" dt="2026-01-05T06:30:38.095" v="10537" actId="478"/>
          <ac:spMkLst>
            <pc:docMk/>
            <pc:sldMk cId="3862166169" sldId="299"/>
            <ac:spMk id="7" creationId="{20162E91-2091-1618-3E07-9F484BB5F1AD}"/>
          </ac:spMkLst>
        </pc:spChg>
        <pc:spChg chg="del">
          <ac:chgData name="Aryan Tah (MiddleEast)" userId="7f6066b6-35e9-4d47-9d15-8917e2720a06" providerId="ADAL" clId="{CB224072-EA94-4500-BB44-FA94C70FEF2B}" dt="2026-01-05T06:30:38.095" v="10537" actId="478"/>
          <ac:spMkLst>
            <pc:docMk/>
            <pc:sldMk cId="3862166169" sldId="299"/>
            <ac:spMk id="8" creationId="{18946219-331E-6339-874C-08D31F634FB5}"/>
          </ac:spMkLst>
        </pc:spChg>
        <pc:spChg chg="add del mod">
          <ac:chgData name="Aryan Tah (MiddleEast)" userId="7f6066b6-35e9-4d47-9d15-8917e2720a06" providerId="ADAL" clId="{CB224072-EA94-4500-BB44-FA94C70FEF2B}" dt="2026-01-05T06:33:28.770" v="10583" actId="478"/>
          <ac:spMkLst>
            <pc:docMk/>
            <pc:sldMk cId="3862166169" sldId="299"/>
            <ac:spMk id="9" creationId="{0DA33657-1084-4B87-BDCA-7F222DAFD4D0}"/>
          </ac:spMkLst>
        </pc:spChg>
        <pc:spChg chg="add mod">
          <ac:chgData name="Aryan Tah (MiddleEast)" userId="7f6066b6-35e9-4d47-9d15-8917e2720a06" providerId="ADAL" clId="{CB224072-EA94-4500-BB44-FA94C70FEF2B}" dt="2026-01-05T06:39:12.266" v="10606" actId="1076"/>
          <ac:spMkLst>
            <pc:docMk/>
            <pc:sldMk cId="3862166169" sldId="299"/>
            <ac:spMk id="10" creationId="{4409C405-D0D4-8767-1A04-B3907D38B529}"/>
          </ac:spMkLst>
        </pc:spChg>
        <pc:spChg chg="add mod">
          <ac:chgData name="Aryan Tah (MiddleEast)" userId="7f6066b6-35e9-4d47-9d15-8917e2720a06" providerId="ADAL" clId="{CB224072-EA94-4500-BB44-FA94C70FEF2B}" dt="2026-01-05T06:39:12.266" v="10606" actId="1076"/>
          <ac:spMkLst>
            <pc:docMk/>
            <pc:sldMk cId="3862166169" sldId="299"/>
            <ac:spMk id="11" creationId="{52B5BBBA-1054-88BA-BC70-C7B96E09D35E}"/>
          </ac:spMkLst>
        </pc:spChg>
        <pc:spChg chg="del">
          <ac:chgData name="Aryan Tah (MiddleEast)" userId="7f6066b6-35e9-4d47-9d15-8917e2720a06" providerId="ADAL" clId="{CB224072-EA94-4500-BB44-FA94C70FEF2B}" dt="2026-01-05T06:30:38.095" v="10537" actId="478"/>
          <ac:spMkLst>
            <pc:docMk/>
            <pc:sldMk cId="3862166169" sldId="299"/>
            <ac:spMk id="13" creationId="{B98991B4-0AF9-6CA1-BE12-2231B6B0286C}"/>
          </ac:spMkLst>
        </pc:spChg>
        <pc:spChg chg="mod">
          <ac:chgData name="Aryan Tah (MiddleEast)" userId="7f6066b6-35e9-4d47-9d15-8917e2720a06" providerId="ADAL" clId="{CB224072-EA94-4500-BB44-FA94C70FEF2B}" dt="2026-01-05T06:39:12.266" v="10606" actId="1076"/>
          <ac:spMkLst>
            <pc:docMk/>
            <pc:sldMk cId="3862166169" sldId="299"/>
            <ac:spMk id="16" creationId="{E10D0CA1-7F53-A5E1-F2F1-A6F4C7465372}"/>
          </ac:spMkLst>
        </pc:spChg>
        <pc:spChg chg="mod">
          <ac:chgData name="Aryan Tah (MiddleEast)" userId="7f6066b6-35e9-4d47-9d15-8917e2720a06" providerId="ADAL" clId="{CB224072-EA94-4500-BB44-FA94C70FEF2B}" dt="2026-01-05T06:39:12.266" v="10606" actId="1076"/>
          <ac:spMkLst>
            <pc:docMk/>
            <pc:sldMk cId="3862166169" sldId="299"/>
            <ac:spMk id="17" creationId="{3FA3E61A-478A-27DF-C2A9-899ECC69A6AF}"/>
          </ac:spMkLst>
        </pc:spChg>
        <pc:spChg chg="mod">
          <ac:chgData name="Aryan Tah (MiddleEast)" userId="7f6066b6-35e9-4d47-9d15-8917e2720a06" providerId="ADAL" clId="{CB224072-EA94-4500-BB44-FA94C70FEF2B}" dt="2026-01-05T06:39:12.266" v="10606" actId="1076"/>
          <ac:spMkLst>
            <pc:docMk/>
            <pc:sldMk cId="3862166169" sldId="299"/>
            <ac:spMk id="21" creationId="{3E009FA4-ACAD-FDC7-3B1B-E17C6FE9B74C}"/>
          </ac:spMkLst>
        </pc:spChg>
        <pc:spChg chg="mod">
          <ac:chgData name="Aryan Tah (MiddleEast)" userId="7f6066b6-35e9-4d47-9d15-8917e2720a06" providerId="ADAL" clId="{CB224072-EA94-4500-BB44-FA94C70FEF2B}" dt="2026-01-05T06:39:12.266" v="10606" actId="1076"/>
          <ac:spMkLst>
            <pc:docMk/>
            <pc:sldMk cId="3862166169" sldId="299"/>
            <ac:spMk id="22" creationId="{34D284F8-B1E0-E9E4-1BE5-FC4E62C4C27F}"/>
          </ac:spMkLst>
        </pc:spChg>
        <pc:spChg chg="mod">
          <ac:chgData name="Aryan Tah (MiddleEast)" userId="7f6066b6-35e9-4d47-9d15-8917e2720a06" providerId="ADAL" clId="{CB224072-EA94-4500-BB44-FA94C70FEF2B}" dt="2026-01-05T06:39:12.266" v="10606" actId="1076"/>
          <ac:spMkLst>
            <pc:docMk/>
            <pc:sldMk cId="3862166169" sldId="299"/>
            <ac:spMk id="25" creationId="{FC6DA943-0C36-820A-83F6-E25B99B20A07}"/>
          </ac:spMkLst>
        </pc:spChg>
        <pc:spChg chg="mod">
          <ac:chgData name="Aryan Tah (MiddleEast)" userId="7f6066b6-35e9-4d47-9d15-8917e2720a06" providerId="ADAL" clId="{CB224072-EA94-4500-BB44-FA94C70FEF2B}" dt="2026-01-05T06:39:12.266" v="10606" actId="1076"/>
          <ac:spMkLst>
            <pc:docMk/>
            <pc:sldMk cId="3862166169" sldId="299"/>
            <ac:spMk id="26" creationId="{B20DC0C7-FE2B-7A03-0E53-CBB87BD5CE9E}"/>
          </ac:spMkLst>
        </pc:spChg>
        <pc:spChg chg="add del">
          <ac:chgData name="Aryan Tah (MiddleEast)" userId="7f6066b6-35e9-4d47-9d15-8917e2720a06" providerId="ADAL" clId="{CB224072-EA94-4500-BB44-FA94C70FEF2B}" dt="2026-01-05T06:40:50.866" v="10619" actId="478"/>
          <ac:spMkLst>
            <pc:docMk/>
            <pc:sldMk cId="3862166169" sldId="299"/>
            <ac:spMk id="29" creationId="{C29F5967-D4C9-ABED-F2B7-32A9781C7EED}"/>
          </ac:spMkLst>
        </pc:spChg>
        <pc:spChg chg="add del mod ord">
          <ac:chgData name="Aryan Tah (MiddleEast)" userId="7f6066b6-35e9-4d47-9d15-8917e2720a06" providerId="ADAL" clId="{CB224072-EA94-4500-BB44-FA94C70FEF2B}" dt="2026-01-05T06:56:48.258" v="10950" actId="478"/>
          <ac:spMkLst>
            <pc:docMk/>
            <pc:sldMk cId="3862166169" sldId="299"/>
            <ac:spMk id="30" creationId="{9598329B-DDB6-EED6-4987-8C2BB3C8B75B}"/>
          </ac:spMkLst>
        </pc:spChg>
        <pc:spChg chg="add del mod">
          <ac:chgData name="Aryan Tah (MiddleEast)" userId="7f6066b6-35e9-4d47-9d15-8917e2720a06" providerId="ADAL" clId="{CB224072-EA94-4500-BB44-FA94C70FEF2B}" dt="2026-01-05T06:43:31.440" v="10649" actId="478"/>
          <ac:spMkLst>
            <pc:docMk/>
            <pc:sldMk cId="3862166169" sldId="299"/>
            <ac:spMk id="31" creationId="{DF1F6B1E-C91E-7CDD-0A7C-12DA53079F54}"/>
          </ac:spMkLst>
        </pc:spChg>
        <pc:spChg chg="add del mod">
          <ac:chgData name="Aryan Tah (MiddleEast)" userId="7f6066b6-35e9-4d47-9d15-8917e2720a06" providerId="ADAL" clId="{CB224072-EA94-4500-BB44-FA94C70FEF2B}" dt="2026-01-05T06:42:48.473" v="10638" actId="478"/>
          <ac:spMkLst>
            <pc:docMk/>
            <pc:sldMk cId="3862166169" sldId="299"/>
            <ac:spMk id="32" creationId="{83075F3F-FA7F-F1CD-9215-E26CD0D7DA0F}"/>
          </ac:spMkLst>
        </pc:spChg>
        <pc:spChg chg="add mod ord">
          <ac:chgData name="Aryan Tah (MiddleEast)" userId="7f6066b6-35e9-4d47-9d15-8917e2720a06" providerId="ADAL" clId="{CB224072-EA94-4500-BB44-FA94C70FEF2B}" dt="2026-01-05T06:57:03.687" v="10953" actId="122"/>
          <ac:spMkLst>
            <pc:docMk/>
            <pc:sldMk cId="3862166169" sldId="299"/>
            <ac:spMk id="33" creationId="{280B47A3-6394-CDA2-A5D4-0EB8283985E0}"/>
          </ac:spMkLst>
        </pc:spChg>
        <pc:spChg chg="add del mod ord">
          <ac:chgData name="Aryan Tah (MiddleEast)" userId="7f6066b6-35e9-4d47-9d15-8917e2720a06" providerId="ADAL" clId="{CB224072-EA94-4500-BB44-FA94C70FEF2B}" dt="2026-01-05T06:56:48.258" v="10950" actId="478"/>
          <ac:spMkLst>
            <pc:docMk/>
            <pc:sldMk cId="3862166169" sldId="299"/>
            <ac:spMk id="34" creationId="{B031AB3B-F925-629F-4781-3A69125EE8C4}"/>
          </ac:spMkLst>
        </pc:spChg>
        <pc:spChg chg="add mod ord">
          <ac:chgData name="Aryan Tah (MiddleEast)" userId="7f6066b6-35e9-4d47-9d15-8917e2720a06" providerId="ADAL" clId="{CB224072-EA94-4500-BB44-FA94C70FEF2B}" dt="2026-01-05T06:49:04.875" v="10816" actId="14861"/>
          <ac:spMkLst>
            <pc:docMk/>
            <pc:sldMk cId="3862166169" sldId="299"/>
            <ac:spMk id="35" creationId="{69CB9B75-56E2-A640-69D4-3729CFAA61ED}"/>
          </ac:spMkLst>
        </pc:spChg>
        <pc:spChg chg="add del mod modVis">
          <ac:chgData name="Aryan Tah (MiddleEast)" userId="7f6066b6-35e9-4d47-9d15-8917e2720a06" providerId="ADAL" clId="{CB224072-EA94-4500-BB44-FA94C70FEF2B}" dt="2026-01-05T06:46:07.195" v="10715"/>
          <ac:spMkLst>
            <pc:docMk/>
            <pc:sldMk cId="3862166169" sldId="299"/>
            <ac:spMk id="36" creationId="{1A6B256C-96E5-97DE-8D88-3A3881B36716}"/>
          </ac:spMkLst>
        </pc:spChg>
        <pc:spChg chg="add mod ord">
          <ac:chgData name="Aryan Tah (MiddleEast)" userId="7f6066b6-35e9-4d47-9d15-8917e2720a06" providerId="ADAL" clId="{CB224072-EA94-4500-BB44-FA94C70FEF2B}" dt="2026-01-05T06:57:44.426" v="10982" actId="1038"/>
          <ac:spMkLst>
            <pc:docMk/>
            <pc:sldMk cId="3862166169" sldId="299"/>
            <ac:spMk id="37" creationId="{B96C43E7-11B1-F4FE-562B-9F25B7CEC56B}"/>
          </ac:spMkLst>
        </pc:spChg>
        <pc:spChg chg="add mod">
          <ac:chgData name="Aryan Tah (MiddleEast)" userId="7f6066b6-35e9-4d47-9d15-8917e2720a06" providerId="ADAL" clId="{CB224072-EA94-4500-BB44-FA94C70FEF2B}" dt="2026-01-05T06:57:28.557" v="10969"/>
          <ac:spMkLst>
            <pc:docMk/>
            <pc:sldMk cId="3862166169" sldId="299"/>
            <ac:spMk id="38" creationId="{3CEFACC4-2E4E-A37C-B0AB-256D17D684E8}"/>
          </ac:spMkLst>
        </pc:spChg>
        <pc:spChg chg="add mod">
          <ac:chgData name="Aryan Tah (MiddleEast)" userId="7f6066b6-35e9-4d47-9d15-8917e2720a06" providerId="ADAL" clId="{CB224072-EA94-4500-BB44-FA94C70FEF2B}" dt="2026-01-05T06:52:42.983" v="10887" actId="208"/>
          <ac:spMkLst>
            <pc:docMk/>
            <pc:sldMk cId="3862166169" sldId="299"/>
            <ac:spMk id="39" creationId="{0F655689-1B43-5F52-BF89-766636645B8D}"/>
          </ac:spMkLst>
        </pc:spChg>
        <pc:spChg chg="add mod">
          <ac:chgData name="Aryan Tah (MiddleEast)" userId="7f6066b6-35e9-4d47-9d15-8917e2720a06" providerId="ADAL" clId="{CB224072-EA94-4500-BB44-FA94C70FEF2B}" dt="2026-01-05T06:54:58.027" v="10921"/>
          <ac:spMkLst>
            <pc:docMk/>
            <pc:sldMk cId="3862166169" sldId="299"/>
            <ac:spMk id="40" creationId="{5556922C-ECD6-08DF-05AE-4EAB723CD74D}"/>
          </ac:spMkLst>
        </pc:spChg>
        <pc:spChg chg="add mod">
          <ac:chgData name="Aryan Tah (MiddleEast)" userId="7f6066b6-35e9-4d47-9d15-8917e2720a06" providerId="ADAL" clId="{CB224072-EA94-4500-BB44-FA94C70FEF2B}" dt="2026-01-05T06:55:44.517" v="10938"/>
          <ac:spMkLst>
            <pc:docMk/>
            <pc:sldMk cId="3862166169" sldId="299"/>
            <ac:spMk id="41" creationId="{F52495FF-AEA2-329F-8344-7ADDC351E8D0}"/>
          </ac:spMkLst>
        </pc:spChg>
        <pc:grpChg chg="add mod">
          <ac:chgData name="Aryan Tah (MiddleEast)" userId="7f6066b6-35e9-4d47-9d15-8917e2720a06" providerId="ADAL" clId="{CB224072-EA94-4500-BB44-FA94C70FEF2B}" dt="2026-01-05T06:38:27.052" v="10600" actId="164"/>
          <ac:grpSpMkLst>
            <pc:docMk/>
            <pc:sldMk cId="3862166169" sldId="299"/>
            <ac:grpSpMk id="14" creationId="{BE14749C-2958-AE5D-42FB-12E499678ACC}"/>
          </ac:grpSpMkLst>
        </pc:grpChg>
        <pc:grpChg chg="add mod">
          <ac:chgData name="Aryan Tah (MiddleEast)" userId="7f6066b6-35e9-4d47-9d15-8917e2720a06" providerId="ADAL" clId="{CB224072-EA94-4500-BB44-FA94C70FEF2B}" dt="2026-01-05T06:38:27.052" v="10600" actId="164"/>
          <ac:grpSpMkLst>
            <pc:docMk/>
            <pc:sldMk cId="3862166169" sldId="299"/>
            <ac:grpSpMk id="15" creationId="{34ED792E-1637-F96E-8335-A00DB5AFAEB2}"/>
          </ac:grpSpMkLst>
        </pc:grpChg>
        <pc:grpChg chg="add mod">
          <ac:chgData name="Aryan Tah (MiddleEast)" userId="7f6066b6-35e9-4d47-9d15-8917e2720a06" providerId="ADAL" clId="{CB224072-EA94-4500-BB44-FA94C70FEF2B}" dt="2026-01-05T06:38:27.052" v="10600" actId="164"/>
          <ac:grpSpMkLst>
            <pc:docMk/>
            <pc:sldMk cId="3862166169" sldId="299"/>
            <ac:grpSpMk id="19" creationId="{232B1475-3331-C40E-663C-EA9CADCAFBAC}"/>
          </ac:grpSpMkLst>
        </pc:grpChg>
        <pc:grpChg chg="add mod">
          <ac:chgData name="Aryan Tah (MiddleEast)" userId="7f6066b6-35e9-4d47-9d15-8917e2720a06" providerId="ADAL" clId="{CB224072-EA94-4500-BB44-FA94C70FEF2B}" dt="2026-01-05T06:38:27.052" v="10600" actId="164"/>
          <ac:grpSpMkLst>
            <pc:docMk/>
            <pc:sldMk cId="3862166169" sldId="299"/>
            <ac:grpSpMk id="24" creationId="{A3900A64-6825-65C2-7071-AB02D21533DC}"/>
          </ac:grpSpMkLst>
        </pc:grpChg>
        <pc:grpChg chg="add del mod">
          <ac:chgData name="Aryan Tah (MiddleEast)" userId="7f6066b6-35e9-4d47-9d15-8917e2720a06" providerId="ADAL" clId="{CB224072-EA94-4500-BB44-FA94C70FEF2B}" dt="2026-01-05T06:39:40.954" v="10611" actId="478"/>
          <ac:grpSpMkLst>
            <pc:docMk/>
            <pc:sldMk cId="3862166169" sldId="299"/>
            <ac:grpSpMk id="28" creationId="{01E46557-7A0E-61AC-70D3-F1C2E4C00CF6}"/>
          </ac:grpSpMkLst>
        </pc:grpChg>
        <pc:graphicFrameChg chg="mod ord modGraphic">
          <ac:chgData name="Aryan Tah (MiddleEast)" userId="7f6066b6-35e9-4d47-9d15-8917e2720a06" providerId="ADAL" clId="{CB224072-EA94-4500-BB44-FA94C70FEF2B}" dt="2026-01-05T06:51:16.942" v="10838"/>
          <ac:graphicFrameMkLst>
            <pc:docMk/>
            <pc:sldMk cId="3862166169" sldId="299"/>
            <ac:graphicFrameMk id="4" creationId="{6FE939B7-DA30-4553-630A-5658FF6BBEB0}"/>
          </ac:graphicFrameMkLst>
        </pc:graphicFrameChg>
        <pc:graphicFrameChg chg="mod">
          <ac:chgData name="Aryan Tah (MiddleEast)" userId="7f6066b6-35e9-4d47-9d15-8917e2720a06" providerId="ADAL" clId="{CB224072-EA94-4500-BB44-FA94C70FEF2B}" dt="2026-01-05T06:48:07.615" v="10798"/>
          <ac:graphicFrameMkLst>
            <pc:docMk/>
            <pc:sldMk cId="3862166169" sldId="299"/>
            <ac:graphicFrameMk id="20" creationId="{1B7B0766-A366-23C7-E382-24358DFE404D}"/>
          </ac:graphicFrameMkLst>
        </pc:graphicFrameChg>
        <pc:picChg chg="add mod">
          <ac:chgData name="Aryan Tah (MiddleEast)" userId="7f6066b6-35e9-4d47-9d15-8917e2720a06" providerId="ADAL" clId="{CB224072-EA94-4500-BB44-FA94C70FEF2B}" dt="2026-01-05T06:36:46.896" v="10593" actId="14100"/>
          <ac:picMkLst>
            <pc:docMk/>
            <pc:sldMk cId="3862166169" sldId="299"/>
            <ac:picMk id="12" creationId="{8DAA100C-8F52-D59E-4566-6A50F1777641}"/>
          </ac:picMkLst>
        </pc:picChg>
        <pc:picChg chg="mod">
          <ac:chgData name="Aryan Tah (MiddleEast)" userId="7f6066b6-35e9-4d47-9d15-8917e2720a06" providerId="ADAL" clId="{CB224072-EA94-4500-BB44-FA94C70FEF2B}" dt="2026-01-05T06:39:12.266" v="10606" actId="1076"/>
          <ac:picMkLst>
            <pc:docMk/>
            <pc:sldMk cId="3862166169" sldId="299"/>
            <ac:picMk id="18" creationId="{827C7F17-9750-C32E-18E8-0D96E9777261}"/>
          </ac:picMkLst>
        </pc:picChg>
        <pc:picChg chg="mod">
          <ac:chgData name="Aryan Tah (MiddleEast)" userId="7f6066b6-35e9-4d47-9d15-8917e2720a06" providerId="ADAL" clId="{CB224072-EA94-4500-BB44-FA94C70FEF2B}" dt="2026-01-05T06:39:12.266" v="10606" actId="1076"/>
          <ac:picMkLst>
            <pc:docMk/>
            <pc:sldMk cId="3862166169" sldId="299"/>
            <ac:picMk id="23" creationId="{D8EA2D1E-1A34-C765-FA6E-6CE8E566C74E}"/>
          </ac:picMkLst>
        </pc:picChg>
        <pc:picChg chg="mod">
          <ac:chgData name="Aryan Tah (MiddleEast)" userId="7f6066b6-35e9-4d47-9d15-8917e2720a06" providerId="ADAL" clId="{CB224072-EA94-4500-BB44-FA94C70FEF2B}" dt="2026-01-05T06:36:55.656" v="10596" actId="571"/>
          <ac:picMkLst>
            <pc:docMk/>
            <pc:sldMk cId="3862166169" sldId="299"/>
            <ac:picMk id="27" creationId="{7DB3E094-601A-2EB2-15FF-87535E64EA59}"/>
          </ac:picMkLst>
        </pc:picChg>
        <pc:picChg chg="add mod">
          <ac:chgData name="Aryan Tah (MiddleEast)" userId="7f6066b6-35e9-4d47-9d15-8917e2720a06" providerId="ADAL" clId="{CB224072-EA94-4500-BB44-FA94C70FEF2B}" dt="2026-01-05T06:57:24.092" v="10962"/>
          <ac:picMkLst>
            <pc:docMk/>
            <pc:sldMk cId="3862166169" sldId="299"/>
            <ac:picMk id="42" creationId="{D1B2037E-9BD5-56C8-C8E2-3BC0ACD9F6E6}"/>
          </ac:picMkLst>
        </pc:picChg>
        <pc:picChg chg="add mod">
          <ac:chgData name="Aryan Tah (MiddleEast)" userId="7f6066b6-35e9-4d47-9d15-8917e2720a06" providerId="ADAL" clId="{CB224072-EA94-4500-BB44-FA94C70FEF2B}" dt="2026-01-05T06:55:40.196" v="10931"/>
          <ac:picMkLst>
            <pc:docMk/>
            <pc:sldMk cId="3862166169" sldId="299"/>
            <ac:picMk id="7170" creationId="{9C236619-AF1C-4627-8554-4894A632B057}"/>
          </ac:picMkLst>
        </pc:picChg>
        <pc:picChg chg="add mod">
          <ac:chgData name="Aryan Tah (MiddleEast)" userId="7f6066b6-35e9-4d47-9d15-8917e2720a06" providerId="ADAL" clId="{CB224072-EA94-4500-BB44-FA94C70FEF2B}" dt="2026-01-05T06:55:44.518" v="10939"/>
          <ac:picMkLst>
            <pc:docMk/>
            <pc:sldMk cId="3862166169" sldId="299"/>
            <ac:picMk id="7172" creationId="{BCF9F756-DA10-C8A4-BA53-0E91CEB3A64A}"/>
          </ac:picMkLst>
        </pc:picChg>
        <pc:picChg chg="add del mod">
          <ac:chgData name="Aryan Tah (MiddleEast)" userId="7f6066b6-35e9-4d47-9d15-8917e2720a06" providerId="ADAL" clId="{CB224072-EA94-4500-BB44-FA94C70FEF2B}" dt="2026-01-05T06:56:48.258" v="10950" actId="478"/>
          <ac:picMkLst>
            <pc:docMk/>
            <pc:sldMk cId="3862166169" sldId="299"/>
            <ac:picMk id="7174" creationId="{2DBDC03E-0842-0DEC-458C-4832004008DD}"/>
          </ac:picMkLst>
        </pc:picChg>
        <pc:picChg chg="add mod">
          <ac:chgData name="Aryan Tah (MiddleEast)" userId="7f6066b6-35e9-4d47-9d15-8917e2720a06" providerId="ADAL" clId="{CB224072-EA94-4500-BB44-FA94C70FEF2B}" dt="2026-01-05T06:57:28.558" v="10970"/>
          <ac:picMkLst>
            <pc:docMk/>
            <pc:sldMk cId="3862166169" sldId="299"/>
            <ac:picMk id="7176" creationId="{8D9E2C12-E297-E40B-99B8-63DA4EFCC070}"/>
          </ac:picMkLst>
        </pc:picChg>
      </pc:sldChg>
      <pc:sldChg chg="addSp delSp modSp add mod ord">
        <pc:chgData name="Aryan Tah (MiddleEast)" userId="7f6066b6-35e9-4d47-9d15-8917e2720a06" providerId="ADAL" clId="{CB224072-EA94-4500-BB44-FA94C70FEF2B}" dt="2026-01-05T08:59:18.271" v="11985"/>
        <pc:sldMkLst>
          <pc:docMk/>
          <pc:sldMk cId="3719845655" sldId="300"/>
        </pc:sldMkLst>
        <pc:spChg chg="mod ord">
          <ac:chgData name="Aryan Tah (MiddleEast)" userId="7f6066b6-35e9-4d47-9d15-8917e2720a06" providerId="ADAL" clId="{CB224072-EA94-4500-BB44-FA94C70FEF2B}" dt="2026-01-05T08:52:54.491" v="11898"/>
          <ac:spMkLst>
            <pc:docMk/>
            <pc:sldMk cId="3719845655" sldId="300"/>
            <ac:spMk id="2" creationId="{B9324F7C-A9F7-327D-5991-E91224E5F70B}"/>
          </ac:spMkLst>
        </pc:spChg>
        <pc:spChg chg="del">
          <ac:chgData name="Aryan Tah (MiddleEast)" userId="7f6066b6-35e9-4d47-9d15-8917e2720a06" providerId="ADAL" clId="{CB224072-EA94-4500-BB44-FA94C70FEF2B}" dt="2026-01-05T07:14:57.577" v="10985" actId="478"/>
          <ac:spMkLst>
            <pc:docMk/>
            <pc:sldMk cId="3719845655" sldId="300"/>
            <ac:spMk id="3" creationId="{A5EC19E7-485A-6340-9B08-EB50EF8482EB}"/>
          </ac:spMkLst>
        </pc:spChg>
        <pc:spChg chg="add mod ord topLvl">
          <ac:chgData name="Aryan Tah (MiddleEast)" userId="7f6066b6-35e9-4d47-9d15-8917e2720a06" providerId="ADAL" clId="{CB224072-EA94-4500-BB44-FA94C70FEF2B}" dt="2026-01-05T08:52:54.492" v="11900"/>
          <ac:spMkLst>
            <pc:docMk/>
            <pc:sldMk cId="3719845655" sldId="300"/>
            <ac:spMk id="4" creationId="{D2CDA254-D81A-66F8-A6FD-D5446B2C000B}"/>
          </ac:spMkLst>
        </pc:spChg>
        <pc:spChg chg="add mod ord topLvl">
          <ac:chgData name="Aryan Tah (MiddleEast)" userId="7f6066b6-35e9-4d47-9d15-8917e2720a06" providerId="ADAL" clId="{CB224072-EA94-4500-BB44-FA94C70FEF2B}" dt="2026-01-05T08:52:54.494" v="11906"/>
          <ac:spMkLst>
            <pc:docMk/>
            <pc:sldMk cId="3719845655" sldId="300"/>
            <ac:spMk id="5" creationId="{3BF1CCE5-F7A6-4E12-F8F7-24E1D5DD80C0}"/>
          </ac:spMkLst>
        </pc:spChg>
        <pc:spChg chg="add del mod topLvl">
          <ac:chgData name="Aryan Tah (MiddleEast)" userId="7f6066b6-35e9-4d47-9d15-8917e2720a06" providerId="ADAL" clId="{CB224072-EA94-4500-BB44-FA94C70FEF2B}" dt="2026-01-05T07:27:21.464" v="11061" actId="478"/>
          <ac:spMkLst>
            <pc:docMk/>
            <pc:sldMk cId="3719845655" sldId="300"/>
            <ac:spMk id="6" creationId="{D69032AA-CCD4-FB5E-A587-22FC9C1CA97A}"/>
          </ac:spMkLst>
        </pc:spChg>
        <pc:spChg chg="add del mod topLvl">
          <ac:chgData name="Aryan Tah (MiddleEast)" userId="7f6066b6-35e9-4d47-9d15-8917e2720a06" providerId="ADAL" clId="{CB224072-EA94-4500-BB44-FA94C70FEF2B}" dt="2026-01-05T07:27:21.464" v="11061" actId="478"/>
          <ac:spMkLst>
            <pc:docMk/>
            <pc:sldMk cId="3719845655" sldId="300"/>
            <ac:spMk id="7" creationId="{99281DC5-EF8F-1955-7975-12E85BB61C8A}"/>
          </ac:spMkLst>
        </pc:spChg>
        <pc:spChg chg="mod ord topLvl">
          <ac:chgData name="Aryan Tah (MiddleEast)" userId="7f6066b6-35e9-4d47-9d15-8917e2720a06" providerId="ADAL" clId="{CB224072-EA94-4500-BB44-FA94C70FEF2B}" dt="2026-01-05T08:52:54.493" v="11904"/>
          <ac:spMkLst>
            <pc:docMk/>
            <pc:sldMk cId="3719845655" sldId="300"/>
            <ac:spMk id="9" creationId="{E11564A7-32F8-3C1A-2BE4-8C433FF7D6F5}"/>
          </ac:spMkLst>
        </pc:spChg>
        <pc:spChg chg="add mod ord topLvl">
          <ac:chgData name="Aryan Tah (MiddleEast)" userId="7f6066b6-35e9-4d47-9d15-8917e2720a06" providerId="ADAL" clId="{CB224072-EA94-4500-BB44-FA94C70FEF2B}" dt="2026-01-05T08:52:54.494" v="11908"/>
          <ac:spMkLst>
            <pc:docMk/>
            <pc:sldMk cId="3719845655" sldId="300"/>
            <ac:spMk id="10" creationId="{D95B41F8-74B9-8CF6-35BA-61ADCA29A5DA}"/>
          </ac:spMkLst>
        </pc:spChg>
        <pc:spChg chg="del">
          <ac:chgData name="Aryan Tah (MiddleEast)" userId="7f6066b6-35e9-4d47-9d15-8917e2720a06" providerId="ADAL" clId="{CB224072-EA94-4500-BB44-FA94C70FEF2B}" dt="2026-01-05T07:14:57.577" v="10985" actId="478"/>
          <ac:spMkLst>
            <pc:docMk/>
            <pc:sldMk cId="3719845655" sldId="300"/>
            <ac:spMk id="11" creationId="{D97C8645-3B8F-148C-40D7-1B105C866918}"/>
          </ac:spMkLst>
        </pc:spChg>
        <pc:spChg chg="add del mod">
          <ac:chgData name="Aryan Tah (MiddleEast)" userId="7f6066b6-35e9-4d47-9d15-8917e2720a06" providerId="ADAL" clId="{CB224072-EA94-4500-BB44-FA94C70FEF2B}" dt="2026-01-05T07:28:55.691" v="11087" actId="478"/>
          <ac:spMkLst>
            <pc:docMk/>
            <pc:sldMk cId="3719845655" sldId="300"/>
            <ac:spMk id="12" creationId="{5EFEE013-5359-7B6F-CE9A-5ABB96499FD4}"/>
          </ac:spMkLst>
        </pc:spChg>
        <pc:spChg chg="add del mod">
          <ac:chgData name="Aryan Tah (MiddleEast)" userId="7f6066b6-35e9-4d47-9d15-8917e2720a06" providerId="ADAL" clId="{CB224072-EA94-4500-BB44-FA94C70FEF2B}" dt="2026-01-05T07:28:55.691" v="11087" actId="478"/>
          <ac:spMkLst>
            <pc:docMk/>
            <pc:sldMk cId="3719845655" sldId="300"/>
            <ac:spMk id="13" creationId="{F253D39B-EB6D-CDD6-1219-FF84B6FE16A9}"/>
          </ac:spMkLst>
        </pc:spChg>
        <pc:spChg chg="del">
          <ac:chgData name="Aryan Tah (MiddleEast)" userId="7f6066b6-35e9-4d47-9d15-8917e2720a06" providerId="ADAL" clId="{CB224072-EA94-4500-BB44-FA94C70FEF2B}" dt="2026-01-05T07:14:57.577" v="10985" actId="478"/>
          <ac:spMkLst>
            <pc:docMk/>
            <pc:sldMk cId="3719845655" sldId="300"/>
            <ac:spMk id="14" creationId="{25E0B359-EC6F-C531-7712-271BBBE15FC8}"/>
          </ac:spMkLst>
        </pc:spChg>
        <pc:spChg chg="add del mod">
          <ac:chgData name="Aryan Tah (MiddleEast)" userId="7f6066b6-35e9-4d47-9d15-8917e2720a06" providerId="ADAL" clId="{CB224072-EA94-4500-BB44-FA94C70FEF2B}" dt="2026-01-05T07:28:55.691" v="11087" actId="478"/>
          <ac:spMkLst>
            <pc:docMk/>
            <pc:sldMk cId="3719845655" sldId="300"/>
            <ac:spMk id="15" creationId="{8D3C5E8C-6D8B-71C8-D21D-579F7B56DAF9}"/>
          </ac:spMkLst>
        </pc:spChg>
        <pc:spChg chg="del">
          <ac:chgData name="Aryan Tah (MiddleEast)" userId="7f6066b6-35e9-4d47-9d15-8917e2720a06" providerId="ADAL" clId="{CB224072-EA94-4500-BB44-FA94C70FEF2B}" dt="2026-01-05T07:14:57.577" v="10985" actId="478"/>
          <ac:spMkLst>
            <pc:docMk/>
            <pc:sldMk cId="3719845655" sldId="300"/>
            <ac:spMk id="16" creationId="{57F44BF2-218D-C161-324E-7820E499C454}"/>
          </ac:spMkLst>
        </pc:spChg>
        <pc:spChg chg="add del mod">
          <ac:chgData name="Aryan Tah (MiddleEast)" userId="7f6066b6-35e9-4d47-9d15-8917e2720a06" providerId="ADAL" clId="{CB224072-EA94-4500-BB44-FA94C70FEF2B}" dt="2026-01-05T07:28:55.691" v="11087" actId="478"/>
          <ac:spMkLst>
            <pc:docMk/>
            <pc:sldMk cId="3719845655" sldId="300"/>
            <ac:spMk id="17" creationId="{57E02830-21DB-B55D-9197-DB7AFEF28A60}"/>
          </ac:spMkLst>
        </pc:spChg>
        <pc:spChg chg="del mod">
          <ac:chgData name="Aryan Tah (MiddleEast)" userId="7f6066b6-35e9-4d47-9d15-8917e2720a06" providerId="ADAL" clId="{CB224072-EA94-4500-BB44-FA94C70FEF2B}" dt="2026-01-05T08:00:02.915" v="11595" actId="478"/>
          <ac:spMkLst>
            <pc:docMk/>
            <pc:sldMk cId="3719845655" sldId="300"/>
            <ac:spMk id="19" creationId="{C0536C90-2137-A1A4-DA70-BE1957EA42BE}"/>
          </ac:spMkLst>
        </pc:spChg>
        <pc:spChg chg="del">
          <ac:chgData name="Aryan Tah (MiddleEast)" userId="7f6066b6-35e9-4d47-9d15-8917e2720a06" providerId="ADAL" clId="{CB224072-EA94-4500-BB44-FA94C70FEF2B}" dt="2026-01-05T07:14:57.577" v="10985" actId="478"/>
          <ac:spMkLst>
            <pc:docMk/>
            <pc:sldMk cId="3719845655" sldId="300"/>
            <ac:spMk id="22" creationId="{5C5FC7D8-227D-3E34-A917-0862F9DE2A1B}"/>
          </ac:spMkLst>
        </pc:spChg>
        <pc:spChg chg="mod topLvl">
          <ac:chgData name="Aryan Tah (MiddleEast)" userId="7f6066b6-35e9-4d47-9d15-8917e2720a06" providerId="ADAL" clId="{CB224072-EA94-4500-BB44-FA94C70FEF2B}" dt="2026-01-05T08:01:25.846" v="11609" actId="208"/>
          <ac:spMkLst>
            <pc:docMk/>
            <pc:sldMk cId="3719845655" sldId="300"/>
            <ac:spMk id="23" creationId="{D93A6B3D-8936-62A4-E01E-5192CC325A2B}"/>
          </ac:spMkLst>
        </pc:spChg>
        <pc:spChg chg="del">
          <ac:chgData name="Aryan Tah (MiddleEast)" userId="7f6066b6-35e9-4d47-9d15-8917e2720a06" providerId="ADAL" clId="{CB224072-EA94-4500-BB44-FA94C70FEF2B}" dt="2026-01-05T07:14:57.577" v="10985" actId="478"/>
          <ac:spMkLst>
            <pc:docMk/>
            <pc:sldMk cId="3719845655" sldId="300"/>
            <ac:spMk id="24" creationId="{F82CD866-1218-0A6C-F35B-1AD180EC44A1}"/>
          </ac:spMkLst>
        </pc:spChg>
        <pc:spChg chg="del mod topLvl">
          <ac:chgData name="Aryan Tah (MiddleEast)" userId="7f6066b6-35e9-4d47-9d15-8917e2720a06" providerId="ADAL" clId="{CB224072-EA94-4500-BB44-FA94C70FEF2B}" dt="2026-01-05T07:30:54.516" v="11101" actId="478"/>
          <ac:spMkLst>
            <pc:docMk/>
            <pc:sldMk cId="3719845655" sldId="300"/>
            <ac:spMk id="25" creationId="{E45089D5-0872-78CA-354E-05ECBEC20F9F}"/>
          </ac:spMkLst>
        </pc:spChg>
        <pc:spChg chg="del">
          <ac:chgData name="Aryan Tah (MiddleEast)" userId="7f6066b6-35e9-4d47-9d15-8917e2720a06" providerId="ADAL" clId="{CB224072-EA94-4500-BB44-FA94C70FEF2B}" dt="2026-01-05T07:14:57.577" v="10985" actId="478"/>
          <ac:spMkLst>
            <pc:docMk/>
            <pc:sldMk cId="3719845655" sldId="300"/>
            <ac:spMk id="27" creationId="{EDA6EF72-A43B-E25D-E3BD-18FE69171EBD}"/>
          </ac:spMkLst>
        </pc:spChg>
        <pc:spChg chg="mod topLvl">
          <ac:chgData name="Aryan Tah (MiddleEast)" userId="7f6066b6-35e9-4d47-9d15-8917e2720a06" providerId="ADAL" clId="{CB224072-EA94-4500-BB44-FA94C70FEF2B}" dt="2026-01-05T08:46:41.252" v="11779" actId="14100"/>
          <ac:spMkLst>
            <pc:docMk/>
            <pc:sldMk cId="3719845655" sldId="300"/>
            <ac:spMk id="28" creationId="{D53A3A46-C39A-E4C8-02E7-5C3566D5E4C4}"/>
          </ac:spMkLst>
        </pc:spChg>
        <pc:spChg chg="del mod topLvl">
          <ac:chgData name="Aryan Tah (MiddleEast)" userId="7f6066b6-35e9-4d47-9d15-8917e2720a06" providerId="ADAL" clId="{CB224072-EA94-4500-BB44-FA94C70FEF2B}" dt="2026-01-05T07:30:54.516" v="11101" actId="478"/>
          <ac:spMkLst>
            <pc:docMk/>
            <pc:sldMk cId="3719845655" sldId="300"/>
            <ac:spMk id="29" creationId="{E7E19FCF-BC5B-1150-FA4D-A1417C6C7D44}"/>
          </ac:spMkLst>
        </pc:spChg>
        <pc:spChg chg="add del mod modVis">
          <ac:chgData name="Aryan Tah (MiddleEast)" userId="7f6066b6-35e9-4d47-9d15-8917e2720a06" providerId="ADAL" clId="{CB224072-EA94-4500-BB44-FA94C70FEF2B}" dt="2026-01-05T07:40:56.839" v="11199"/>
          <ac:spMkLst>
            <pc:docMk/>
            <pc:sldMk cId="3719845655" sldId="300"/>
            <ac:spMk id="31" creationId="{78EB7E0A-CC24-F91E-9DA9-5B6D274B65C5}"/>
          </ac:spMkLst>
        </pc:spChg>
        <pc:spChg chg="add mod topLvl">
          <ac:chgData name="Aryan Tah (MiddleEast)" userId="7f6066b6-35e9-4d47-9d15-8917e2720a06" providerId="ADAL" clId="{CB224072-EA94-4500-BB44-FA94C70FEF2B}" dt="2026-01-05T08:01:25.846" v="11609" actId="208"/>
          <ac:spMkLst>
            <pc:docMk/>
            <pc:sldMk cId="3719845655" sldId="300"/>
            <ac:spMk id="32" creationId="{544C4803-7B41-B82B-19C8-5B992F5A622D}"/>
          </ac:spMkLst>
        </pc:spChg>
        <pc:spChg chg="add mod topLvl">
          <ac:chgData name="Aryan Tah (MiddleEast)" userId="7f6066b6-35e9-4d47-9d15-8917e2720a06" providerId="ADAL" clId="{CB224072-EA94-4500-BB44-FA94C70FEF2B}" dt="2026-01-05T08:01:25.846" v="11609" actId="208"/>
          <ac:spMkLst>
            <pc:docMk/>
            <pc:sldMk cId="3719845655" sldId="300"/>
            <ac:spMk id="33" creationId="{049C5948-9675-CAC7-B33F-B2756A226562}"/>
          </ac:spMkLst>
        </pc:spChg>
        <pc:spChg chg="mod ord topLvl">
          <ac:chgData name="Aryan Tah (MiddleEast)" userId="7f6066b6-35e9-4d47-9d15-8917e2720a06" providerId="ADAL" clId="{CB224072-EA94-4500-BB44-FA94C70FEF2B}" dt="2026-01-05T08:52:54.492" v="11902"/>
          <ac:spMkLst>
            <pc:docMk/>
            <pc:sldMk cId="3719845655" sldId="300"/>
            <ac:spMk id="43" creationId="{8DED1BE4-30DC-D6EE-F57E-E9E95008EBD4}"/>
          </ac:spMkLst>
        </pc:spChg>
        <pc:spChg chg="del mod topLvl">
          <ac:chgData name="Aryan Tah (MiddleEast)" userId="7f6066b6-35e9-4d47-9d15-8917e2720a06" providerId="ADAL" clId="{CB224072-EA94-4500-BB44-FA94C70FEF2B}" dt="2026-01-05T07:43:54.769" v="11255" actId="478"/>
          <ac:spMkLst>
            <pc:docMk/>
            <pc:sldMk cId="3719845655" sldId="300"/>
            <ac:spMk id="44" creationId="{A8E30892-086F-EE2E-7EB3-B589CC4160EA}"/>
          </ac:spMkLst>
        </pc:spChg>
        <pc:spChg chg="add mod ord topLvl">
          <ac:chgData name="Aryan Tah (MiddleEast)" userId="7f6066b6-35e9-4d47-9d15-8917e2720a06" providerId="ADAL" clId="{CB224072-EA94-4500-BB44-FA94C70FEF2B}" dt="2026-01-05T08:52:54.501" v="11932"/>
          <ac:spMkLst>
            <pc:docMk/>
            <pc:sldMk cId="3719845655" sldId="300"/>
            <ac:spMk id="45" creationId="{BE357E92-3F2B-F2E3-3775-083750CCD7FF}"/>
          </ac:spMkLst>
        </pc:spChg>
        <pc:spChg chg="add del mod">
          <ac:chgData name="Aryan Tah (MiddleEast)" userId="7f6066b6-35e9-4d47-9d15-8917e2720a06" providerId="ADAL" clId="{CB224072-EA94-4500-BB44-FA94C70FEF2B}" dt="2026-01-05T07:49:48.971" v="11348" actId="478"/>
          <ac:spMkLst>
            <pc:docMk/>
            <pc:sldMk cId="3719845655" sldId="300"/>
            <ac:spMk id="47" creationId="{C0556C49-020D-B51B-3C46-779FCD6F460D}"/>
          </ac:spMkLst>
        </pc:spChg>
        <pc:spChg chg="add del mod">
          <ac:chgData name="Aryan Tah (MiddleEast)" userId="7f6066b6-35e9-4d47-9d15-8917e2720a06" providerId="ADAL" clId="{CB224072-EA94-4500-BB44-FA94C70FEF2B}" dt="2026-01-05T07:49:48.971" v="11348" actId="478"/>
          <ac:spMkLst>
            <pc:docMk/>
            <pc:sldMk cId="3719845655" sldId="300"/>
            <ac:spMk id="48" creationId="{EF8E70FC-8001-D617-9E72-4CD354C58400}"/>
          </ac:spMkLst>
        </pc:spChg>
        <pc:spChg chg="add mod ord topLvl">
          <ac:chgData name="Aryan Tah (MiddleEast)" userId="7f6066b6-35e9-4d47-9d15-8917e2720a06" providerId="ADAL" clId="{CB224072-EA94-4500-BB44-FA94C70FEF2B}" dt="2026-01-05T08:52:54.496" v="11916"/>
          <ac:spMkLst>
            <pc:docMk/>
            <pc:sldMk cId="3719845655" sldId="300"/>
            <ac:spMk id="49" creationId="{EC251E78-3A57-BD3C-926B-A7F672919F0B}"/>
          </ac:spMkLst>
        </pc:spChg>
        <pc:spChg chg="add mod ord topLvl">
          <ac:chgData name="Aryan Tah (MiddleEast)" userId="7f6066b6-35e9-4d47-9d15-8917e2720a06" providerId="ADAL" clId="{CB224072-EA94-4500-BB44-FA94C70FEF2B}" dt="2026-01-05T08:52:54.497" v="11918"/>
          <ac:spMkLst>
            <pc:docMk/>
            <pc:sldMk cId="3719845655" sldId="300"/>
            <ac:spMk id="50" creationId="{C7A5D53E-9321-CB69-7D3C-BC1894F35366}"/>
          </ac:spMkLst>
        </pc:spChg>
        <pc:spChg chg="add mod ord topLvl">
          <ac:chgData name="Aryan Tah (MiddleEast)" userId="7f6066b6-35e9-4d47-9d15-8917e2720a06" providerId="ADAL" clId="{CB224072-EA94-4500-BB44-FA94C70FEF2B}" dt="2026-01-05T08:52:54.497" v="11920"/>
          <ac:spMkLst>
            <pc:docMk/>
            <pc:sldMk cId="3719845655" sldId="300"/>
            <ac:spMk id="51" creationId="{EB1CF078-FAC2-42FB-31E8-D58C409A19FE}"/>
          </ac:spMkLst>
        </pc:spChg>
        <pc:spChg chg="add mod ord topLvl">
          <ac:chgData name="Aryan Tah (MiddleEast)" userId="7f6066b6-35e9-4d47-9d15-8917e2720a06" providerId="ADAL" clId="{CB224072-EA94-4500-BB44-FA94C70FEF2B}" dt="2026-01-05T08:52:54.498" v="11922"/>
          <ac:spMkLst>
            <pc:docMk/>
            <pc:sldMk cId="3719845655" sldId="300"/>
            <ac:spMk id="52" creationId="{62A74288-5F39-52F9-A4A3-65F40B5ABB80}"/>
          </ac:spMkLst>
        </pc:spChg>
        <pc:spChg chg="mod">
          <ac:chgData name="Aryan Tah (MiddleEast)" userId="7f6066b6-35e9-4d47-9d15-8917e2720a06" providerId="ADAL" clId="{CB224072-EA94-4500-BB44-FA94C70FEF2B}" dt="2026-01-05T07:50:21.874" v="11358" actId="571"/>
          <ac:spMkLst>
            <pc:docMk/>
            <pc:sldMk cId="3719845655" sldId="300"/>
            <ac:spMk id="55" creationId="{9421C8F7-D237-2709-1738-4C88381BF766}"/>
          </ac:spMkLst>
        </pc:spChg>
        <pc:spChg chg="mod">
          <ac:chgData name="Aryan Tah (MiddleEast)" userId="7f6066b6-35e9-4d47-9d15-8917e2720a06" providerId="ADAL" clId="{CB224072-EA94-4500-BB44-FA94C70FEF2B}" dt="2026-01-05T07:50:21.874" v="11358" actId="571"/>
          <ac:spMkLst>
            <pc:docMk/>
            <pc:sldMk cId="3719845655" sldId="300"/>
            <ac:spMk id="56" creationId="{72963ABD-E1D6-D58B-7D07-2BA05B4798C5}"/>
          </ac:spMkLst>
        </pc:spChg>
        <pc:spChg chg="mod">
          <ac:chgData name="Aryan Tah (MiddleEast)" userId="7f6066b6-35e9-4d47-9d15-8917e2720a06" providerId="ADAL" clId="{CB224072-EA94-4500-BB44-FA94C70FEF2B}" dt="2026-01-05T07:50:21.874" v="11358" actId="571"/>
          <ac:spMkLst>
            <pc:docMk/>
            <pc:sldMk cId="3719845655" sldId="300"/>
            <ac:spMk id="57" creationId="{B2FFB610-2E0C-2E72-1398-0F031471BB5C}"/>
          </ac:spMkLst>
        </pc:spChg>
        <pc:spChg chg="mod">
          <ac:chgData name="Aryan Tah (MiddleEast)" userId="7f6066b6-35e9-4d47-9d15-8917e2720a06" providerId="ADAL" clId="{CB224072-EA94-4500-BB44-FA94C70FEF2B}" dt="2026-01-05T07:50:21.874" v="11358" actId="571"/>
          <ac:spMkLst>
            <pc:docMk/>
            <pc:sldMk cId="3719845655" sldId="300"/>
            <ac:spMk id="58" creationId="{818FF3B7-2CC7-37AE-FFB4-69BED0B6B865}"/>
          </ac:spMkLst>
        </pc:spChg>
        <pc:spChg chg="add del">
          <ac:chgData name="Aryan Tah (MiddleEast)" userId="7f6066b6-35e9-4d47-9d15-8917e2720a06" providerId="ADAL" clId="{CB224072-EA94-4500-BB44-FA94C70FEF2B}" dt="2026-01-05T07:53:42.365" v="11459" actId="478"/>
          <ac:spMkLst>
            <pc:docMk/>
            <pc:sldMk cId="3719845655" sldId="300"/>
            <ac:spMk id="68" creationId="{246FFEF5-98CF-B482-6C4D-4B0F7249AE73}"/>
          </ac:spMkLst>
        </pc:spChg>
        <pc:spChg chg="mod ord">
          <ac:chgData name="Aryan Tah (MiddleEast)" userId="7f6066b6-35e9-4d47-9d15-8917e2720a06" providerId="ADAL" clId="{CB224072-EA94-4500-BB44-FA94C70FEF2B}" dt="2026-01-05T08:52:54.501" v="11934"/>
          <ac:spMkLst>
            <pc:docMk/>
            <pc:sldMk cId="3719845655" sldId="300"/>
            <ac:spMk id="71" creationId="{CCDCB8F1-1340-4083-66B0-69A1BAA820D4}"/>
          </ac:spMkLst>
        </pc:spChg>
        <pc:spChg chg="add del mod">
          <ac:chgData name="Aryan Tah (MiddleEast)" userId="7f6066b6-35e9-4d47-9d15-8917e2720a06" providerId="ADAL" clId="{CB224072-EA94-4500-BB44-FA94C70FEF2B}" dt="2026-01-05T08:00:02.915" v="11595" actId="478"/>
          <ac:spMkLst>
            <pc:docMk/>
            <pc:sldMk cId="3719845655" sldId="300"/>
            <ac:spMk id="72" creationId="{BB7F4B49-569C-2266-8334-A0FAD114898A}"/>
          </ac:spMkLst>
        </pc:spChg>
        <pc:spChg chg="add mod ord">
          <ac:chgData name="Aryan Tah (MiddleEast)" userId="7f6066b6-35e9-4d47-9d15-8917e2720a06" providerId="ADAL" clId="{CB224072-EA94-4500-BB44-FA94C70FEF2B}" dt="2026-01-05T08:52:54.502" v="11936"/>
          <ac:spMkLst>
            <pc:docMk/>
            <pc:sldMk cId="3719845655" sldId="300"/>
            <ac:spMk id="73" creationId="{FF6B504A-2A23-B1E3-2934-348AB40BE92E}"/>
          </ac:spMkLst>
        </pc:spChg>
        <pc:spChg chg="add mod ord">
          <ac:chgData name="Aryan Tah (MiddleEast)" userId="7f6066b6-35e9-4d47-9d15-8917e2720a06" providerId="ADAL" clId="{CB224072-EA94-4500-BB44-FA94C70FEF2B}" dt="2026-01-05T08:52:54.502" v="11938"/>
          <ac:spMkLst>
            <pc:docMk/>
            <pc:sldMk cId="3719845655" sldId="300"/>
            <ac:spMk id="74" creationId="{5FB00402-EE91-C946-A4F9-3617AFA51122}"/>
          </ac:spMkLst>
        </pc:spChg>
        <pc:spChg chg="add mod ord">
          <ac:chgData name="Aryan Tah (MiddleEast)" userId="7f6066b6-35e9-4d47-9d15-8917e2720a06" providerId="ADAL" clId="{CB224072-EA94-4500-BB44-FA94C70FEF2B}" dt="2026-01-05T08:52:54.505" v="11948"/>
          <ac:spMkLst>
            <pc:docMk/>
            <pc:sldMk cId="3719845655" sldId="300"/>
            <ac:spMk id="86" creationId="{BA6BC337-88ED-9738-9427-6521275A82D5}"/>
          </ac:spMkLst>
        </pc:spChg>
        <pc:spChg chg="add mod ord">
          <ac:chgData name="Aryan Tah (MiddleEast)" userId="7f6066b6-35e9-4d47-9d15-8917e2720a06" providerId="ADAL" clId="{CB224072-EA94-4500-BB44-FA94C70FEF2B}" dt="2026-01-05T08:52:54.505" v="11950"/>
          <ac:spMkLst>
            <pc:docMk/>
            <pc:sldMk cId="3719845655" sldId="300"/>
            <ac:spMk id="87" creationId="{4EC125C2-0B68-9818-B728-8F6A4774CEF3}"/>
          </ac:spMkLst>
        </pc:spChg>
        <pc:spChg chg="add mod ord">
          <ac:chgData name="Aryan Tah (MiddleEast)" userId="7f6066b6-35e9-4d47-9d15-8917e2720a06" providerId="ADAL" clId="{CB224072-EA94-4500-BB44-FA94C70FEF2B}" dt="2026-01-05T08:52:54.506" v="11952"/>
          <ac:spMkLst>
            <pc:docMk/>
            <pc:sldMk cId="3719845655" sldId="300"/>
            <ac:spMk id="88" creationId="{7FD8188A-1C7A-8E5B-4088-4E3B1D5178C5}"/>
          </ac:spMkLst>
        </pc:spChg>
        <pc:spChg chg="add mod ord">
          <ac:chgData name="Aryan Tah (MiddleEast)" userId="7f6066b6-35e9-4d47-9d15-8917e2720a06" providerId="ADAL" clId="{CB224072-EA94-4500-BB44-FA94C70FEF2B}" dt="2026-01-05T08:55:27.109" v="11982"/>
          <ac:spMkLst>
            <pc:docMk/>
            <pc:sldMk cId="3719845655" sldId="300"/>
            <ac:spMk id="89" creationId="{2FAF2B7A-1378-3E93-3CA9-B9C7CE781E0E}"/>
          </ac:spMkLst>
        </pc:spChg>
        <pc:grpChg chg="add del mod">
          <ac:chgData name="Aryan Tah (MiddleEast)" userId="7f6066b6-35e9-4d47-9d15-8917e2720a06" providerId="ADAL" clId="{CB224072-EA94-4500-BB44-FA94C70FEF2B}" dt="2026-01-05T07:16:59.575" v="11023" actId="165"/>
          <ac:grpSpMkLst>
            <pc:docMk/>
            <pc:sldMk cId="3719845655" sldId="300"/>
            <ac:grpSpMk id="8" creationId="{C319B5E1-884D-40B0-E89B-AA2A85DDB195}"/>
          </ac:grpSpMkLst>
        </pc:grpChg>
        <pc:grpChg chg="add del mod">
          <ac:chgData name="Aryan Tah (MiddleEast)" userId="7f6066b6-35e9-4d47-9d15-8917e2720a06" providerId="ADAL" clId="{CB224072-EA94-4500-BB44-FA94C70FEF2B}" dt="2026-01-05T07:30:14.118" v="11093" actId="165"/>
          <ac:grpSpMkLst>
            <pc:docMk/>
            <pc:sldMk cId="3719845655" sldId="300"/>
            <ac:grpSpMk id="18" creationId="{EC5601A3-FFF1-023F-62BC-6015C360BDF1}"/>
          </ac:grpSpMkLst>
        </pc:grpChg>
        <pc:grpChg chg="add del mod">
          <ac:chgData name="Aryan Tah (MiddleEast)" userId="7f6066b6-35e9-4d47-9d15-8917e2720a06" providerId="ADAL" clId="{CB224072-EA94-4500-BB44-FA94C70FEF2B}" dt="2026-01-05T07:30:51.348" v="11100" actId="165"/>
          <ac:grpSpMkLst>
            <pc:docMk/>
            <pc:sldMk cId="3719845655" sldId="300"/>
            <ac:grpSpMk id="21" creationId="{6EDFEA22-C4D1-E0C2-292A-8EFF76153805}"/>
          </ac:grpSpMkLst>
        </pc:grpChg>
        <pc:grpChg chg="add del mod">
          <ac:chgData name="Aryan Tah (MiddleEast)" userId="7f6066b6-35e9-4d47-9d15-8917e2720a06" providerId="ADAL" clId="{CB224072-EA94-4500-BB44-FA94C70FEF2B}" dt="2026-01-05T07:30:51.348" v="11100" actId="165"/>
          <ac:grpSpMkLst>
            <pc:docMk/>
            <pc:sldMk cId="3719845655" sldId="300"/>
            <ac:grpSpMk id="26" creationId="{3021A107-0DC3-F53F-1936-E2311C3F2B71}"/>
          </ac:grpSpMkLst>
        </pc:grpChg>
        <pc:grpChg chg="add del mod ord">
          <ac:chgData name="Aryan Tah (MiddleEast)" userId="7f6066b6-35e9-4d47-9d15-8917e2720a06" providerId="ADAL" clId="{CB224072-EA94-4500-BB44-FA94C70FEF2B}" dt="2026-01-05T07:41:53" v="11217" actId="165"/>
          <ac:grpSpMkLst>
            <pc:docMk/>
            <pc:sldMk cId="3719845655" sldId="300"/>
            <ac:grpSpMk id="30" creationId="{AE64B335-E63D-5D1A-6778-8EB60B56A32F}"/>
          </ac:grpSpMkLst>
        </pc:grpChg>
        <pc:grpChg chg="add del mod">
          <ac:chgData name="Aryan Tah (MiddleEast)" userId="7f6066b6-35e9-4d47-9d15-8917e2720a06" providerId="ADAL" clId="{CB224072-EA94-4500-BB44-FA94C70FEF2B}" dt="2026-01-05T07:41:46.986" v="11215" actId="165"/>
          <ac:grpSpMkLst>
            <pc:docMk/>
            <pc:sldMk cId="3719845655" sldId="300"/>
            <ac:grpSpMk id="34" creationId="{9D33A64F-72CF-F4A4-9B4C-E8E0D144FCFB}"/>
          </ac:grpSpMkLst>
        </pc:grpChg>
        <pc:grpChg chg="add del mod">
          <ac:chgData name="Aryan Tah (MiddleEast)" userId="7f6066b6-35e9-4d47-9d15-8917e2720a06" providerId="ADAL" clId="{CB224072-EA94-4500-BB44-FA94C70FEF2B}" dt="2026-01-05T07:43:26.556" v="11246" actId="165"/>
          <ac:grpSpMkLst>
            <pc:docMk/>
            <pc:sldMk cId="3719845655" sldId="300"/>
            <ac:grpSpMk id="35" creationId="{6E531425-BAA2-EA04-ACFD-791AA7ADB01F}"/>
          </ac:grpSpMkLst>
        </pc:grpChg>
        <pc:grpChg chg="add del mod">
          <ac:chgData name="Aryan Tah (MiddleEast)" userId="7f6066b6-35e9-4d47-9d15-8917e2720a06" providerId="ADAL" clId="{CB224072-EA94-4500-BB44-FA94C70FEF2B}" dt="2026-01-05T07:44:51.040" v="11269" actId="165"/>
          <ac:grpSpMkLst>
            <pc:docMk/>
            <pc:sldMk cId="3719845655" sldId="300"/>
            <ac:grpSpMk id="36" creationId="{9076A714-4177-7CC2-0CC4-E37AF8C153BA}"/>
          </ac:grpSpMkLst>
        </pc:grpChg>
        <pc:grpChg chg="add mod ord topLvl">
          <ac:chgData name="Aryan Tah (MiddleEast)" userId="7f6066b6-35e9-4d47-9d15-8917e2720a06" providerId="ADAL" clId="{CB224072-EA94-4500-BB44-FA94C70FEF2B}" dt="2026-01-05T08:52:54.495" v="11912"/>
          <ac:grpSpMkLst>
            <pc:docMk/>
            <pc:sldMk cId="3719845655" sldId="300"/>
            <ac:grpSpMk id="37" creationId="{07FEAE7B-1B31-6E8E-6BF7-D932CBFEFB3F}"/>
          </ac:grpSpMkLst>
        </pc:grpChg>
        <pc:grpChg chg="add mod ord topLvl">
          <ac:chgData name="Aryan Tah (MiddleEast)" userId="7f6066b6-35e9-4d47-9d15-8917e2720a06" providerId="ADAL" clId="{CB224072-EA94-4500-BB44-FA94C70FEF2B}" dt="2026-01-05T08:52:54.495" v="11910"/>
          <ac:grpSpMkLst>
            <pc:docMk/>
            <pc:sldMk cId="3719845655" sldId="300"/>
            <ac:grpSpMk id="41" creationId="{223E1264-5A5C-A6B6-E376-312E81100832}"/>
          </ac:grpSpMkLst>
        </pc:grpChg>
        <pc:grpChg chg="add del mod">
          <ac:chgData name="Aryan Tah (MiddleEast)" userId="7f6066b6-35e9-4d47-9d15-8917e2720a06" providerId="ADAL" clId="{CB224072-EA94-4500-BB44-FA94C70FEF2B}" dt="2026-01-05T07:43:54.769" v="11255" actId="478"/>
          <ac:grpSpMkLst>
            <pc:docMk/>
            <pc:sldMk cId="3719845655" sldId="300"/>
            <ac:grpSpMk id="42" creationId="{CB1D9893-80BA-6988-6C1E-8102E08AFA25}"/>
          </ac:grpSpMkLst>
        </pc:grpChg>
        <pc:grpChg chg="add del mod ord">
          <ac:chgData name="Aryan Tah (MiddleEast)" userId="7f6066b6-35e9-4d47-9d15-8917e2720a06" providerId="ADAL" clId="{CB224072-EA94-4500-BB44-FA94C70FEF2B}" dt="2026-01-05T07:59:11.795" v="11583" actId="165"/>
          <ac:grpSpMkLst>
            <pc:docMk/>
            <pc:sldMk cId="3719845655" sldId="300"/>
            <ac:grpSpMk id="46" creationId="{86932C50-A7BA-001D-3F8D-7D104FE021CE}"/>
          </ac:grpSpMkLst>
        </pc:grpChg>
        <pc:grpChg chg="add del mod">
          <ac:chgData name="Aryan Tah (MiddleEast)" userId="7f6066b6-35e9-4d47-9d15-8917e2720a06" providerId="ADAL" clId="{CB224072-EA94-4500-BB44-FA94C70FEF2B}" dt="2026-01-05T07:52:20.300" v="11407" actId="165"/>
          <ac:grpSpMkLst>
            <pc:docMk/>
            <pc:sldMk cId="3719845655" sldId="300"/>
            <ac:grpSpMk id="53" creationId="{02CAB453-10CF-A40E-508B-5788AF61AA2F}"/>
          </ac:grpSpMkLst>
        </pc:grpChg>
        <pc:grpChg chg="add del mod">
          <ac:chgData name="Aryan Tah (MiddleEast)" userId="7f6066b6-35e9-4d47-9d15-8917e2720a06" providerId="ADAL" clId="{CB224072-EA94-4500-BB44-FA94C70FEF2B}" dt="2026-01-05T07:50:27.978" v="11360" actId="478"/>
          <ac:grpSpMkLst>
            <pc:docMk/>
            <pc:sldMk cId="3719845655" sldId="300"/>
            <ac:grpSpMk id="54" creationId="{FD274A7F-14F3-8BDC-6660-E14D6AC47E93}"/>
          </ac:grpSpMkLst>
        </pc:grpChg>
        <pc:grpChg chg="add del mod ord">
          <ac:chgData name="Aryan Tah (MiddleEast)" userId="7f6066b6-35e9-4d47-9d15-8917e2720a06" providerId="ADAL" clId="{CB224072-EA94-4500-BB44-FA94C70FEF2B}" dt="2026-01-05T07:56:34.315" v="11513" actId="478"/>
          <ac:grpSpMkLst>
            <pc:docMk/>
            <pc:sldMk cId="3719845655" sldId="300"/>
            <ac:grpSpMk id="62" creationId="{13BC4573-565E-6A3F-0DD2-0C216F16C02E}"/>
          </ac:grpSpMkLst>
        </pc:grpChg>
        <pc:grpChg chg="add del mod ord">
          <ac:chgData name="Aryan Tah (MiddleEast)" userId="7f6066b6-35e9-4d47-9d15-8917e2720a06" providerId="ADAL" clId="{CB224072-EA94-4500-BB44-FA94C70FEF2B}" dt="2026-01-05T07:59:11.795" v="11583" actId="165"/>
          <ac:grpSpMkLst>
            <pc:docMk/>
            <pc:sldMk cId="3719845655" sldId="300"/>
            <ac:grpSpMk id="67" creationId="{67B3E7A2-5B32-86CD-5D69-523CBA040466}"/>
          </ac:grpSpMkLst>
        </pc:grpChg>
        <pc:grpChg chg="add mod ord">
          <ac:chgData name="Aryan Tah (MiddleEast)" userId="7f6066b6-35e9-4d47-9d15-8917e2720a06" providerId="ADAL" clId="{CB224072-EA94-4500-BB44-FA94C70FEF2B}" dt="2026-01-05T08:52:54.504" v="11946"/>
          <ac:grpSpMkLst>
            <pc:docMk/>
            <pc:sldMk cId="3719845655" sldId="300"/>
            <ac:grpSpMk id="85" creationId="{74EDF4A2-39CC-7A1C-F698-9E55D83EEE5B}"/>
          </ac:grpSpMkLst>
        </pc:grpChg>
        <pc:graphicFrameChg chg="mod">
          <ac:chgData name="Aryan Tah (MiddleEast)" userId="7f6066b6-35e9-4d47-9d15-8917e2720a06" providerId="ADAL" clId="{CB224072-EA94-4500-BB44-FA94C70FEF2B}" dt="2026-01-05T08:52:54.507" v="11957"/>
          <ac:graphicFrameMkLst>
            <pc:docMk/>
            <pc:sldMk cId="3719845655" sldId="300"/>
            <ac:graphicFrameMk id="20" creationId="{C32D1F16-CD6B-8126-5A18-6100066C4622}"/>
          </ac:graphicFrameMkLst>
        </pc:graphicFrameChg>
        <pc:picChg chg="add mod">
          <ac:chgData name="Aryan Tah (MiddleEast)" userId="7f6066b6-35e9-4d47-9d15-8917e2720a06" providerId="ADAL" clId="{CB224072-EA94-4500-BB44-FA94C70FEF2B}" dt="2026-01-05T07:50:33.112" v="11363" actId="164"/>
          <ac:picMkLst>
            <pc:docMk/>
            <pc:sldMk cId="3719845655" sldId="300"/>
            <ac:picMk id="59" creationId="{FB5D1DB6-08FC-6643-E839-51E1965760B3}"/>
          </ac:picMkLst>
        </pc:picChg>
        <pc:picChg chg="add mod">
          <ac:chgData name="Aryan Tah (MiddleEast)" userId="7f6066b6-35e9-4d47-9d15-8917e2720a06" providerId="ADAL" clId="{CB224072-EA94-4500-BB44-FA94C70FEF2B}" dt="2026-01-05T07:50:33.112" v="11363" actId="164"/>
          <ac:picMkLst>
            <pc:docMk/>
            <pc:sldMk cId="3719845655" sldId="300"/>
            <ac:picMk id="60" creationId="{DD155176-3220-85D2-1FAB-D2B45F1F60BE}"/>
          </ac:picMkLst>
        </pc:picChg>
        <pc:picChg chg="add mod">
          <ac:chgData name="Aryan Tah (MiddleEast)" userId="7f6066b6-35e9-4d47-9d15-8917e2720a06" providerId="ADAL" clId="{CB224072-EA94-4500-BB44-FA94C70FEF2B}" dt="2026-01-05T07:50:33.112" v="11363" actId="164"/>
          <ac:picMkLst>
            <pc:docMk/>
            <pc:sldMk cId="3719845655" sldId="300"/>
            <ac:picMk id="61" creationId="{1B49E0F8-DA86-CC3E-B17C-535A437FAD8C}"/>
          </ac:picMkLst>
        </pc:picChg>
        <pc:picChg chg="add mod ord">
          <ac:chgData name="Aryan Tah (MiddleEast)" userId="7f6066b6-35e9-4d47-9d15-8917e2720a06" providerId="ADAL" clId="{CB224072-EA94-4500-BB44-FA94C70FEF2B}" dt="2026-01-05T08:52:54.503" v="11940"/>
          <ac:picMkLst>
            <pc:docMk/>
            <pc:sldMk cId="3719845655" sldId="300"/>
            <ac:picMk id="76" creationId="{BE27E6E8-DB30-929D-7734-B243FD422D27}"/>
          </ac:picMkLst>
        </pc:picChg>
        <pc:picChg chg="add mod ord">
          <ac:chgData name="Aryan Tah (MiddleEast)" userId="7f6066b6-35e9-4d47-9d15-8917e2720a06" providerId="ADAL" clId="{CB224072-EA94-4500-BB44-FA94C70FEF2B}" dt="2026-01-05T08:52:54.503" v="11942"/>
          <ac:picMkLst>
            <pc:docMk/>
            <pc:sldMk cId="3719845655" sldId="300"/>
            <ac:picMk id="78" creationId="{3EFC6AFC-FE4C-46AC-84F8-1D7587A528D2}"/>
          </ac:picMkLst>
        </pc:picChg>
        <pc:picChg chg="add mod ord">
          <ac:chgData name="Aryan Tah (MiddleEast)" userId="7f6066b6-35e9-4d47-9d15-8917e2720a06" providerId="ADAL" clId="{CB224072-EA94-4500-BB44-FA94C70FEF2B}" dt="2026-01-05T08:52:54.504" v="11944"/>
          <ac:picMkLst>
            <pc:docMk/>
            <pc:sldMk cId="3719845655" sldId="300"/>
            <ac:picMk id="80" creationId="{7A7D5542-DA4A-A3A9-5F24-BEEE2315E80E}"/>
          </ac:picMkLst>
        </pc:picChg>
        <pc:picChg chg="add mod">
          <ac:chgData name="Aryan Tah (MiddleEast)" userId="7f6066b6-35e9-4d47-9d15-8917e2720a06" providerId="ADAL" clId="{CB224072-EA94-4500-BB44-FA94C70FEF2B}" dt="2026-01-05T08:45:28.326" v="11731" actId="208"/>
          <ac:picMkLst>
            <pc:docMk/>
            <pc:sldMk cId="3719845655" sldId="300"/>
            <ac:picMk id="82" creationId="{1B512DC2-AA72-5701-16F8-211663B79FE7}"/>
          </ac:picMkLst>
        </pc:picChg>
        <pc:picChg chg="add mod">
          <ac:chgData name="Aryan Tah (MiddleEast)" userId="7f6066b6-35e9-4d47-9d15-8917e2720a06" providerId="ADAL" clId="{CB224072-EA94-4500-BB44-FA94C70FEF2B}" dt="2026-01-05T08:45:28.326" v="11731" actId="208"/>
          <ac:picMkLst>
            <pc:docMk/>
            <pc:sldMk cId="3719845655" sldId="300"/>
            <ac:picMk id="83" creationId="{0EFBCC72-0239-20D3-8E22-092CF20F0677}"/>
          </ac:picMkLst>
        </pc:picChg>
        <pc:picChg chg="add mod">
          <ac:chgData name="Aryan Tah (MiddleEast)" userId="7f6066b6-35e9-4d47-9d15-8917e2720a06" providerId="ADAL" clId="{CB224072-EA94-4500-BB44-FA94C70FEF2B}" dt="2026-01-05T08:45:28.326" v="11731" actId="208"/>
          <ac:picMkLst>
            <pc:docMk/>
            <pc:sldMk cId="3719845655" sldId="300"/>
            <ac:picMk id="84" creationId="{BF32CED7-574D-FF9B-F1C5-327EC4D797A8}"/>
          </ac:picMkLst>
        </pc:picChg>
        <pc:picChg chg="add">
          <ac:chgData name="Aryan Tah (MiddleEast)" userId="7f6066b6-35e9-4d47-9d15-8917e2720a06" providerId="ADAL" clId="{CB224072-EA94-4500-BB44-FA94C70FEF2B}" dt="2026-01-05T08:41:54.552" v="11655"/>
          <ac:picMkLst>
            <pc:docMk/>
            <pc:sldMk cId="3719845655" sldId="300"/>
            <ac:picMk id="8194" creationId="{A40DFF49-C6D4-0874-9428-22F34D20581C}"/>
          </ac:picMkLst>
        </pc:picChg>
        <pc:picChg chg="add">
          <ac:chgData name="Aryan Tah (MiddleEast)" userId="7f6066b6-35e9-4d47-9d15-8917e2720a06" providerId="ADAL" clId="{CB224072-EA94-4500-BB44-FA94C70FEF2B}" dt="2026-01-05T08:41:54.552" v="11655"/>
          <ac:picMkLst>
            <pc:docMk/>
            <pc:sldMk cId="3719845655" sldId="300"/>
            <ac:picMk id="8195" creationId="{D7DAC0DA-A461-D03A-F852-7349F21054F8}"/>
          </ac:picMkLst>
        </pc:picChg>
        <pc:picChg chg="add">
          <ac:chgData name="Aryan Tah (MiddleEast)" userId="7f6066b6-35e9-4d47-9d15-8917e2720a06" providerId="ADAL" clId="{CB224072-EA94-4500-BB44-FA94C70FEF2B}" dt="2026-01-05T08:41:54.552" v="11655"/>
          <ac:picMkLst>
            <pc:docMk/>
            <pc:sldMk cId="3719845655" sldId="300"/>
            <ac:picMk id="8196" creationId="{3CEDE67E-3DE3-2D87-4231-76B2AE01F89D}"/>
          </ac:picMkLst>
        </pc:picChg>
        <pc:picChg chg="add">
          <ac:chgData name="Aryan Tah (MiddleEast)" userId="7f6066b6-35e9-4d47-9d15-8917e2720a06" providerId="ADAL" clId="{CB224072-EA94-4500-BB44-FA94C70FEF2B}" dt="2026-01-05T08:41:54.552" v="11655"/>
          <ac:picMkLst>
            <pc:docMk/>
            <pc:sldMk cId="3719845655" sldId="300"/>
            <ac:picMk id="8197" creationId="{DCE06ECE-76C6-B078-A767-DFA1DCED1992}"/>
          </ac:picMkLst>
        </pc:picChg>
        <pc:picChg chg="add">
          <ac:chgData name="Aryan Tah (MiddleEast)" userId="7f6066b6-35e9-4d47-9d15-8917e2720a06" providerId="ADAL" clId="{CB224072-EA94-4500-BB44-FA94C70FEF2B}" dt="2026-01-05T08:41:54.552" v="11655"/>
          <ac:picMkLst>
            <pc:docMk/>
            <pc:sldMk cId="3719845655" sldId="300"/>
            <ac:picMk id="8198" creationId="{CB1B46CF-FBA8-3089-01AC-EE9AA3F2151D}"/>
          </ac:picMkLst>
        </pc:picChg>
        <pc:picChg chg="add">
          <ac:chgData name="Aryan Tah (MiddleEast)" userId="7f6066b6-35e9-4d47-9d15-8917e2720a06" providerId="ADAL" clId="{CB224072-EA94-4500-BB44-FA94C70FEF2B}" dt="2026-01-05T08:41:54.552" v="11655"/>
          <ac:picMkLst>
            <pc:docMk/>
            <pc:sldMk cId="3719845655" sldId="300"/>
            <ac:picMk id="8199" creationId="{9AACE795-2B41-82F1-35FC-20CA9E64D7CA}"/>
          </ac:picMkLst>
        </pc:picChg>
        <pc:picChg chg="add mod">
          <ac:chgData name="Aryan Tah (MiddleEast)" userId="7f6066b6-35e9-4d47-9d15-8917e2720a06" providerId="ADAL" clId="{CB224072-EA94-4500-BB44-FA94C70FEF2B}" dt="2026-01-05T08:54:43.571" v="11966"/>
          <ac:picMkLst>
            <pc:docMk/>
            <pc:sldMk cId="3719845655" sldId="300"/>
            <ac:picMk id="8201" creationId="{C755B7BB-E7BE-64EB-8961-DA0C2F71AC59}"/>
          </ac:picMkLst>
        </pc:picChg>
        <pc:picChg chg="add mod">
          <ac:chgData name="Aryan Tah (MiddleEast)" userId="7f6066b6-35e9-4d47-9d15-8917e2720a06" providerId="ADAL" clId="{CB224072-EA94-4500-BB44-FA94C70FEF2B}" dt="2026-01-05T08:55:27.109" v="11983"/>
          <ac:picMkLst>
            <pc:docMk/>
            <pc:sldMk cId="3719845655" sldId="300"/>
            <ac:picMk id="8203" creationId="{6894E891-4445-4D65-C024-CDE58DD6043A}"/>
          </ac:picMkLst>
        </pc:picChg>
        <pc:cxnChg chg="add mod ord">
          <ac:chgData name="Aryan Tah (MiddleEast)" userId="7f6066b6-35e9-4d47-9d15-8917e2720a06" providerId="ADAL" clId="{CB224072-EA94-4500-BB44-FA94C70FEF2B}" dt="2026-01-05T08:52:54.496" v="11914"/>
          <ac:cxnSpMkLst>
            <pc:docMk/>
            <pc:sldMk cId="3719845655" sldId="300"/>
            <ac:cxnSpMk id="39" creationId="{E922FD43-1172-C32A-9C03-BE8E17880C7C}"/>
          </ac:cxnSpMkLst>
        </pc:cxnChg>
        <pc:cxnChg chg="add mod ord">
          <ac:chgData name="Aryan Tah (MiddleEast)" userId="7f6066b6-35e9-4d47-9d15-8917e2720a06" providerId="ADAL" clId="{CB224072-EA94-4500-BB44-FA94C70FEF2B}" dt="2026-01-05T08:52:54.498" v="11924"/>
          <ac:cxnSpMkLst>
            <pc:docMk/>
            <pc:sldMk cId="3719845655" sldId="300"/>
            <ac:cxnSpMk id="64" creationId="{5B8C97CA-CA90-A1DD-08AD-5B53D846945A}"/>
          </ac:cxnSpMkLst>
        </pc:cxnChg>
        <pc:cxnChg chg="add mod ord">
          <ac:chgData name="Aryan Tah (MiddleEast)" userId="7f6066b6-35e9-4d47-9d15-8917e2720a06" providerId="ADAL" clId="{CB224072-EA94-4500-BB44-FA94C70FEF2B}" dt="2026-01-05T08:52:54.499" v="11926"/>
          <ac:cxnSpMkLst>
            <pc:docMk/>
            <pc:sldMk cId="3719845655" sldId="300"/>
            <ac:cxnSpMk id="65" creationId="{38ED29BD-F3F0-F238-6412-C17B0C01D5DA}"/>
          </ac:cxnSpMkLst>
        </pc:cxnChg>
        <pc:cxnChg chg="add mod ord">
          <ac:chgData name="Aryan Tah (MiddleEast)" userId="7f6066b6-35e9-4d47-9d15-8917e2720a06" providerId="ADAL" clId="{CB224072-EA94-4500-BB44-FA94C70FEF2B}" dt="2026-01-05T08:52:54.499" v="11928"/>
          <ac:cxnSpMkLst>
            <pc:docMk/>
            <pc:sldMk cId="3719845655" sldId="300"/>
            <ac:cxnSpMk id="66" creationId="{9256513B-4560-2537-AEDF-44859E16A442}"/>
          </ac:cxnSpMkLst>
        </pc:cxnChg>
        <pc:cxnChg chg="add mod ord">
          <ac:chgData name="Aryan Tah (MiddleEast)" userId="7f6066b6-35e9-4d47-9d15-8917e2720a06" providerId="ADAL" clId="{CB224072-EA94-4500-BB44-FA94C70FEF2B}" dt="2026-01-05T08:52:54.500" v="11930"/>
          <ac:cxnSpMkLst>
            <pc:docMk/>
            <pc:sldMk cId="3719845655" sldId="300"/>
            <ac:cxnSpMk id="69" creationId="{CC7B1A8D-BCEF-72A2-5E74-06E28B8D31F8}"/>
          </ac:cxnSpMkLst>
        </pc:cxnChg>
      </pc:sldChg>
      <pc:sldChg chg="addSp delSp modSp add mod ord">
        <pc:chgData name="Aryan Tah (MiddleEast)" userId="7f6066b6-35e9-4d47-9d15-8917e2720a06" providerId="ADAL" clId="{CB224072-EA94-4500-BB44-FA94C70FEF2B}" dt="2026-01-05T11:32:30.204" v="20843" actId="1036"/>
        <pc:sldMkLst>
          <pc:docMk/>
          <pc:sldMk cId="844508133" sldId="301"/>
        </pc:sldMkLst>
        <pc:spChg chg="mod ord">
          <ac:chgData name="Aryan Tah (MiddleEast)" userId="7f6066b6-35e9-4d47-9d15-8917e2720a06" providerId="ADAL" clId="{CB224072-EA94-4500-BB44-FA94C70FEF2B}" dt="2026-01-05T11:03:23.586" v="20729"/>
          <ac:spMkLst>
            <pc:docMk/>
            <pc:sldMk cId="844508133" sldId="301"/>
            <ac:spMk id="2" creationId="{79935DB7-364D-09BB-B148-F04642E93324}"/>
          </ac:spMkLst>
        </pc:spChg>
        <pc:spChg chg="mod ord">
          <ac:chgData name="Aryan Tah (MiddleEast)" userId="7f6066b6-35e9-4d47-9d15-8917e2720a06" providerId="ADAL" clId="{CB224072-EA94-4500-BB44-FA94C70FEF2B}" dt="2026-01-05T11:03:23.584" v="20723"/>
          <ac:spMkLst>
            <pc:docMk/>
            <pc:sldMk cId="844508133" sldId="301"/>
            <ac:spMk id="4" creationId="{B2567FF4-4376-08F7-EBEC-214FB5889B40}"/>
          </ac:spMkLst>
        </pc:spChg>
        <pc:spChg chg="mod ord">
          <ac:chgData name="Aryan Tah (MiddleEast)" userId="7f6066b6-35e9-4d47-9d15-8917e2720a06" providerId="ADAL" clId="{CB224072-EA94-4500-BB44-FA94C70FEF2B}" dt="2026-01-05T11:03:23.585" v="20725"/>
          <ac:spMkLst>
            <pc:docMk/>
            <pc:sldMk cId="844508133" sldId="301"/>
            <ac:spMk id="5" creationId="{A34C66A1-BEDA-D237-32FB-0A8935F1D521}"/>
          </ac:spMkLst>
        </pc:spChg>
        <pc:spChg chg="mod ord topLvl">
          <ac:chgData name="Aryan Tah (MiddleEast)" userId="7f6066b6-35e9-4d47-9d15-8917e2720a06" providerId="ADAL" clId="{CB224072-EA94-4500-BB44-FA94C70FEF2B}" dt="2026-01-05T11:03:23.587" v="20731"/>
          <ac:spMkLst>
            <pc:docMk/>
            <pc:sldMk cId="844508133" sldId="301"/>
            <ac:spMk id="6" creationId="{821977DA-64A0-41FE-BAAB-D3AB181DB660}"/>
          </ac:spMkLst>
        </pc:spChg>
        <pc:spChg chg="mod ord topLvl">
          <ac:chgData name="Aryan Tah (MiddleEast)" userId="7f6066b6-35e9-4d47-9d15-8917e2720a06" providerId="ADAL" clId="{CB224072-EA94-4500-BB44-FA94C70FEF2B}" dt="2026-01-05T11:07:33.280" v="20834"/>
          <ac:spMkLst>
            <pc:docMk/>
            <pc:sldMk cId="844508133" sldId="301"/>
            <ac:spMk id="7" creationId="{C3605D87-82A6-3C3C-506C-4DBD19C215AA}"/>
          </ac:spMkLst>
        </pc:spChg>
        <pc:spChg chg="del mod ord topLvl">
          <ac:chgData name="Aryan Tah (MiddleEast)" userId="7f6066b6-35e9-4d47-9d15-8917e2720a06" providerId="ADAL" clId="{CB224072-EA94-4500-BB44-FA94C70FEF2B}" dt="2026-01-05T10:58:49.920" v="20344" actId="478"/>
          <ac:spMkLst>
            <pc:docMk/>
            <pc:sldMk cId="844508133" sldId="301"/>
            <ac:spMk id="8" creationId="{36175072-0845-CAA7-70DB-1D8457ACF906}"/>
          </ac:spMkLst>
        </pc:spChg>
        <pc:spChg chg="mod ord">
          <ac:chgData name="Aryan Tah (MiddleEast)" userId="7f6066b6-35e9-4d47-9d15-8917e2720a06" providerId="ADAL" clId="{CB224072-EA94-4500-BB44-FA94C70FEF2B}" dt="2026-01-05T11:03:23.588" v="20735"/>
          <ac:spMkLst>
            <pc:docMk/>
            <pc:sldMk cId="844508133" sldId="301"/>
            <ac:spMk id="9" creationId="{C30A373F-B0BB-F7F0-EDC3-6D7AF57B77F1}"/>
          </ac:spMkLst>
        </pc:spChg>
        <pc:spChg chg="mod ord">
          <ac:chgData name="Aryan Tah (MiddleEast)" userId="7f6066b6-35e9-4d47-9d15-8917e2720a06" providerId="ADAL" clId="{CB224072-EA94-4500-BB44-FA94C70FEF2B}" dt="2026-01-05T11:03:23.589" v="20737"/>
          <ac:spMkLst>
            <pc:docMk/>
            <pc:sldMk cId="844508133" sldId="301"/>
            <ac:spMk id="10" creationId="{F4DD31B6-345A-03CC-BB12-73B9A35FCA0E}"/>
          </ac:spMkLst>
        </pc:spChg>
        <pc:spChg chg="mod ord topLvl">
          <ac:chgData name="Aryan Tah (MiddleEast)" userId="7f6066b6-35e9-4d47-9d15-8917e2720a06" providerId="ADAL" clId="{CB224072-EA94-4500-BB44-FA94C70FEF2B}" dt="2026-01-05T11:03:23.589" v="20739"/>
          <ac:spMkLst>
            <pc:docMk/>
            <pc:sldMk cId="844508133" sldId="301"/>
            <ac:spMk id="11" creationId="{846C5730-BE1E-0100-4F05-D91C3EBA5091}"/>
          </ac:spMkLst>
        </pc:spChg>
        <pc:spChg chg="mod ord">
          <ac:chgData name="Aryan Tah (MiddleEast)" userId="7f6066b6-35e9-4d47-9d15-8917e2720a06" providerId="ADAL" clId="{CB224072-EA94-4500-BB44-FA94C70FEF2B}" dt="2026-01-05T11:05:01.718" v="20799"/>
          <ac:spMkLst>
            <pc:docMk/>
            <pc:sldMk cId="844508133" sldId="301"/>
            <ac:spMk id="12" creationId="{0851229E-224A-B2FE-45EB-BB2E97603C07}"/>
          </ac:spMkLst>
        </pc:spChg>
        <pc:spChg chg="del mod ord topLvl">
          <ac:chgData name="Aryan Tah (MiddleEast)" userId="7f6066b6-35e9-4d47-9d15-8917e2720a06" providerId="ADAL" clId="{CB224072-EA94-4500-BB44-FA94C70FEF2B}" dt="2026-01-05T10:58:44.378" v="20342" actId="478"/>
          <ac:spMkLst>
            <pc:docMk/>
            <pc:sldMk cId="844508133" sldId="301"/>
            <ac:spMk id="13" creationId="{7AD032C0-85E8-16BC-6A5B-FF69A9EE82C3}"/>
          </ac:spMkLst>
        </pc:spChg>
        <pc:spChg chg="mod ord topLvl">
          <ac:chgData name="Aryan Tah (MiddleEast)" userId="7f6066b6-35e9-4d47-9d15-8917e2720a06" providerId="ADAL" clId="{CB224072-EA94-4500-BB44-FA94C70FEF2B}" dt="2026-01-05T11:03:23.580" v="20717"/>
          <ac:spMkLst>
            <pc:docMk/>
            <pc:sldMk cId="844508133" sldId="301"/>
            <ac:spMk id="14" creationId="{F155CB9A-D6F0-78FA-771A-1D3DCCB1C48D}"/>
          </ac:spMkLst>
        </pc:spChg>
        <pc:spChg chg="mod ord topLvl">
          <ac:chgData name="Aryan Tah (MiddleEast)" userId="7f6066b6-35e9-4d47-9d15-8917e2720a06" providerId="ADAL" clId="{CB224072-EA94-4500-BB44-FA94C70FEF2B}" dt="2026-01-05T11:03:23.581" v="20719"/>
          <ac:spMkLst>
            <pc:docMk/>
            <pc:sldMk cId="844508133" sldId="301"/>
            <ac:spMk id="15" creationId="{067F4D37-D8F0-9E81-5A4A-4BE1E1785DD5}"/>
          </ac:spMkLst>
        </pc:spChg>
        <pc:spChg chg="mod ord topLvl">
          <ac:chgData name="Aryan Tah (MiddleEast)" userId="7f6066b6-35e9-4d47-9d15-8917e2720a06" providerId="ADAL" clId="{CB224072-EA94-4500-BB44-FA94C70FEF2B}" dt="2026-01-05T11:03:23.591" v="20743"/>
          <ac:spMkLst>
            <pc:docMk/>
            <pc:sldMk cId="844508133" sldId="301"/>
            <ac:spMk id="16" creationId="{12613974-A775-194F-4BEE-BC4721BDFA68}"/>
          </ac:spMkLst>
        </pc:spChg>
        <pc:spChg chg="mod ord topLvl">
          <ac:chgData name="Aryan Tah (MiddleEast)" userId="7f6066b6-35e9-4d47-9d15-8917e2720a06" providerId="ADAL" clId="{CB224072-EA94-4500-BB44-FA94C70FEF2B}" dt="2026-01-05T11:05:33.502" v="20815"/>
          <ac:spMkLst>
            <pc:docMk/>
            <pc:sldMk cId="844508133" sldId="301"/>
            <ac:spMk id="17" creationId="{D9291D3E-BA61-5DBB-7635-A59249C1AA49}"/>
          </ac:spMkLst>
        </pc:spChg>
        <pc:spChg chg="del mod ord topLvl">
          <ac:chgData name="Aryan Tah (MiddleEast)" userId="7f6066b6-35e9-4d47-9d15-8917e2720a06" providerId="ADAL" clId="{CB224072-EA94-4500-BB44-FA94C70FEF2B}" dt="2026-01-05T10:58:47.125" v="20343" actId="478"/>
          <ac:spMkLst>
            <pc:docMk/>
            <pc:sldMk cId="844508133" sldId="301"/>
            <ac:spMk id="18" creationId="{DCC5748A-AC81-4D6E-2EA0-77842441967B}"/>
          </ac:spMkLst>
        </pc:spChg>
        <pc:spChg chg="add del mod">
          <ac:chgData name="Aryan Tah (MiddleEast)" userId="7f6066b6-35e9-4d47-9d15-8917e2720a06" providerId="ADAL" clId="{CB224072-EA94-4500-BB44-FA94C70FEF2B}" dt="2026-01-05T09:10:37.376" v="12125" actId="478"/>
          <ac:spMkLst>
            <pc:docMk/>
            <pc:sldMk cId="844508133" sldId="301"/>
            <ac:spMk id="21" creationId="{DF2401A3-C0C8-EDF1-C476-1B3D4B2768FD}"/>
          </ac:spMkLst>
        </pc:spChg>
        <pc:spChg chg="add mod ord">
          <ac:chgData name="Aryan Tah (MiddleEast)" userId="7f6066b6-35e9-4d47-9d15-8917e2720a06" providerId="ADAL" clId="{CB224072-EA94-4500-BB44-FA94C70FEF2B}" dt="2026-01-05T11:03:23.596" v="20763"/>
          <ac:spMkLst>
            <pc:docMk/>
            <pc:sldMk cId="844508133" sldId="301"/>
            <ac:spMk id="26" creationId="{5009898C-BAF0-0D39-5FBE-186CD576B0F1}"/>
          </ac:spMkLst>
        </pc:spChg>
        <pc:spChg chg="add mod ord">
          <ac:chgData name="Aryan Tah (MiddleEast)" userId="7f6066b6-35e9-4d47-9d15-8917e2720a06" providerId="ADAL" clId="{CB224072-EA94-4500-BB44-FA94C70FEF2B}" dt="2026-01-05T11:03:23.593" v="20753"/>
          <ac:spMkLst>
            <pc:docMk/>
            <pc:sldMk cId="844508133" sldId="301"/>
            <ac:spMk id="27" creationId="{07553A86-D2EA-7DED-02AD-7570867FAF89}"/>
          </ac:spMkLst>
        </pc:spChg>
        <pc:spChg chg="add mod ord">
          <ac:chgData name="Aryan Tah (MiddleEast)" userId="7f6066b6-35e9-4d47-9d15-8917e2720a06" providerId="ADAL" clId="{CB224072-EA94-4500-BB44-FA94C70FEF2B}" dt="2026-01-05T11:03:23.594" v="20755"/>
          <ac:spMkLst>
            <pc:docMk/>
            <pc:sldMk cId="844508133" sldId="301"/>
            <ac:spMk id="28" creationId="{2A621924-83E9-5BB3-BC73-DDD5427B0095}"/>
          </ac:spMkLst>
        </pc:spChg>
        <pc:spChg chg="add del mod ord">
          <ac:chgData name="Aryan Tah (MiddleEast)" userId="7f6066b6-35e9-4d47-9d15-8917e2720a06" providerId="ADAL" clId="{CB224072-EA94-4500-BB44-FA94C70FEF2B}" dt="2026-01-05T11:02:29.095" v="20599" actId="478"/>
          <ac:spMkLst>
            <pc:docMk/>
            <pc:sldMk cId="844508133" sldId="301"/>
            <ac:spMk id="29" creationId="{BB9D0D37-F14A-BD59-A7F6-6479F951F826}"/>
          </ac:spMkLst>
        </pc:spChg>
        <pc:spChg chg="add del mod">
          <ac:chgData name="Aryan Tah (MiddleEast)" userId="7f6066b6-35e9-4d47-9d15-8917e2720a06" providerId="ADAL" clId="{CB224072-EA94-4500-BB44-FA94C70FEF2B}" dt="2026-01-05T10:55:38.125" v="20067" actId="478"/>
          <ac:spMkLst>
            <pc:docMk/>
            <pc:sldMk cId="844508133" sldId="301"/>
            <ac:spMk id="30" creationId="{800496EB-2768-A12E-A4C1-D8433137EEBB}"/>
          </ac:spMkLst>
        </pc:spChg>
        <pc:spChg chg="del">
          <ac:chgData name="Aryan Tah (MiddleEast)" userId="7f6066b6-35e9-4d47-9d15-8917e2720a06" providerId="ADAL" clId="{CB224072-EA94-4500-BB44-FA94C70FEF2B}" dt="2026-01-05T09:04:23.025" v="12031" actId="478"/>
          <ac:spMkLst>
            <pc:docMk/>
            <pc:sldMk cId="844508133" sldId="301"/>
            <ac:spMk id="31" creationId="{F95365B1-225F-DB94-87BA-C1FCEFC78BCB}"/>
          </ac:spMkLst>
        </pc:spChg>
        <pc:spChg chg="del">
          <ac:chgData name="Aryan Tah (MiddleEast)" userId="7f6066b6-35e9-4d47-9d15-8917e2720a06" providerId="ADAL" clId="{CB224072-EA94-4500-BB44-FA94C70FEF2B}" dt="2026-01-05T09:04:23.025" v="12031" actId="478"/>
          <ac:spMkLst>
            <pc:docMk/>
            <pc:sldMk cId="844508133" sldId="301"/>
            <ac:spMk id="32" creationId="{5D2082D5-C6FB-4C28-0103-DA25F228E447}"/>
          </ac:spMkLst>
        </pc:spChg>
        <pc:spChg chg="del">
          <ac:chgData name="Aryan Tah (MiddleEast)" userId="7f6066b6-35e9-4d47-9d15-8917e2720a06" providerId="ADAL" clId="{CB224072-EA94-4500-BB44-FA94C70FEF2B}" dt="2026-01-05T09:04:23.025" v="12031" actId="478"/>
          <ac:spMkLst>
            <pc:docMk/>
            <pc:sldMk cId="844508133" sldId="301"/>
            <ac:spMk id="33" creationId="{14CD0A72-87D1-CEA6-2C67-1992911288DD}"/>
          </ac:spMkLst>
        </pc:spChg>
        <pc:spChg chg="add del mod">
          <ac:chgData name="Aryan Tah (MiddleEast)" userId="7f6066b6-35e9-4d47-9d15-8917e2720a06" providerId="ADAL" clId="{CB224072-EA94-4500-BB44-FA94C70FEF2B}" dt="2026-01-05T10:56:23.759" v="20084" actId="478"/>
          <ac:spMkLst>
            <pc:docMk/>
            <pc:sldMk cId="844508133" sldId="301"/>
            <ac:spMk id="34" creationId="{153A3F1C-E742-1945-2308-BE55ECC491A2}"/>
          </ac:spMkLst>
        </pc:spChg>
        <pc:spChg chg="del">
          <ac:chgData name="Aryan Tah (MiddleEast)" userId="7f6066b6-35e9-4d47-9d15-8917e2720a06" providerId="ADAL" clId="{CB224072-EA94-4500-BB44-FA94C70FEF2B}" dt="2026-01-05T09:04:23.025" v="12031" actId="478"/>
          <ac:spMkLst>
            <pc:docMk/>
            <pc:sldMk cId="844508133" sldId="301"/>
            <ac:spMk id="36" creationId="{5ECAFFD5-0D7D-A216-4E66-A4B98AB25AE9}"/>
          </ac:spMkLst>
        </pc:spChg>
        <pc:spChg chg="del">
          <ac:chgData name="Aryan Tah (MiddleEast)" userId="7f6066b6-35e9-4d47-9d15-8917e2720a06" providerId="ADAL" clId="{CB224072-EA94-4500-BB44-FA94C70FEF2B}" dt="2026-01-05T09:04:23.025" v="12031" actId="478"/>
          <ac:spMkLst>
            <pc:docMk/>
            <pc:sldMk cId="844508133" sldId="301"/>
            <ac:spMk id="37" creationId="{515193AC-FCA2-3258-07CD-C2AE4684D16E}"/>
          </ac:spMkLst>
        </pc:spChg>
        <pc:spChg chg="del">
          <ac:chgData name="Aryan Tah (MiddleEast)" userId="7f6066b6-35e9-4d47-9d15-8917e2720a06" providerId="ADAL" clId="{CB224072-EA94-4500-BB44-FA94C70FEF2B}" dt="2026-01-05T09:04:23.025" v="12031" actId="478"/>
          <ac:spMkLst>
            <pc:docMk/>
            <pc:sldMk cId="844508133" sldId="301"/>
            <ac:spMk id="39" creationId="{70258337-3739-6AFD-E679-099D856BE852}"/>
          </ac:spMkLst>
        </pc:spChg>
        <pc:spChg chg="del">
          <ac:chgData name="Aryan Tah (MiddleEast)" userId="7f6066b6-35e9-4d47-9d15-8917e2720a06" providerId="ADAL" clId="{CB224072-EA94-4500-BB44-FA94C70FEF2B}" dt="2026-01-05T09:04:23.025" v="12031" actId="478"/>
          <ac:spMkLst>
            <pc:docMk/>
            <pc:sldMk cId="844508133" sldId="301"/>
            <ac:spMk id="40" creationId="{E759212B-7769-C0B8-0654-6E1E91C31699}"/>
          </ac:spMkLst>
        </pc:spChg>
        <pc:spChg chg="add mod ord">
          <ac:chgData name="Aryan Tah (MiddleEast)" userId="7f6066b6-35e9-4d47-9d15-8917e2720a06" providerId="ADAL" clId="{CB224072-EA94-4500-BB44-FA94C70FEF2B}" dt="2026-01-05T11:03:23.585" v="20727"/>
          <ac:spMkLst>
            <pc:docMk/>
            <pc:sldMk cId="844508133" sldId="301"/>
            <ac:spMk id="41" creationId="{0E8332CD-4328-52C4-6E13-CDFC75F579A0}"/>
          </ac:spMkLst>
        </pc:spChg>
        <pc:spChg chg="del">
          <ac:chgData name="Aryan Tah (MiddleEast)" userId="7f6066b6-35e9-4d47-9d15-8917e2720a06" providerId="ADAL" clId="{CB224072-EA94-4500-BB44-FA94C70FEF2B}" dt="2026-01-05T09:04:23.025" v="12031" actId="478"/>
          <ac:spMkLst>
            <pc:docMk/>
            <pc:sldMk cId="844508133" sldId="301"/>
            <ac:spMk id="42" creationId="{84D806F5-38FF-9332-8C2D-0BEE3BA183A1}"/>
          </ac:spMkLst>
        </pc:spChg>
        <pc:spChg chg="add del mod modVis">
          <ac:chgData name="Aryan Tah (MiddleEast)" userId="7f6066b6-35e9-4d47-9d15-8917e2720a06" providerId="ADAL" clId="{CB224072-EA94-4500-BB44-FA94C70FEF2B}" dt="2026-01-05T10:58:26.523" v="20231"/>
          <ac:spMkLst>
            <pc:docMk/>
            <pc:sldMk cId="844508133" sldId="301"/>
            <ac:spMk id="45" creationId="{C6130CBF-39C7-E027-9371-5362E8116CB5}"/>
          </ac:spMkLst>
        </pc:spChg>
        <pc:spChg chg="del">
          <ac:chgData name="Aryan Tah (MiddleEast)" userId="7f6066b6-35e9-4d47-9d15-8917e2720a06" providerId="ADAL" clId="{CB224072-EA94-4500-BB44-FA94C70FEF2B}" dt="2026-01-05T09:04:23.025" v="12031" actId="478"/>
          <ac:spMkLst>
            <pc:docMk/>
            <pc:sldMk cId="844508133" sldId="301"/>
            <ac:spMk id="47" creationId="{F0E57763-9D67-2E65-9840-EB73F0F4E846}"/>
          </ac:spMkLst>
        </pc:spChg>
        <pc:spChg chg="del">
          <ac:chgData name="Aryan Tah (MiddleEast)" userId="7f6066b6-35e9-4d47-9d15-8917e2720a06" providerId="ADAL" clId="{CB224072-EA94-4500-BB44-FA94C70FEF2B}" dt="2026-01-05T09:04:23.025" v="12031" actId="478"/>
          <ac:spMkLst>
            <pc:docMk/>
            <pc:sldMk cId="844508133" sldId="301"/>
            <ac:spMk id="48" creationId="{EB324DB1-0090-57B0-858A-F4C6DD5CBA08}"/>
          </ac:spMkLst>
        </pc:spChg>
        <pc:spChg chg="add mod ord">
          <ac:chgData name="Aryan Tah (MiddleEast)" userId="7f6066b6-35e9-4d47-9d15-8917e2720a06" providerId="ADAL" clId="{CB224072-EA94-4500-BB44-FA94C70FEF2B}" dt="2026-01-05T11:03:23.595" v="20759"/>
          <ac:spMkLst>
            <pc:docMk/>
            <pc:sldMk cId="844508133" sldId="301"/>
            <ac:spMk id="49" creationId="{127B22CD-E5CD-0443-0A35-74079D4102B6}"/>
          </ac:spMkLst>
        </pc:spChg>
        <pc:spChg chg="add del mod">
          <ac:chgData name="Aryan Tah (MiddleEast)" userId="7f6066b6-35e9-4d47-9d15-8917e2720a06" providerId="ADAL" clId="{CB224072-EA94-4500-BB44-FA94C70FEF2B}" dt="2026-01-05T11:01:09.717" v="20532" actId="478"/>
          <ac:spMkLst>
            <pc:docMk/>
            <pc:sldMk cId="844508133" sldId="301"/>
            <ac:spMk id="50" creationId="{17E123B8-82E5-53FB-BA4D-49ECD279CA1E}"/>
          </ac:spMkLst>
        </pc:spChg>
        <pc:spChg chg="add">
          <ac:chgData name="Aryan Tah (MiddleEast)" userId="7f6066b6-35e9-4d47-9d15-8917e2720a06" providerId="ADAL" clId="{CB224072-EA94-4500-BB44-FA94C70FEF2B}" dt="2026-01-05T11:01:13.007" v="20533"/>
          <ac:spMkLst>
            <pc:docMk/>
            <pc:sldMk cId="844508133" sldId="301"/>
            <ac:spMk id="51" creationId="{BECA53EF-209F-9B95-8B61-E66668986D5D}"/>
          </ac:spMkLst>
        </pc:spChg>
        <pc:spChg chg="add del mod">
          <ac:chgData name="Aryan Tah (MiddleEast)" userId="7f6066b6-35e9-4d47-9d15-8917e2720a06" providerId="ADAL" clId="{CB224072-EA94-4500-BB44-FA94C70FEF2B}" dt="2026-01-05T11:01:22.525" v="20536" actId="478"/>
          <ac:spMkLst>
            <pc:docMk/>
            <pc:sldMk cId="844508133" sldId="301"/>
            <ac:spMk id="52" creationId="{0F142108-CFAC-9479-D430-206D719F9898}"/>
          </ac:spMkLst>
        </pc:spChg>
        <pc:spChg chg="add del">
          <ac:chgData name="Aryan Tah (MiddleEast)" userId="7f6066b6-35e9-4d47-9d15-8917e2720a06" providerId="ADAL" clId="{CB224072-EA94-4500-BB44-FA94C70FEF2B}" dt="2026-01-05T11:01:45.434" v="20538" actId="478"/>
          <ac:spMkLst>
            <pc:docMk/>
            <pc:sldMk cId="844508133" sldId="301"/>
            <ac:spMk id="53" creationId="{46B469EB-79E2-3B5A-9D75-42C72B3838D7}"/>
          </ac:spMkLst>
        </pc:spChg>
        <pc:spChg chg="add mod ord">
          <ac:chgData name="Aryan Tah (MiddleEast)" userId="7f6066b6-35e9-4d47-9d15-8917e2720a06" providerId="ADAL" clId="{CB224072-EA94-4500-BB44-FA94C70FEF2B}" dt="2026-01-05T11:05:13.531" v="20801"/>
          <ac:spMkLst>
            <pc:docMk/>
            <pc:sldMk cId="844508133" sldId="301"/>
            <ac:spMk id="54" creationId="{34D1BC27-A3F5-5840-24F9-71633B2F98D1}"/>
          </ac:spMkLst>
        </pc:spChg>
        <pc:spChg chg="add del mod">
          <ac:chgData name="Aryan Tah (MiddleEast)" userId="7f6066b6-35e9-4d47-9d15-8917e2720a06" providerId="ADAL" clId="{CB224072-EA94-4500-BB44-FA94C70FEF2B}" dt="2026-01-05T11:04:56.975" v="20794" actId="478"/>
          <ac:spMkLst>
            <pc:docMk/>
            <pc:sldMk cId="844508133" sldId="301"/>
            <ac:spMk id="60" creationId="{E8BCC949-6DF1-177B-CF29-38BCC77526A0}"/>
          </ac:spMkLst>
        </pc:spChg>
        <pc:graphicFrameChg chg="mod">
          <ac:chgData name="Aryan Tah (MiddleEast)" userId="7f6066b6-35e9-4d47-9d15-8917e2720a06" providerId="ADAL" clId="{CB224072-EA94-4500-BB44-FA94C70FEF2B}" dt="2026-01-05T11:03:23.599" v="20771"/>
          <ac:graphicFrameMkLst>
            <pc:docMk/>
            <pc:sldMk cId="844508133" sldId="301"/>
            <ac:graphicFrameMk id="20" creationId="{3F9980DE-8924-D796-4365-6E126D1B9D29}"/>
          </ac:graphicFrameMkLst>
        </pc:graphicFrameChg>
        <pc:picChg chg="add mod ord">
          <ac:chgData name="Aryan Tah (MiddleEast)" userId="7f6066b6-35e9-4d47-9d15-8917e2720a06" providerId="ADAL" clId="{CB224072-EA94-4500-BB44-FA94C70FEF2B}" dt="2026-01-05T11:32:30.204" v="20843" actId="1036"/>
          <ac:picMkLst>
            <pc:docMk/>
            <pc:sldMk cId="844508133" sldId="301"/>
            <ac:picMk id="19" creationId="{FDB42610-0038-DD84-9519-2065A2E7903D}"/>
          </ac:picMkLst>
        </pc:picChg>
        <pc:picChg chg="add mod ord">
          <ac:chgData name="Aryan Tah (MiddleEast)" userId="7f6066b6-35e9-4d47-9d15-8917e2720a06" providerId="ADAL" clId="{CB224072-EA94-4500-BB44-FA94C70FEF2B}" dt="2026-01-05T11:32:30.204" v="20843" actId="1036"/>
          <ac:picMkLst>
            <pc:docMk/>
            <pc:sldMk cId="844508133" sldId="301"/>
            <ac:picMk id="43" creationId="{16A83B4E-E296-B87C-3F06-9EA0CA9AA6EC}"/>
          </ac:picMkLst>
        </pc:picChg>
        <pc:picChg chg="add mod">
          <ac:chgData name="Aryan Tah (MiddleEast)" userId="7f6066b6-35e9-4d47-9d15-8917e2720a06" providerId="ADAL" clId="{CB224072-EA94-4500-BB44-FA94C70FEF2B}" dt="2026-01-05T11:06:59.510" v="20829" actId="1076"/>
          <ac:picMkLst>
            <pc:docMk/>
            <pc:sldMk cId="844508133" sldId="301"/>
            <ac:picMk id="55" creationId="{CC3D5856-4C2B-03E3-2B41-AC084EFCE0AD}"/>
          </ac:picMkLst>
        </pc:picChg>
        <pc:picChg chg="add mod">
          <ac:chgData name="Aryan Tah (MiddleEast)" userId="7f6066b6-35e9-4d47-9d15-8917e2720a06" providerId="ADAL" clId="{CB224072-EA94-4500-BB44-FA94C70FEF2B}" dt="2026-01-05T11:06:59.510" v="20829" actId="1076"/>
          <ac:picMkLst>
            <pc:docMk/>
            <pc:sldMk cId="844508133" sldId="301"/>
            <ac:picMk id="56" creationId="{299F90AC-012A-47E0-A54E-CC4C914D4A45}"/>
          </ac:picMkLst>
        </pc:picChg>
        <pc:picChg chg="add mod">
          <ac:chgData name="Aryan Tah (MiddleEast)" userId="7f6066b6-35e9-4d47-9d15-8917e2720a06" providerId="ADAL" clId="{CB224072-EA94-4500-BB44-FA94C70FEF2B}" dt="2026-01-05T11:06:59.510" v="20829" actId="1076"/>
          <ac:picMkLst>
            <pc:docMk/>
            <pc:sldMk cId="844508133" sldId="301"/>
            <ac:picMk id="57" creationId="{2E1C5451-BEDE-8B46-5942-BA268B089BE5}"/>
          </ac:picMkLst>
        </pc:picChg>
        <pc:picChg chg="add del mod">
          <ac:chgData name="Aryan Tah (MiddleEast)" userId="7f6066b6-35e9-4d47-9d15-8917e2720a06" providerId="ADAL" clId="{CB224072-EA94-4500-BB44-FA94C70FEF2B}" dt="2026-01-05T11:04:09.603" v="20777" actId="478"/>
          <ac:picMkLst>
            <pc:docMk/>
            <pc:sldMk cId="844508133" sldId="301"/>
            <ac:picMk id="59" creationId="{26FA1F57-38EE-B221-0CC3-3056CAEBB588}"/>
          </ac:picMkLst>
        </pc:picChg>
        <pc:picChg chg="add mod">
          <ac:chgData name="Aryan Tah (MiddleEast)" userId="7f6066b6-35e9-4d47-9d15-8917e2720a06" providerId="ADAL" clId="{CB224072-EA94-4500-BB44-FA94C70FEF2B}" dt="2026-01-05T11:06:59.510" v="20829" actId="1076"/>
          <ac:picMkLst>
            <pc:docMk/>
            <pc:sldMk cId="844508133" sldId="301"/>
            <ac:picMk id="61" creationId="{1AE3E3DF-5D4F-0D54-9467-38776640A46D}"/>
          </ac:picMkLst>
        </pc:picChg>
        <pc:picChg chg="add mod">
          <ac:chgData name="Aryan Tah (MiddleEast)" userId="7f6066b6-35e9-4d47-9d15-8917e2720a06" providerId="ADAL" clId="{CB224072-EA94-4500-BB44-FA94C70FEF2B}" dt="2026-01-05T11:06:59.510" v="20829" actId="1076"/>
          <ac:picMkLst>
            <pc:docMk/>
            <pc:sldMk cId="844508133" sldId="301"/>
            <ac:picMk id="62" creationId="{81D7DD1B-DA9D-795A-3ED0-2871563F2482}"/>
          </ac:picMkLst>
        </pc:picChg>
        <pc:picChg chg="add mod">
          <ac:chgData name="Aryan Tah (MiddleEast)" userId="7f6066b6-35e9-4d47-9d15-8917e2720a06" providerId="ADAL" clId="{CB224072-EA94-4500-BB44-FA94C70FEF2B}" dt="2026-01-05T11:06:59.510" v="20829" actId="1076"/>
          <ac:picMkLst>
            <pc:docMk/>
            <pc:sldMk cId="844508133" sldId="301"/>
            <ac:picMk id="63" creationId="{EB7A1729-DE82-A8E7-2890-5A098CF26D5E}"/>
          </ac:picMkLst>
        </pc:picChg>
        <pc:picChg chg="add mod">
          <ac:chgData name="Aryan Tah (MiddleEast)" userId="7f6066b6-35e9-4d47-9d15-8917e2720a06" providerId="ADAL" clId="{CB224072-EA94-4500-BB44-FA94C70FEF2B}" dt="2026-01-05T11:06:59.510" v="20829" actId="1076"/>
          <ac:picMkLst>
            <pc:docMk/>
            <pc:sldMk cId="844508133" sldId="301"/>
            <ac:picMk id="9216" creationId="{68CE66E1-531A-AE19-AA03-62E47DA3D505}"/>
          </ac:picMkLst>
        </pc:picChg>
        <pc:picChg chg="add mod">
          <ac:chgData name="Aryan Tah (MiddleEast)" userId="7f6066b6-35e9-4d47-9d15-8917e2720a06" providerId="ADAL" clId="{CB224072-EA94-4500-BB44-FA94C70FEF2B}" dt="2026-01-05T11:06:59.510" v="20829" actId="1076"/>
          <ac:picMkLst>
            <pc:docMk/>
            <pc:sldMk cId="844508133" sldId="301"/>
            <ac:picMk id="9217" creationId="{C5C57899-57A6-47AA-F55C-5BCC1519F60B}"/>
          </ac:picMkLst>
        </pc:picChg>
        <pc:picChg chg="add mod">
          <ac:chgData name="Aryan Tah (MiddleEast)" userId="7f6066b6-35e9-4d47-9d15-8917e2720a06" providerId="ADAL" clId="{CB224072-EA94-4500-BB44-FA94C70FEF2B}" dt="2026-01-05T11:03:23.597" v="20766"/>
          <ac:picMkLst>
            <pc:docMk/>
            <pc:sldMk cId="844508133" sldId="301"/>
            <ac:picMk id="9218" creationId="{C592CC8D-4EA1-5389-E51B-DC924084F124}"/>
          </ac:picMkLst>
        </pc:picChg>
        <pc:picChg chg="add mod">
          <ac:chgData name="Aryan Tah (MiddleEast)" userId="7f6066b6-35e9-4d47-9d15-8917e2720a06" providerId="ADAL" clId="{CB224072-EA94-4500-BB44-FA94C70FEF2B}" dt="2026-01-05T11:06:59.510" v="20829" actId="1076"/>
          <ac:picMkLst>
            <pc:docMk/>
            <pc:sldMk cId="844508133" sldId="301"/>
            <ac:picMk id="9219" creationId="{F89126DA-16B0-4438-007B-1D0F6AACA976}"/>
          </ac:picMkLst>
        </pc:picChg>
        <pc:picChg chg="add mod">
          <ac:chgData name="Aryan Tah (MiddleEast)" userId="7f6066b6-35e9-4d47-9d15-8917e2720a06" providerId="ADAL" clId="{CB224072-EA94-4500-BB44-FA94C70FEF2B}" dt="2026-01-05T11:03:23.596" v="20764"/>
          <ac:picMkLst>
            <pc:docMk/>
            <pc:sldMk cId="844508133" sldId="301"/>
            <ac:picMk id="9220" creationId="{F63827B4-411E-E0EF-9BC2-D2DA37F81674}"/>
          </ac:picMkLst>
        </pc:picChg>
        <pc:picChg chg="add mod">
          <ac:chgData name="Aryan Tah (MiddleEast)" userId="7f6066b6-35e9-4d47-9d15-8917e2720a06" providerId="ADAL" clId="{CB224072-EA94-4500-BB44-FA94C70FEF2B}" dt="2026-01-05T11:06:59.510" v="20829" actId="1076"/>
          <ac:picMkLst>
            <pc:docMk/>
            <pc:sldMk cId="844508133" sldId="301"/>
            <ac:picMk id="9221" creationId="{14B63AA7-307D-7A41-A8F7-4BA8CB6F787D}"/>
          </ac:picMkLst>
        </pc:picChg>
        <pc:picChg chg="add mod">
          <ac:chgData name="Aryan Tah (MiddleEast)" userId="7f6066b6-35e9-4d47-9d15-8917e2720a06" providerId="ADAL" clId="{CB224072-EA94-4500-BB44-FA94C70FEF2B}" dt="2026-01-05T11:03:23.597" v="20765"/>
          <ac:picMkLst>
            <pc:docMk/>
            <pc:sldMk cId="844508133" sldId="301"/>
            <ac:picMk id="9230" creationId="{9A11B753-E855-C2B5-7F94-DEA504A4CDE2}"/>
          </ac:picMkLst>
        </pc:picChg>
        <pc:picChg chg="add mod">
          <ac:chgData name="Aryan Tah (MiddleEast)" userId="7f6066b6-35e9-4d47-9d15-8917e2720a06" providerId="ADAL" clId="{CB224072-EA94-4500-BB44-FA94C70FEF2B}" dt="2026-01-05T11:07:33.282" v="20835"/>
          <ac:picMkLst>
            <pc:docMk/>
            <pc:sldMk cId="844508133" sldId="301"/>
            <ac:picMk id="9232" creationId="{E566D312-A12C-7CC1-C093-1310450CF401}"/>
          </ac:picMkLst>
        </pc:picChg>
        <pc:picChg chg="add mod">
          <ac:chgData name="Aryan Tah (MiddleEast)" userId="7f6066b6-35e9-4d47-9d15-8917e2720a06" providerId="ADAL" clId="{CB224072-EA94-4500-BB44-FA94C70FEF2B}" dt="2026-01-05T11:05:28.361" v="20808"/>
          <ac:picMkLst>
            <pc:docMk/>
            <pc:sldMk cId="844508133" sldId="301"/>
            <ac:picMk id="9234" creationId="{23A5C111-F70C-2649-B915-93E0FAA30E3C}"/>
          </ac:picMkLst>
        </pc:picChg>
        <pc:picChg chg="add mod">
          <ac:chgData name="Aryan Tah (MiddleEast)" userId="7f6066b6-35e9-4d47-9d15-8917e2720a06" providerId="ADAL" clId="{CB224072-EA94-4500-BB44-FA94C70FEF2B}" dt="2026-01-05T11:05:33.503" v="20816"/>
          <ac:picMkLst>
            <pc:docMk/>
            <pc:sldMk cId="844508133" sldId="301"/>
            <ac:picMk id="9236" creationId="{C8EAF8C6-E47B-F184-CF7A-A344D526EA51}"/>
          </ac:picMkLst>
        </pc:picChg>
        <pc:cxnChg chg="add mod ord">
          <ac:chgData name="Aryan Tah (MiddleEast)" userId="7f6066b6-35e9-4d47-9d15-8917e2720a06" providerId="ADAL" clId="{CB224072-EA94-4500-BB44-FA94C70FEF2B}" dt="2026-01-05T11:03:23.592" v="20749"/>
          <ac:cxnSpMkLst>
            <pc:docMk/>
            <pc:sldMk cId="844508133" sldId="301"/>
            <ac:cxnSpMk id="23" creationId="{29FFE02E-477B-2096-D3BA-2A75AA744D94}"/>
          </ac:cxnSpMkLst>
        </pc:cxnChg>
        <pc:cxnChg chg="add mod ord">
          <ac:chgData name="Aryan Tah (MiddleEast)" userId="7f6066b6-35e9-4d47-9d15-8917e2720a06" providerId="ADAL" clId="{CB224072-EA94-4500-BB44-FA94C70FEF2B}" dt="2026-01-05T11:03:23.595" v="20761"/>
          <ac:cxnSpMkLst>
            <pc:docMk/>
            <pc:sldMk cId="844508133" sldId="301"/>
            <ac:cxnSpMk id="24" creationId="{75E882AB-47D2-1963-7C5B-9131393E02EF}"/>
          </ac:cxnSpMkLst>
        </pc:cxnChg>
        <pc:cxnChg chg="add mod ord">
          <ac:chgData name="Aryan Tah (MiddleEast)" userId="7f6066b6-35e9-4d47-9d15-8917e2720a06" providerId="ADAL" clId="{CB224072-EA94-4500-BB44-FA94C70FEF2B}" dt="2026-01-05T11:03:23.593" v="20751"/>
          <ac:cxnSpMkLst>
            <pc:docMk/>
            <pc:sldMk cId="844508133" sldId="301"/>
            <ac:cxnSpMk id="25" creationId="{17D4AF71-D9CF-66A1-6787-A2C307356FBC}"/>
          </ac:cxnSpMkLst>
        </pc:cxnChg>
      </pc:sldChg>
      <pc:sldChg chg="addSp delSp modSp add mod">
        <pc:chgData name="Aryan Tah (MiddleEast)" userId="7f6066b6-35e9-4d47-9d15-8917e2720a06" providerId="ADAL" clId="{CB224072-EA94-4500-BB44-FA94C70FEF2B}" dt="2026-01-05T11:33:18.032" v="20862" actId="14861"/>
        <pc:sldMkLst>
          <pc:docMk/>
          <pc:sldMk cId="1676426875" sldId="302"/>
        </pc:sldMkLst>
        <pc:spChg chg="add mod">
          <ac:chgData name="Aryan Tah (MiddleEast)" userId="7f6066b6-35e9-4d47-9d15-8917e2720a06" providerId="ADAL" clId="{CB224072-EA94-4500-BB44-FA94C70FEF2B}" dt="2026-01-05T10:41:52.121" v="19854"/>
          <ac:spMkLst>
            <pc:docMk/>
            <pc:sldMk cId="1676426875" sldId="302"/>
            <ac:spMk id="2" creationId="{865C6F3A-E51B-3914-C7D7-F1C22AD16789}"/>
          </ac:spMkLst>
        </pc:spChg>
        <pc:spChg chg="add mod">
          <ac:chgData name="Aryan Tah (MiddleEast)" userId="7f6066b6-35e9-4d47-9d15-8917e2720a06" providerId="ADAL" clId="{CB224072-EA94-4500-BB44-FA94C70FEF2B}" dt="2026-01-05T10:41:57.245" v="19868"/>
          <ac:spMkLst>
            <pc:docMk/>
            <pc:sldMk cId="1676426875" sldId="302"/>
            <ac:spMk id="5" creationId="{4AAD200B-7A67-1780-4B48-136249883831}"/>
          </ac:spMkLst>
        </pc:spChg>
        <pc:spChg chg="mod">
          <ac:chgData name="Aryan Tah (MiddleEast)" userId="7f6066b6-35e9-4d47-9d15-8917e2720a06" providerId="ADAL" clId="{CB224072-EA94-4500-BB44-FA94C70FEF2B}" dt="2026-01-05T10:30:14.965" v="19838"/>
          <ac:spMkLst>
            <pc:docMk/>
            <pc:sldMk cId="1676426875" sldId="302"/>
            <ac:spMk id="7" creationId="{7CB81269-86D1-FED1-43FA-9F6C55B305CF}"/>
          </ac:spMkLst>
        </pc:spChg>
        <pc:spChg chg="del">
          <ac:chgData name="Aryan Tah (MiddleEast)" userId="7f6066b6-35e9-4d47-9d15-8917e2720a06" providerId="ADAL" clId="{CB224072-EA94-4500-BB44-FA94C70FEF2B}" dt="2026-01-05T10:23:39.648" v="19828" actId="478"/>
          <ac:spMkLst>
            <pc:docMk/>
            <pc:sldMk cId="1676426875" sldId="302"/>
            <ac:spMk id="12" creationId="{236C773A-D135-E86C-B9F7-848CAE382D48}"/>
          </ac:spMkLst>
        </pc:spChg>
        <pc:spChg chg="mod">
          <ac:chgData name="Aryan Tah (MiddleEast)" userId="7f6066b6-35e9-4d47-9d15-8917e2720a06" providerId="ADAL" clId="{CB224072-EA94-4500-BB44-FA94C70FEF2B}" dt="2026-01-05T10:24:04.914" v="19833" actId="207"/>
          <ac:spMkLst>
            <pc:docMk/>
            <pc:sldMk cId="1676426875" sldId="302"/>
            <ac:spMk id="18" creationId="{11E4DFFE-B611-0A5E-F0CC-184B6AB30582}"/>
          </ac:spMkLst>
        </pc:spChg>
        <pc:spChg chg="mod">
          <ac:chgData name="Aryan Tah (MiddleEast)" userId="7f6066b6-35e9-4d47-9d15-8917e2720a06" providerId="ADAL" clId="{CB224072-EA94-4500-BB44-FA94C70FEF2B}" dt="2026-01-05T10:24:22.078" v="19837" actId="207"/>
          <ac:spMkLst>
            <pc:docMk/>
            <pc:sldMk cId="1676426875" sldId="302"/>
            <ac:spMk id="20" creationId="{13B683E2-66AE-DC62-0525-D4B96D22286F}"/>
          </ac:spMkLst>
        </pc:spChg>
        <pc:spChg chg="add mod">
          <ac:chgData name="Aryan Tah (MiddleEast)" userId="7f6066b6-35e9-4d47-9d15-8917e2720a06" providerId="ADAL" clId="{CB224072-EA94-4500-BB44-FA94C70FEF2B}" dt="2026-01-05T10:42:02.845" v="19882"/>
          <ac:spMkLst>
            <pc:docMk/>
            <pc:sldMk cId="1676426875" sldId="302"/>
            <ac:spMk id="21" creationId="{8EDB944E-E19F-FC84-D8B3-3FE34E0357C5}"/>
          </ac:spMkLst>
        </pc:spChg>
        <pc:spChg chg="add mod">
          <ac:chgData name="Aryan Tah (MiddleEast)" userId="7f6066b6-35e9-4d47-9d15-8917e2720a06" providerId="ADAL" clId="{CB224072-EA94-4500-BB44-FA94C70FEF2B}" dt="2026-01-05T10:42:11.366" v="19896"/>
          <ac:spMkLst>
            <pc:docMk/>
            <pc:sldMk cId="1676426875" sldId="302"/>
            <ac:spMk id="22" creationId="{53D44880-229F-6412-D971-A3421A3D29FE}"/>
          </ac:spMkLst>
        </pc:spChg>
        <pc:spChg chg="add mod">
          <ac:chgData name="Aryan Tah (MiddleEast)" userId="7f6066b6-35e9-4d47-9d15-8917e2720a06" providerId="ADAL" clId="{CB224072-EA94-4500-BB44-FA94C70FEF2B}" dt="2026-01-05T10:42:19.871" v="19910"/>
          <ac:spMkLst>
            <pc:docMk/>
            <pc:sldMk cId="1676426875" sldId="302"/>
            <ac:spMk id="25" creationId="{6CB7D3AC-B6DC-2277-AE41-5B5A79B9509F}"/>
          </ac:spMkLst>
        </pc:spChg>
        <pc:spChg chg="add mod">
          <ac:chgData name="Aryan Tah (MiddleEast)" userId="7f6066b6-35e9-4d47-9d15-8917e2720a06" providerId="ADAL" clId="{CB224072-EA94-4500-BB44-FA94C70FEF2B}" dt="2026-01-05T10:30:51.514" v="19840"/>
          <ac:spMkLst>
            <pc:docMk/>
            <pc:sldMk cId="1676426875" sldId="302"/>
            <ac:spMk id="27" creationId="{7B3F6D6F-F986-2ABA-14D6-84A4376AC048}"/>
          </ac:spMkLst>
        </pc:spChg>
        <pc:spChg chg="del">
          <ac:chgData name="Aryan Tah (MiddleEast)" userId="7f6066b6-35e9-4d47-9d15-8917e2720a06" providerId="ADAL" clId="{CB224072-EA94-4500-BB44-FA94C70FEF2B}" dt="2026-01-05T10:23:39.648" v="19828" actId="478"/>
          <ac:spMkLst>
            <pc:docMk/>
            <pc:sldMk cId="1676426875" sldId="302"/>
            <ac:spMk id="29" creationId="{E36D2A8D-DEC4-5BED-8252-DC13593E982A}"/>
          </ac:spMkLst>
        </pc:spChg>
        <pc:spChg chg="add mod">
          <ac:chgData name="Aryan Tah (MiddleEast)" userId="7f6066b6-35e9-4d47-9d15-8917e2720a06" providerId="ADAL" clId="{CB224072-EA94-4500-BB44-FA94C70FEF2B}" dt="2026-01-05T10:30:51.514" v="19840"/>
          <ac:spMkLst>
            <pc:docMk/>
            <pc:sldMk cId="1676426875" sldId="302"/>
            <ac:spMk id="30" creationId="{1DE47CBA-F5A1-A397-DEA3-8C645ADF22EE}"/>
          </ac:spMkLst>
        </pc:spChg>
        <pc:spChg chg="del">
          <ac:chgData name="Aryan Tah (MiddleEast)" userId="7f6066b6-35e9-4d47-9d15-8917e2720a06" providerId="ADAL" clId="{CB224072-EA94-4500-BB44-FA94C70FEF2B}" dt="2026-01-05T10:23:39.648" v="19828" actId="478"/>
          <ac:spMkLst>
            <pc:docMk/>
            <pc:sldMk cId="1676426875" sldId="302"/>
            <ac:spMk id="31" creationId="{27763E51-EC6B-53C8-B84B-06DBE015AE9E}"/>
          </ac:spMkLst>
        </pc:spChg>
        <pc:spChg chg="del">
          <ac:chgData name="Aryan Tah (MiddleEast)" userId="7f6066b6-35e9-4d47-9d15-8917e2720a06" providerId="ADAL" clId="{CB224072-EA94-4500-BB44-FA94C70FEF2B}" dt="2026-01-05T10:23:39.648" v="19828" actId="478"/>
          <ac:spMkLst>
            <pc:docMk/>
            <pc:sldMk cId="1676426875" sldId="302"/>
            <ac:spMk id="33" creationId="{97966779-75EB-923C-CA46-8542DDD25051}"/>
          </ac:spMkLst>
        </pc:spChg>
        <pc:spChg chg="add mod topLvl">
          <ac:chgData name="Aryan Tah (MiddleEast)" userId="7f6066b6-35e9-4d47-9d15-8917e2720a06" providerId="ADAL" clId="{CB224072-EA94-4500-BB44-FA94C70FEF2B}" dt="2026-01-05T11:33:04.382" v="20859"/>
          <ac:spMkLst>
            <pc:docMk/>
            <pc:sldMk cId="1676426875" sldId="302"/>
            <ac:spMk id="37" creationId="{356578F9-56CC-C2DE-07C9-887F33541555}"/>
          </ac:spMkLst>
        </pc:spChg>
        <pc:spChg chg="add mod topLvl">
          <ac:chgData name="Aryan Tah (MiddleEast)" userId="7f6066b6-35e9-4d47-9d15-8917e2720a06" providerId="ADAL" clId="{CB224072-EA94-4500-BB44-FA94C70FEF2B}" dt="2026-01-05T11:32:57.956" v="20850"/>
          <ac:spMkLst>
            <pc:docMk/>
            <pc:sldMk cId="1676426875" sldId="302"/>
            <ac:spMk id="38" creationId="{AA98F188-EED0-414D-9293-DDE1D55AF91A}"/>
          </ac:spMkLst>
        </pc:spChg>
        <pc:spChg chg="add mod topLvl">
          <ac:chgData name="Aryan Tah (MiddleEast)" userId="7f6066b6-35e9-4d47-9d15-8917e2720a06" providerId="ADAL" clId="{CB224072-EA94-4500-BB44-FA94C70FEF2B}" dt="2026-01-05T11:32:57.956" v="20852"/>
          <ac:spMkLst>
            <pc:docMk/>
            <pc:sldMk cId="1676426875" sldId="302"/>
            <ac:spMk id="42" creationId="{A54A18D9-A936-85DE-7450-FF446099837D}"/>
          </ac:spMkLst>
        </pc:spChg>
        <pc:spChg chg="del">
          <ac:chgData name="Aryan Tah (MiddleEast)" userId="7f6066b6-35e9-4d47-9d15-8917e2720a06" providerId="ADAL" clId="{CB224072-EA94-4500-BB44-FA94C70FEF2B}" dt="2026-01-05T10:23:39.648" v="19828" actId="478"/>
          <ac:spMkLst>
            <pc:docMk/>
            <pc:sldMk cId="1676426875" sldId="302"/>
            <ac:spMk id="44" creationId="{1AD98914-E49D-2E90-1190-33D7861C00D7}"/>
          </ac:spMkLst>
        </pc:spChg>
        <pc:spChg chg="add mod topLvl">
          <ac:chgData name="Aryan Tah (MiddleEast)" userId="7f6066b6-35e9-4d47-9d15-8917e2720a06" providerId="ADAL" clId="{CB224072-EA94-4500-BB44-FA94C70FEF2B}" dt="2026-01-05T11:32:57.956" v="20854"/>
          <ac:spMkLst>
            <pc:docMk/>
            <pc:sldMk cId="1676426875" sldId="302"/>
            <ac:spMk id="46" creationId="{F897F0F8-7548-396F-7790-0E646B8404D9}"/>
          </ac:spMkLst>
        </pc:spChg>
        <pc:spChg chg="add mod topLvl">
          <ac:chgData name="Aryan Tah (MiddleEast)" userId="7f6066b6-35e9-4d47-9d15-8917e2720a06" providerId="ADAL" clId="{CB224072-EA94-4500-BB44-FA94C70FEF2B}" dt="2026-01-05T11:32:57.956" v="20856"/>
          <ac:spMkLst>
            <pc:docMk/>
            <pc:sldMk cId="1676426875" sldId="302"/>
            <ac:spMk id="47" creationId="{D27A1DF1-F91F-BBE2-67C4-39632D8DE16B}"/>
          </ac:spMkLst>
        </pc:spChg>
        <pc:spChg chg="del">
          <ac:chgData name="Aryan Tah (MiddleEast)" userId="7f6066b6-35e9-4d47-9d15-8917e2720a06" providerId="ADAL" clId="{CB224072-EA94-4500-BB44-FA94C70FEF2B}" dt="2026-01-05T10:23:39.648" v="19828" actId="478"/>
          <ac:spMkLst>
            <pc:docMk/>
            <pc:sldMk cId="1676426875" sldId="302"/>
            <ac:spMk id="52" creationId="{224D7E19-7F54-154F-57E2-AA38B3471C56}"/>
          </ac:spMkLst>
        </pc:spChg>
        <pc:spChg chg="add del mod">
          <ac:chgData name="Aryan Tah (MiddleEast)" userId="7f6066b6-35e9-4d47-9d15-8917e2720a06" providerId="ADAL" clId="{CB224072-EA94-4500-BB44-FA94C70FEF2B}" dt="2026-01-05T10:43:08.470" v="19921" actId="478"/>
          <ac:spMkLst>
            <pc:docMk/>
            <pc:sldMk cId="1676426875" sldId="302"/>
            <ac:spMk id="56" creationId="{5D7286FC-7493-5769-20EF-31441C5F1F6C}"/>
          </ac:spMkLst>
        </pc:spChg>
        <pc:spChg chg="add mod">
          <ac:chgData name="Aryan Tah (MiddleEast)" userId="7f6066b6-35e9-4d47-9d15-8917e2720a06" providerId="ADAL" clId="{CB224072-EA94-4500-BB44-FA94C70FEF2B}" dt="2026-01-05T10:51:32.508" v="19997" actId="164"/>
          <ac:spMkLst>
            <pc:docMk/>
            <pc:sldMk cId="1676426875" sldId="302"/>
            <ac:spMk id="57" creationId="{982D7E84-A0E0-D478-9F22-F8909364C0A7}"/>
          </ac:spMkLst>
        </pc:spChg>
        <pc:spChg chg="add del">
          <ac:chgData name="Aryan Tah (MiddleEast)" userId="7f6066b6-35e9-4d47-9d15-8917e2720a06" providerId="ADAL" clId="{CB224072-EA94-4500-BB44-FA94C70FEF2B}" dt="2026-01-05T10:49:29.650" v="19943" actId="478"/>
          <ac:spMkLst>
            <pc:docMk/>
            <pc:sldMk cId="1676426875" sldId="302"/>
            <ac:spMk id="61" creationId="{58512752-C249-25CC-34AA-A9754CE7820E}"/>
          </ac:spMkLst>
        </pc:spChg>
        <pc:spChg chg="add mod">
          <ac:chgData name="Aryan Tah (MiddleEast)" userId="7f6066b6-35e9-4d47-9d15-8917e2720a06" providerId="ADAL" clId="{CB224072-EA94-4500-BB44-FA94C70FEF2B}" dt="2026-01-05T10:52:51.976" v="20046" actId="403"/>
          <ac:spMkLst>
            <pc:docMk/>
            <pc:sldMk cId="1676426875" sldId="302"/>
            <ac:spMk id="66" creationId="{1EF62DCA-8507-8D2B-B45E-F9FA2CCB7949}"/>
          </ac:spMkLst>
        </pc:spChg>
        <pc:spChg chg="add mod">
          <ac:chgData name="Aryan Tah (MiddleEast)" userId="7f6066b6-35e9-4d47-9d15-8917e2720a06" providerId="ADAL" clId="{CB224072-EA94-4500-BB44-FA94C70FEF2B}" dt="2026-01-05T11:33:04.387" v="20861"/>
          <ac:spMkLst>
            <pc:docMk/>
            <pc:sldMk cId="1676426875" sldId="302"/>
            <ac:spMk id="75" creationId="{99AA5FDC-2E0A-F92A-B404-832C48EC386E}"/>
          </ac:spMkLst>
        </pc:spChg>
        <pc:spChg chg="del">
          <ac:chgData name="Aryan Tah (MiddleEast)" userId="7f6066b6-35e9-4d47-9d15-8917e2720a06" providerId="ADAL" clId="{CB224072-EA94-4500-BB44-FA94C70FEF2B}" dt="2026-01-05T10:23:39.648" v="19828" actId="478"/>
          <ac:spMkLst>
            <pc:docMk/>
            <pc:sldMk cId="1676426875" sldId="302"/>
            <ac:spMk id="78" creationId="{FEB4C094-760B-A4E2-658D-B26FD158E089}"/>
          </ac:spMkLst>
        </pc:spChg>
        <pc:spChg chg="add mod topLvl">
          <ac:chgData name="Aryan Tah (MiddleEast)" userId="7f6066b6-35e9-4d47-9d15-8917e2720a06" providerId="ADAL" clId="{CB224072-EA94-4500-BB44-FA94C70FEF2B}" dt="2026-01-05T10:52:33.770" v="20030" actId="164"/>
          <ac:spMkLst>
            <pc:docMk/>
            <pc:sldMk cId="1676426875" sldId="302"/>
            <ac:spMk id="85" creationId="{4D573901-ADD4-8807-434A-0C8C0AFA0F66}"/>
          </ac:spMkLst>
        </pc:spChg>
        <pc:spChg chg="add mod topLvl">
          <ac:chgData name="Aryan Tah (MiddleEast)" userId="7f6066b6-35e9-4d47-9d15-8917e2720a06" providerId="ADAL" clId="{CB224072-EA94-4500-BB44-FA94C70FEF2B}" dt="2026-01-05T10:52:33.770" v="20030" actId="164"/>
          <ac:spMkLst>
            <pc:docMk/>
            <pc:sldMk cId="1676426875" sldId="302"/>
            <ac:spMk id="87" creationId="{FA760F6C-E10A-4143-D95E-3A26FB544D1D}"/>
          </ac:spMkLst>
        </pc:spChg>
        <pc:spChg chg="del">
          <ac:chgData name="Aryan Tah (MiddleEast)" userId="7f6066b6-35e9-4d47-9d15-8917e2720a06" providerId="ADAL" clId="{CB224072-EA94-4500-BB44-FA94C70FEF2B}" dt="2026-01-05T10:23:43.670" v="19829" actId="478"/>
          <ac:spMkLst>
            <pc:docMk/>
            <pc:sldMk cId="1676426875" sldId="302"/>
            <ac:spMk id="91" creationId="{2B37F37F-E43D-4654-1E23-F04E110BBD1B}"/>
          </ac:spMkLst>
        </pc:spChg>
        <pc:spChg chg="del">
          <ac:chgData name="Aryan Tah (MiddleEast)" userId="7f6066b6-35e9-4d47-9d15-8917e2720a06" providerId="ADAL" clId="{CB224072-EA94-4500-BB44-FA94C70FEF2B}" dt="2026-01-05T10:23:43.670" v="19829" actId="478"/>
          <ac:spMkLst>
            <pc:docMk/>
            <pc:sldMk cId="1676426875" sldId="302"/>
            <ac:spMk id="92" creationId="{E38BCA59-7D10-711F-5265-FCBE99E9F4CE}"/>
          </ac:spMkLst>
        </pc:spChg>
        <pc:spChg chg="del">
          <ac:chgData name="Aryan Tah (MiddleEast)" userId="7f6066b6-35e9-4d47-9d15-8917e2720a06" providerId="ADAL" clId="{CB224072-EA94-4500-BB44-FA94C70FEF2B}" dt="2026-01-05T10:23:43.670" v="19829" actId="478"/>
          <ac:spMkLst>
            <pc:docMk/>
            <pc:sldMk cId="1676426875" sldId="302"/>
            <ac:spMk id="93" creationId="{CD4F5DC8-7D69-0617-0E5C-C2BEC636F153}"/>
          </ac:spMkLst>
        </pc:spChg>
        <pc:spChg chg="add del mod">
          <ac:chgData name="Aryan Tah (MiddleEast)" userId="7f6066b6-35e9-4d47-9d15-8917e2720a06" providerId="ADAL" clId="{CB224072-EA94-4500-BB44-FA94C70FEF2B}" dt="2026-01-05T11:33:02.089" v="20857" actId="478"/>
          <ac:spMkLst>
            <pc:docMk/>
            <pc:sldMk cId="1676426875" sldId="302"/>
            <ac:spMk id="117" creationId="{DF361BCB-56C8-3B3A-9BF8-64ED00445761}"/>
          </ac:spMkLst>
        </pc:spChg>
        <pc:spChg chg="del">
          <ac:chgData name="Aryan Tah (MiddleEast)" userId="7f6066b6-35e9-4d47-9d15-8917e2720a06" providerId="ADAL" clId="{CB224072-EA94-4500-BB44-FA94C70FEF2B}" dt="2026-01-05T10:23:39.648" v="19828" actId="478"/>
          <ac:spMkLst>
            <pc:docMk/>
            <pc:sldMk cId="1676426875" sldId="302"/>
            <ac:spMk id="119" creationId="{E630E7D5-AA4F-E6DC-4A19-B1BBF19373DB}"/>
          </ac:spMkLst>
        </pc:spChg>
        <pc:spChg chg="del">
          <ac:chgData name="Aryan Tah (MiddleEast)" userId="7f6066b6-35e9-4d47-9d15-8917e2720a06" providerId="ADAL" clId="{CB224072-EA94-4500-BB44-FA94C70FEF2B}" dt="2026-01-05T10:23:39.648" v="19828" actId="478"/>
          <ac:spMkLst>
            <pc:docMk/>
            <pc:sldMk cId="1676426875" sldId="302"/>
            <ac:spMk id="131" creationId="{BC4FC2A1-E678-C95D-41FE-BE8346C52A26}"/>
          </ac:spMkLst>
        </pc:spChg>
        <pc:spChg chg="del">
          <ac:chgData name="Aryan Tah (MiddleEast)" userId="7f6066b6-35e9-4d47-9d15-8917e2720a06" providerId="ADAL" clId="{CB224072-EA94-4500-BB44-FA94C70FEF2B}" dt="2026-01-05T10:23:39.648" v="19828" actId="478"/>
          <ac:spMkLst>
            <pc:docMk/>
            <pc:sldMk cId="1676426875" sldId="302"/>
            <ac:spMk id="132" creationId="{07CA197B-4991-976A-9F0E-00F48E037EB3}"/>
          </ac:spMkLst>
        </pc:spChg>
        <pc:grpChg chg="add del mod">
          <ac:chgData name="Aryan Tah (MiddleEast)" userId="7f6066b6-35e9-4d47-9d15-8917e2720a06" providerId="ADAL" clId="{CB224072-EA94-4500-BB44-FA94C70FEF2B}" dt="2026-01-05T10:41:44.058" v="19846" actId="165"/>
          <ac:grpSpMkLst>
            <pc:docMk/>
            <pc:sldMk cId="1676426875" sldId="302"/>
            <ac:grpSpMk id="51" creationId="{1DCA58C2-FF7F-BFDA-597F-22724186CC90}"/>
          </ac:grpSpMkLst>
        </pc:grpChg>
        <pc:grpChg chg="add mod">
          <ac:chgData name="Aryan Tah (MiddleEast)" userId="7f6066b6-35e9-4d47-9d15-8917e2720a06" providerId="ADAL" clId="{CB224072-EA94-4500-BB44-FA94C70FEF2B}" dt="2026-01-05T11:33:18.032" v="20862" actId="14861"/>
          <ac:grpSpMkLst>
            <pc:docMk/>
            <pc:sldMk cId="1676426875" sldId="302"/>
            <ac:grpSpMk id="76" creationId="{83CCAA46-CED7-AB1E-94A3-BC25402CA58E}"/>
          </ac:grpSpMkLst>
        </pc:grpChg>
        <pc:grpChg chg="add del mod">
          <ac:chgData name="Aryan Tah (MiddleEast)" userId="7f6066b6-35e9-4d47-9d15-8917e2720a06" providerId="ADAL" clId="{CB224072-EA94-4500-BB44-FA94C70FEF2B}" dt="2026-01-05T10:52:30.540" v="20029" actId="165"/>
          <ac:grpSpMkLst>
            <pc:docMk/>
            <pc:sldMk cId="1676426875" sldId="302"/>
            <ac:grpSpMk id="88" creationId="{6930AC86-3CD5-DB6A-BCA3-178C3BE755A4}"/>
          </ac:grpSpMkLst>
        </pc:grpChg>
        <pc:grpChg chg="add mod">
          <ac:chgData name="Aryan Tah (MiddleEast)" userId="7f6066b6-35e9-4d47-9d15-8917e2720a06" providerId="ADAL" clId="{CB224072-EA94-4500-BB44-FA94C70FEF2B}" dt="2026-01-05T10:52:37.632" v="20038" actId="14100"/>
          <ac:grpSpMkLst>
            <pc:docMk/>
            <pc:sldMk cId="1676426875" sldId="302"/>
            <ac:grpSpMk id="98" creationId="{8F1D7874-C1D5-6A20-CEA8-76A2C4A3DF26}"/>
          </ac:grpSpMkLst>
        </pc:grpChg>
        <pc:cxnChg chg="add mod">
          <ac:chgData name="Aryan Tah (MiddleEast)" userId="7f6066b6-35e9-4d47-9d15-8917e2720a06" providerId="ADAL" clId="{CB224072-EA94-4500-BB44-FA94C70FEF2B}" dt="2026-01-05T10:48:34.298" v="19936" actId="14100"/>
          <ac:cxnSpMkLst>
            <pc:docMk/>
            <pc:sldMk cId="1676426875" sldId="302"/>
            <ac:cxnSpMk id="32" creationId="{5D352B73-3755-DE37-1D7C-B951ACB3CB34}"/>
          </ac:cxnSpMkLst>
        </pc:cxnChg>
        <pc:cxnChg chg="add mod topLvl">
          <ac:chgData name="Aryan Tah (MiddleEast)" userId="7f6066b6-35e9-4d47-9d15-8917e2720a06" providerId="ADAL" clId="{CB224072-EA94-4500-BB44-FA94C70FEF2B}" dt="2026-01-05T10:52:30.540" v="20029" actId="165"/>
          <ac:cxnSpMkLst>
            <pc:docMk/>
            <pc:sldMk cId="1676426875" sldId="302"/>
            <ac:cxnSpMk id="82" creationId="{9F3DB549-D034-3734-1845-FFEA5A211198}"/>
          </ac:cxnSpMkLst>
        </pc:cxnChg>
      </pc:sldChg>
      <pc:sldChg chg="addSp delSp modSp add del mod">
        <pc:chgData name="Aryan Tah (MiddleEast)" userId="7f6066b6-35e9-4d47-9d15-8917e2720a06" providerId="ADAL" clId="{CB224072-EA94-4500-BB44-FA94C70FEF2B}" dt="2026-01-05T10:17:59.084" v="19691" actId="47"/>
        <pc:sldMkLst>
          <pc:docMk/>
          <pc:sldMk cId="2909719335" sldId="302"/>
        </pc:sldMkLst>
        <pc:spChg chg="del">
          <ac:chgData name="Aryan Tah (MiddleEast)" userId="7f6066b6-35e9-4d47-9d15-8917e2720a06" providerId="ADAL" clId="{CB224072-EA94-4500-BB44-FA94C70FEF2B}" dt="2026-01-05T09:28:23.397" v="12246" actId="478"/>
          <ac:spMkLst>
            <pc:docMk/>
            <pc:sldMk cId="2909719335" sldId="302"/>
            <ac:spMk id="2" creationId="{F0126E8D-E047-A2BF-F123-6CE4C94A75F2}"/>
          </ac:spMkLst>
        </pc:spChg>
        <pc:spChg chg="mod ord">
          <ac:chgData name="Aryan Tah (MiddleEast)" userId="7f6066b6-35e9-4d47-9d15-8917e2720a06" providerId="ADAL" clId="{CB224072-EA94-4500-BB44-FA94C70FEF2B}" dt="2026-01-05T10:09:10.218" v="19616"/>
          <ac:spMkLst>
            <pc:docMk/>
            <pc:sldMk cId="2909719335" sldId="302"/>
            <ac:spMk id="4" creationId="{134CA917-93E6-B4BC-282C-7D998B79245E}"/>
          </ac:spMkLst>
        </pc:spChg>
        <pc:spChg chg="del">
          <ac:chgData name="Aryan Tah (MiddleEast)" userId="7f6066b6-35e9-4d47-9d15-8917e2720a06" providerId="ADAL" clId="{CB224072-EA94-4500-BB44-FA94C70FEF2B}" dt="2026-01-05T09:28:25.824" v="12247" actId="478"/>
          <ac:spMkLst>
            <pc:docMk/>
            <pc:sldMk cId="2909719335" sldId="302"/>
            <ac:spMk id="5" creationId="{9C2434A7-1E25-27E5-158E-C7BC6BB8DDDD}"/>
          </ac:spMkLst>
        </pc:spChg>
        <pc:spChg chg="add mod topLvl">
          <ac:chgData name="Aryan Tah (MiddleEast)" userId="7f6066b6-35e9-4d47-9d15-8917e2720a06" providerId="ADAL" clId="{CB224072-EA94-4500-BB44-FA94C70FEF2B}" dt="2026-01-05T09:30:37.957" v="12283" actId="403"/>
          <ac:spMkLst>
            <pc:docMk/>
            <pc:sldMk cId="2909719335" sldId="302"/>
            <ac:spMk id="6" creationId="{1E045497-6610-070E-5D57-20DE2C1C007B}"/>
          </ac:spMkLst>
        </pc:spChg>
        <pc:spChg chg="del mod ord topLvl">
          <ac:chgData name="Aryan Tah (MiddleEast)" userId="7f6066b6-35e9-4d47-9d15-8917e2720a06" providerId="ADAL" clId="{CB224072-EA94-4500-BB44-FA94C70FEF2B}" dt="2026-01-05T09:39:02.195" v="12604" actId="478"/>
          <ac:spMkLst>
            <pc:docMk/>
            <pc:sldMk cId="2909719335" sldId="302"/>
            <ac:spMk id="7" creationId="{9B33A5C4-2B2B-CE2D-709D-40BCB1B06720}"/>
          </ac:spMkLst>
        </pc:spChg>
        <pc:spChg chg="add mod topLvl">
          <ac:chgData name="Aryan Tah (MiddleEast)" userId="7f6066b6-35e9-4d47-9d15-8917e2720a06" providerId="ADAL" clId="{CB224072-EA94-4500-BB44-FA94C70FEF2B}" dt="2026-01-05T09:30:37.957" v="12283" actId="403"/>
          <ac:spMkLst>
            <pc:docMk/>
            <pc:sldMk cId="2909719335" sldId="302"/>
            <ac:spMk id="8" creationId="{CF176665-0A78-65B1-440C-4055EA7B8DC8}"/>
          </ac:spMkLst>
        </pc:spChg>
        <pc:spChg chg="mod ord topLvl">
          <ac:chgData name="Aryan Tah (MiddleEast)" userId="7f6066b6-35e9-4d47-9d15-8917e2720a06" providerId="ADAL" clId="{CB224072-EA94-4500-BB44-FA94C70FEF2B}" dt="2026-01-05T09:38:13.790" v="12587" actId="164"/>
          <ac:spMkLst>
            <pc:docMk/>
            <pc:sldMk cId="2909719335" sldId="302"/>
            <ac:spMk id="9" creationId="{102475AC-0FC4-5CA4-6824-A8C4F0CA3584}"/>
          </ac:spMkLst>
        </pc:spChg>
        <pc:spChg chg="add mod topLvl">
          <ac:chgData name="Aryan Tah (MiddleEast)" userId="7f6066b6-35e9-4d47-9d15-8917e2720a06" providerId="ADAL" clId="{CB224072-EA94-4500-BB44-FA94C70FEF2B}" dt="2026-01-05T09:30:37.957" v="12283" actId="403"/>
          <ac:spMkLst>
            <pc:docMk/>
            <pc:sldMk cId="2909719335" sldId="302"/>
            <ac:spMk id="10" creationId="{F5B3B3E0-C6A8-4491-3131-F90E27E1F2F9}"/>
          </ac:spMkLst>
        </pc:spChg>
        <pc:spChg chg="mod ord">
          <ac:chgData name="Aryan Tah (MiddleEast)" userId="7f6066b6-35e9-4d47-9d15-8917e2720a06" providerId="ADAL" clId="{CB224072-EA94-4500-BB44-FA94C70FEF2B}" dt="2026-01-05T10:09:10.218" v="19618"/>
          <ac:spMkLst>
            <pc:docMk/>
            <pc:sldMk cId="2909719335" sldId="302"/>
            <ac:spMk id="11" creationId="{9A71CB65-2AEA-F9E8-D428-472D17F918E7}"/>
          </ac:spMkLst>
        </pc:spChg>
        <pc:spChg chg="mod ord topLvl">
          <ac:chgData name="Aryan Tah (MiddleEast)" userId="7f6066b6-35e9-4d47-9d15-8917e2720a06" providerId="ADAL" clId="{CB224072-EA94-4500-BB44-FA94C70FEF2B}" dt="2026-01-05T10:09:10.211" v="19592"/>
          <ac:spMkLst>
            <pc:docMk/>
            <pc:sldMk cId="2909719335" sldId="302"/>
            <ac:spMk id="14" creationId="{A02C0ED4-A663-76A6-2989-E7B0A0ACE104}"/>
          </ac:spMkLst>
        </pc:spChg>
        <pc:spChg chg="add mod ord">
          <ac:chgData name="Aryan Tah (MiddleEast)" userId="7f6066b6-35e9-4d47-9d15-8917e2720a06" providerId="ADAL" clId="{CB224072-EA94-4500-BB44-FA94C70FEF2B}" dt="2026-01-05T10:09:10.217" v="19612"/>
          <ac:spMkLst>
            <pc:docMk/>
            <pc:sldMk cId="2909719335" sldId="302"/>
            <ac:spMk id="17" creationId="{56468187-DB0E-3E1D-F2F1-9FFAA5940800}"/>
          </ac:spMkLst>
        </pc:spChg>
        <pc:spChg chg="add mod ord">
          <ac:chgData name="Aryan Tah (MiddleEast)" userId="7f6066b6-35e9-4d47-9d15-8917e2720a06" providerId="ADAL" clId="{CB224072-EA94-4500-BB44-FA94C70FEF2B}" dt="2026-01-05T10:09:10.216" v="19610"/>
          <ac:spMkLst>
            <pc:docMk/>
            <pc:sldMk cId="2909719335" sldId="302"/>
            <ac:spMk id="18" creationId="{F06F91E1-9C19-E5DF-19DD-5FD29923B94F}"/>
          </ac:spMkLst>
        </pc:spChg>
        <pc:spChg chg="mod ord topLvl">
          <ac:chgData name="Aryan Tah (MiddleEast)" userId="7f6066b6-35e9-4d47-9d15-8917e2720a06" providerId="ADAL" clId="{CB224072-EA94-4500-BB44-FA94C70FEF2B}" dt="2026-01-05T09:38:13.790" v="12587" actId="164"/>
          <ac:spMkLst>
            <pc:docMk/>
            <pc:sldMk cId="2909719335" sldId="302"/>
            <ac:spMk id="19" creationId="{E8012F37-9956-95F8-7381-439D3F73AD82}"/>
          </ac:spMkLst>
        </pc:spChg>
        <pc:spChg chg="mod ord topLvl">
          <ac:chgData name="Aryan Tah (MiddleEast)" userId="7f6066b6-35e9-4d47-9d15-8917e2720a06" providerId="ADAL" clId="{CB224072-EA94-4500-BB44-FA94C70FEF2B}" dt="2026-01-05T10:09:10.212" v="19594"/>
          <ac:spMkLst>
            <pc:docMk/>
            <pc:sldMk cId="2909719335" sldId="302"/>
            <ac:spMk id="20" creationId="{40F12368-9206-8479-3492-EC94BD05B5E5}"/>
          </ac:spMkLst>
        </pc:spChg>
        <pc:spChg chg="add del mod modVis">
          <ac:chgData name="Aryan Tah (MiddleEast)" userId="7f6066b6-35e9-4d47-9d15-8917e2720a06" providerId="ADAL" clId="{CB224072-EA94-4500-BB44-FA94C70FEF2B}" dt="2026-01-05T09:31:21.031" v="12347"/>
          <ac:spMkLst>
            <pc:docMk/>
            <pc:sldMk cId="2909719335" sldId="302"/>
            <ac:spMk id="21" creationId="{FDB7D4EB-A238-09B7-8343-EB215C3A7ACE}"/>
          </ac:spMkLst>
        </pc:spChg>
        <pc:spChg chg="mod ord">
          <ac:chgData name="Aryan Tah (MiddleEast)" userId="7f6066b6-35e9-4d47-9d15-8917e2720a06" providerId="ADAL" clId="{CB224072-EA94-4500-BB44-FA94C70FEF2B}" dt="2026-01-05T09:32:46.358" v="12569" actId="122"/>
          <ac:spMkLst>
            <pc:docMk/>
            <pc:sldMk cId="2909719335" sldId="302"/>
            <ac:spMk id="22" creationId="{228F7F06-0D69-7289-89D5-C3263F4A1646}"/>
          </ac:spMkLst>
        </pc:spChg>
        <pc:spChg chg="add mod">
          <ac:chgData name="Aryan Tah (MiddleEast)" userId="7f6066b6-35e9-4d47-9d15-8917e2720a06" providerId="ADAL" clId="{CB224072-EA94-4500-BB44-FA94C70FEF2B}" dt="2026-01-05T09:35:48.775" v="12571" actId="207"/>
          <ac:spMkLst>
            <pc:docMk/>
            <pc:sldMk cId="2909719335" sldId="302"/>
            <ac:spMk id="25" creationId="{9817A78D-5812-5867-3392-5F517315CE87}"/>
          </ac:spMkLst>
        </pc:spChg>
        <pc:spChg chg="add mod">
          <ac:chgData name="Aryan Tah (MiddleEast)" userId="7f6066b6-35e9-4d47-9d15-8917e2720a06" providerId="ADAL" clId="{CB224072-EA94-4500-BB44-FA94C70FEF2B}" dt="2026-01-05T09:35:48.775" v="12571" actId="207"/>
          <ac:spMkLst>
            <pc:docMk/>
            <pc:sldMk cId="2909719335" sldId="302"/>
            <ac:spMk id="26" creationId="{032D34D1-FEA0-9D2E-235F-6B159DE6B394}"/>
          </ac:spMkLst>
        </pc:spChg>
        <pc:spChg chg="mod ord">
          <ac:chgData name="Aryan Tah (MiddleEast)" userId="7f6066b6-35e9-4d47-9d15-8917e2720a06" providerId="ADAL" clId="{CB224072-EA94-4500-BB44-FA94C70FEF2B}" dt="2026-01-05T09:38:13.790" v="12587" actId="164"/>
          <ac:spMkLst>
            <pc:docMk/>
            <pc:sldMk cId="2909719335" sldId="302"/>
            <ac:spMk id="27" creationId="{83C05E75-836A-11B6-2AF2-5A3EF6B40BE6}"/>
          </ac:spMkLst>
        </pc:spChg>
        <pc:spChg chg="mod ord">
          <ac:chgData name="Aryan Tah (MiddleEast)" userId="7f6066b6-35e9-4d47-9d15-8917e2720a06" providerId="ADAL" clId="{CB224072-EA94-4500-BB44-FA94C70FEF2B}" dt="2026-01-05T10:09:10.219" v="19622"/>
          <ac:spMkLst>
            <pc:docMk/>
            <pc:sldMk cId="2909719335" sldId="302"/>
            <ac:spMk id="28" creationId="{C5A6BB98-9001-3314-9FB3-43504BF80AAA}"/>
          </ac:spMkLst>
        </pc:spChg>
        <pc:spChg chg="mod ord topLvl">
          <ac:chgData name="Aryan Tah (MiddleEast)" userId="7f6066b6-35e9-4d47-9d15-8917e2720a06" providerId="ADAL" clId="{CB224072-EA94-4500-BB44-FA94C70FEF2B}" dt="2026-01-05T10:09:10.212" v="19596"/>
          <ac:spMkLst>
            <pc:docMk/>
            <pc:sldMk cId="2909719335" sldId="302"/>
            <ac:spMk id="30" creationId="{849870F9-3183-A189-EB06-5BB6032E3D52}"/>
          </ac:spMkLst>
        </pc:spChg>
        <pc:spChg chg="mod ord">
          <ac:chgData name="Aryan Tah (MiddleEast)" userId="7f6066b6-35e9-4d47-9d15-8917e2720a06" providerId="ADAL" clId="{CB224072-EA94-4500-BB44-FA94C70FEF2B}" dt="2026-01-05T10:09:10.213" v="19598"/>
          <ac:spMkLst>
            <pc:docMk/>
            <pc:sldMk cId="2909719335" sldId="302"/>
            <ac:spMk id="32" creationId="{C1F5E498-0B29-A0F7-F1E5-C55E23515BE9}"/>
          </ac:spMkLst>
        </pc:spChg>
        <pc:spChg chg="mod">
          <ac:chgData name="Aryan Tah (MiddleEast)" userId="7f6066b6-35e9-4d47-9d15-8917e2720a06" providerId="ADAL" clId="{CB224072-EA94-4500-BB44-FA94C70FEF2B}" dt="2026-01-05T09:40:31.698" v="12894"/>
          <ac:spMkLst>
            <pc:docMk/>
            <pc:sldMk cId="2909719335" sldId="302"/>
            <ac:spMk id="34" creationId="{102475AC-0FC4-5CA4-6824-A8C4F0CA3584}"/>
          </ac:spMkLst>
        </pc:spChg>
        <pc:spChg chg="mod">
          <ac:chgData name="Aryan Tah (MiddleEast)" userId="7f6066b6-35e9-4d47-9d15-8917e2720a06" providerId="ADAL" clId="{CB224072-EA94-4500-BB44-FA94C70FEF2B}" dt="2026-01-05T09:40:31.698" v="12894"/>
          <ac:spMkLst>
            <pc:docMk/>
            <pc:sldMk cId="2909719335" sldId="302"/>
            <ac:spMk id="35" creationId="{E8012F37-9956-95F8-7381-439D3F73AD82}"/>
          </ac:spMkLst>
        </pc:spChg>
        <pc:spChg chg="mod">
          <ac:chgData name="Aryan Tah (MiddleEast)" userId="7f6066b6-35e9-4d47-9d15-8917e2720a06" providerId="ADAL" clId="{CB224072-EA94-4500-BB44-FA94C70FEF2B}" dt="2026-01-05T09:40:31.698" v="12894"/>
          <ac:spMkLst>
            <pc:docMk/>
            <pc:sldMk cId="2909719335" sldId="302"/>
            <ac:spMk id="36" creationId="{83C05E75-836A-11B6-2AF2-5A3EF6B40BE6}"/>
          </ac:spMkLst>
        </pc:spChg>
        <pc:spChg chg="mod ord topLvl">
          <ac:chgData name="Aryan Tah (MiddleEast)" userId="7f6066b6-35e9-4d47-9d15-8917e2720a06" providerId="ADAL" clId="{CB224072-EA94-4500-BB44-FA94C70FEF2B}" dt="2026-01-05T09:38:13.790" v="12587" actId="164"/>
          <ac:spMkLst>
            <pc:docMk/>
            <pc:sldMk cId="2909719335" sldId="302"/>
            <ac:spMk id="38" creationId="{30ED348B-0650-751A-9190-68FB6D951C38}"/>
          </ac:spMkLst>
        </pc:spChg>
        <pc:spChg chg="mod">
          <ac:chgData name="Aryan Tah (MiddleEast)" userId="7f6066b6-35e9-4d47-9d15-8917e2720a06" providerId="ADAL" clId="{CB224072-EA94-4500-BB44-FA94C70FEF2B}" dt="2026-01-05T09:40:31.698" v="12894"/>
          <ac:spMkLst>
            <pc:docMk/>
            <pc:sldMk cId="2909719335" sldId="302"/>
            <ac:spMk id="39" creationId="{30ED348B-0650-751A-9190-68FB6D951C38}"/>
          </ac:spMkLst>
        </pc:spChg>
        <pc:spChg chg="mod">
          <ac:chgData name="Aryan Tah (MiddleEast)" userId="7f6066b6-35e9-4d47-9d15-8917e2720a06" providerId="ADAL" clId="{CB224072-EA94-4500-BB44-FA94C70FEF2B}" dt="2026-01-05T09:46:21.415" v="12905" actId="1035"/>
          <ac:spMkLst>
            <pc:docMk/>
            <pc:sldMk cId="2909719335" sldId="302"/>
            <ac:spMk id="40" creationId="{A1E4F331-A64B-AE97-FE96-874E8E89D3D4}"/>
          </ac:spMkLst>
        </pc:spChg>
        <pc:spChg chg="mod">
          <ac:chgData name="Aryan Tah (MiddleEast)" userId="7f6066b6-35e9-4d47-9d15-8917e2720a06" providerId="ADAL" clId="{CB224072-EA94-4500-BB44-FA94C70FEF2B}" dt="2026-01-05T09:40:31.698" v="12894"/>
          <ac:spMkLst>
            <pc:docMk/>
            <pc:sldMk cId="2909719335" sldId="302"/>
            <ac:spMk id="41" creationId="{32BECB16-CD36-9CBC-9A82-BF801A24BBD8}"/>
          </ac:spMkLst>
        </pc:spChg>
        <pc:spChg chg="mod ord">
          <ac:chgData name="Aryan Tah (MiddleEast)" userId="7f6066b6-35e9-4d47-9d15-8917e2720a06" providerId="ADAL" clId="{CB224072-EA94-4500-BB44-FA94C70FEF2B}" dt="2026-01-05T09:38:13.790" v="12587" actId="164"/>
          <ac:spMkLst>
            <pc:docMk/>
            <pc:sldMk cId="2909719335" sldId="302"/>
            <ac:spMk id="42" creationId="{A1E4F331-A64B-AE97-FE96-874E8E89D3D4}"/>
          </ac:spMkLst>
        </pc:spChg>
        <pc:spChg chg="add mod ord topLvl">
          <ac:chgData name="Aryan Tah (MiddleEast)" userId="7f6066b6-35e9-4d47-9d15-8917e2720a06" providerId="ADAL" clId="{CB224072-EA94-4500-BB44-FA94C70FEF2B}" dt="2026-01-05T10:09:10.210" v="19588"/>
          <ac:spMkLst>
            <pc:docMk/>
            <pc:sldMk cId="2909719335" sldId="302"/>
            <ac:spMk id="50" creationId="{2E128697-8C4E-8C2F-AE56-1E4A4BA28BDA}"/>
          </ac:spMkLst>
        </pc:spChg>
        <pc:spChg chg="mod ord topLvl">
          <ac:chgData name="Aryan Tah (MiddleEast)" userId="7f6066b6-35e9-4d47-9d15-8917e2720a06" providerId="ADAL" clId="{CB224072-EA94-4500-BB44-FA94C70FEF2B}" dt="2026-01-05T09:38:13.790" v="12587" actId="164"/>
          <ac:spMkLst>
            <pc:docMk/>
            <pc:sldMk cId="2909719335" sldId="302"/>
            <ac:spMk id="52" creationId="{32BECB16-CD36-9CBC-9A82-BF801A24BBD8}"/>
          </ac:spMkLst>
        </pc:spChg>
        <pc:spChg chg="mod ord">
          <ac:chgData name="Aryan Tah (MiddleEast)" userId="7f6066b6-35e9-4d47-9d15-8917e2720a06" providerId="ADAL" clId="{CB224072-EA94-4500-BB44-FA94C70FEF2B}" dt="2026-01-05T10:09:10.217" v="19614"/>
          <ac:spMkLst>
            <pc:docMk/>
            <pc:sldMk cId="2909719335" sldId="302"/>
            <ac:spMk id="53" creationId="{019CC2BE-B54F-B9CD-E554-2A9E93725008}"/>
          </ac:spMkLst>
        </pc:spChg>
        <pc:spChg chg="mod ord topLvl">
          <ac:chgData name="Aryan Tah (MiddleEast)" userId="7f6066b6-35e9-4d47-9d15-8917e2720a06" providerId="ADAL" clId="{CB224072-EA94-4500-BB44-FA94C70FEF2B}" dt="2026-01-05T10:09:10.215" v="19606"/>
          <ac:spMkLst>
            <pc:docMk/>
            <pc:sldMk cId="2909719335" sldId="302"/>
            <ac:spMk id="61" creationId="{C9AD490F-4A82-F60E-83EC-7739E72246EC}"/>
          </ac:spMkLst>
        </pc:spChg>
        <pc:spChg chg="mod ord">
          <ac:chgData name="Aryan Tah (MiddleEast)" userId="7f6066b6-35e9-4d47-9d15-8917e2720a06" providerId="ADAL" clId="{CB224072-EA94-4500-BB44-FA94C70FEF2B}" dt="2026-01-05T10:09:10.221" v="19634"/>
          <ac:spMkLst>
            <pc:docMk/>
            <pc:sldMk cId="2909719335" sldId="302"/>
            <ac:spMk id="67" creationId="{178853CF-DDF6-3026-13C3-E3886B683C54}"/>
          </ac:spMkLst>
        </pc:spChg>
        <pc:spChg chg="mod ord">
          <ac:chgData name="Aryan Tah (MiddleEast)" userId="7f6066b6-35e9-4d47-9d15-8917e2720a06" providerId="ADAL" clId="{CB224072-EA94-4500-BB44-FA94C70FEF2B}" dt="2026-01-05T10:09:10.220" v="19628"/>
          <ac:spMkLst>
            <pc:docMk/>
            <pc:sldMk cId="2909719335" sldId="302"/>
            <ac:spMk id="72" creationId="{CC9E781E-F230-3572-B074-73EF864D20ED}"/>
          </ac:spMkLst>
        </pc:spChg>
        <pc:spChg chg="mod ord">
          <ac:chgData name="Aryan Tah (MiddleEast)" userId="7f6066b6-35e9-4d47-9d15-8917e2720a06" providerId="ADAL" clId="{CB224072-EA94-4500-BB44-FA94C70FEF2B}" dt="2026-01-05T10:09:10.220" v="19630"/>
          <ac:spMkLst>
            <pc:docMk/>
            <pc:sldMk cId="2909719335" sldId="302"/>
            <ac:spMk id="73" creationId="{CCF30C1C-E08E-2DC5-35B4-65A1BD6D6F26}"/>
          </ac:spMkLst>
        </pc:spChg>
        <pc:spChg chg="mod ord">
          <ac:chgData name="Aryan Tah (MiddleEast)" userId="7f6066b6-35e9-4d47-9d15-8917e2720a06" providerId="ADAL" clId="{CB224072-EA94-4500-BB44-FA94C70FEF2B}" dt="2026-01-05T10:09:10.221" v="19632"/>
          <ac:spMkLst>
            <pc:docMk/>
            <pc:sldMk cId="2909719335" sldId="302"/>
            <ac:spMk id="74" creationId="{6D44C9DF-817A-FC5F-4D8A-BC7E6BE6FB63}"/>
          </ac:spMkLst>
        </pc:spChg>
        <pc:spChg chg="mod ord topLvl">
          <ac:chgData name="Aryan Tah (MiddleEast)" userId="7f6066b6-35e9-4d47-9d15-8917e2720a06" providerId="ADAL" clId="{CB224072-EA94-4500-BB44-FA94C70FEF2B}" dt="2026-01-05T10:09:10.211" v="19590"/>
          <ac:spMkLst>
            <pc:docMk/>
            <pc:sldMk cId="2909719335" sldId="302"/>
            <ac:spMk id="76" creationId="{3E91B533-E307-9F3D-C404-57D64D73E7C4}"/>
          </ac:spMkLst>
        </pc:spChg>
        <pc:spChg chg="mod ord">
          <ac:chgData name="Aryan Tah (MiddleEast)" userId="7f6066b6-35e9-4d47-9d15-8917e2720a06" providerId="ADAL" clId="{CB224072-EA94-4500-BB44-FA94C70FEF2B}" dt="2026-01-05T10:09:10.222" v="19636"/>
          <ac:spMkLst>
            <pc:docMk/>
            <pc:sldMk cId="2909719335" sldId="302"/>
            <ac:spMk id="77" creationId="{38D88B89-C7F4-58AF-7DC1-EFCED24EDA62}"/>
          </ac:spMkLst>
        </pc:spChg>
        <pc:spChg chg="add mod">
          <ac:chgData name="Aryan Tah (MiddleEast)" userId="7f6066b6-35e9-4d47-9d15-8917e2720a06" providerId="ADAL" clId="{CB224072-EA94-4500-BB44-FA94C70FEF2B}" dt="2026-01-05T10:09:10.227" v="19659"/>
          <ac:spMkLst>
            <pc:docMk/>
            <pc:sldMk cId="2909719335" sldId="302"/>
            <ac:spMk id="82" creationId="{9B79D1B1-E945-AB44-95FA-8AA92554CA1B}"/>
          </ac:spMkLst>
        </pc:spChg>
        <pc:spChg chg="del mod">
          <ac:chgData name="Aryan Tah (MiddleEast)" userId="7f6066b6-35e9-4d47-9d15-8917e2720a06" providerId="ADAL" clId="{CB224072-EA94-4500-BB44-FA94C70FEF2B}" dt="2026-01-05T10:07:49.323" v="15877"/>
          <ac:spMkLst>
            <pc:docMk/>
            <pc:sldMk cId="2909719335" sldId="302"/>
            <ac:spMk id="83" creationId="{C363C54A-2537-A5D5-703D-68946FB96BB1}"/>
          </ac:spMkLst>
        </pc:spChg>
        <pc:spChg chg="mod">
          <ac:chgData name="Aryan Tah (MiddleEast)" userId="7f6066b6-35e9-4d47-9d15-8917e2720a06" providerId="ADAL" clId="{CB224072-EA94-4500-BB44-FA94C70FEF2B}" dt="2026-01-05T10:09:10.228" v="19660"/>
          <ac:spMkLst>
            <pc:docMk/>
            <pc:sldMk cId="2909719335" sldId="302"/>
            <ac:spMk id="84" creationId="{1397F352-1BB0-CB95-A8AA-CA19AF65D850}"/>
          </ac:spMkLst>
        </pc:spChg>
        <pc:spChg chg="del mod">
          <ac:chgData name="Aryan Tah (MiddleEast)" userId="7f6066b6-35e9-4d47-9d15-8917e2720a06" providerId="ADAL" clId="{CB224072-EA94-4500-BB44-FA94C70FEF2B}" dt="2026-01-05T10:07:49.322" v="15874"/>
          <ac:spMkLst>
            <pc:docMk/>
            <pc:sldMk cId="2909719335" sldId="302"/>
            <ac:spMk id="85" creationId="{918FE439-53AE-DFFA-5545-896E7CB469FE}"/>
          </ac:spMkLst>
        </pc:spChg>
        <pc:spChg chg="add mod">
          <ac:chgData name="Aryan Tah (MiddleEast)" userId="7f6066b6-35e9-4d47-9d15-8917e2720a06" providerId="ADAL" clId="{CB224072-EA94-4500-BB44-FA94C70FEF2B}" dt="2026-01-05T10:09:10.228" v="19661"/>
          <ac:spMkLst>
            <pc:docMk/>
            <pc:sldMk cId="2909719335" sldId="302"/>
            <ac:spMk id="86" creationId="{2B5A1ABD-ADC3-28A6-BFAD-2341179EB6BD}"/>
          </ac:spMkLst>
        </pc:spChg>
        <pc:spChg chg="del mod">
          <ac:chgData name="Aryan Tah (MiddleEast)" userId="7f6066b6-35e9-4d47-9d15-8917e2720a06" providerId="ADAL" clId="{CB224072-EA94-4500-BB44-FA94C70FEF2B}" dt="2026-01-05T10:07:49.320" v="15871"/>
          <ac:spMkLst>
            <pc:docMk/>
            <pc:sldMk cId="2909719335" sldId="302"/>
            <ac:spMk id="87" creationId="{59E0523A-30A2-15C2-A740-2C913E2CFA6E}"/>
          </ac:spMkLst>
        </pc:spChg>
        <pc:spChg chg="add mod">
          <ac:chgData name="Aryan Tah (MiddleEast)" userId="7f6066b6-35e9-4d47-9d15-8917e2720a06" providerId="ADAL" clId="{CB224072-EA94-4500-BB44-FA94C70FEF2B}" dt="2026-01-05T10:09:10.228" v="19662"/>
          <ac:spMkLst>
            <pc:docMk/>
            <pc:sldMk cId="2909719335" sldId="302"/>
            <ac:spMk id="88" creationId="{C2FAF827-8BA9-15A4-63D2-BA39FB0E1FF6}"/>
          </ac:spMkLst>
        </pc:spChg>
        <pc:spChg chg="add mod">
          <ac:chgData name="Aryan Tah (MiddleEast)" userId="7f6066b6-35e9-4d47-9d15-8917e2720a06" providerId="ADAL" clId="{CB224072-EA94-4500-BB44-FA94C70FEF2B}" dt="2026-01-05T10:09:10.226" v="19657"/>
          <ac:spMkLst>
            <pc:docMk/>
            <pc:sldMk cId="2909719335" sldId="302"/>
            <ac:spMk id="89" creationId="{32808FE3-9C4A-965E-6ACA-16DA80916EF7}"/>
          </ac:spMkLst>
        </pc:spChg>
        <pc:spChg chg="del mod">
          <ac:chgData name="Aryan Tah (MiddleEast)" userId="7f6066b6-35e9-4d47-9d15-8917e2720a06" providerId="ADAL" clId="{CB224072-EA94-4500-BB44-FA94C70FEF2B}" dt="2026-01-05T10:07:49.326" v="15883"/>
          <ac:spMkLst>
            <pc:docMk/>
            <pc:sldMk cId="2909719335" sldId="302"/>
            <ac:spMk id="90" creationId="{95B62965-0ECE-A13A-D1A5-5179CAE23565}"/>
          </ac:spMkLst>
        </pc:spChg>
        <pc:spChg chg="add mod">
          <ac:chgData name="Aryan Tah (MiddleEast)" userId="7f6066b6-35e9-4d47-9d15-8917e2720a06" providerId="ADAL" clId="{CB224072-EA94-4500-BB44-FA94C70FEF2B}" dt="2026-01-05T10:09:10.229" v="19664"/>
          <ac:spMkLst>
            <pc:docMk/>
            <pc:sldMk cId="2909719335" sldId="302"/>
            <ac:spMk id="91" creationId="{37022131-80DB-9CB3-FE37-F7B4A72B2BAE}"/>
          </ac:spMkLst>
        </pc:spChg>
        <pc:spChg chg="mod">
          <ac:chgData name="Aryan Tah (MiddleEast)" userId="7f6066b6-35e9-4d47-9d15-8917e2720a06" providerId="ADAL" clId="{CB224072-EA94-4500-BB44-FA94C70FEF2B}" dt="2026-01-05T10:09:10.227" v="19658"/>
          <ac:spMkLst>
            <pc:docMk/>
            <pc:sldMk cId="2909719335" sldId="302"/>
            <ac:spMk id="92" creationId="{F5A631FF-ECCC-5A5B-357F-B70344BF71FE}"/>
          </ac:spMkLst>
        </pc:spChg>
        <pc:spChg chg="del mod">
          <ac:chgData name="Aryan Tah (MiddleEast)" userId="7f6066b6-35e9-4d47-9d15-8917e2720a06" providerId="ADAL" clId="{CB224072-EA94-4500-BB44-FA94C70FEF2B}" dt="2026-01-05T10:07:49.315" v="15865"/>
          <ac:spMkLst>
            <pc:docMk/>
            <pc:sldMk cId="2909719335" sldId="302"/>
            <ac:spMk id="93" creationId="{0D0C79BB-D339-111B-4BBF-0565CB78FC4F}"/>
          </ac:spMkLst>
        </pc:spChg>
        <pc:spChg chg="del mod">
          <ac:chgData name="Aryan Tah (MiddleEast)" userId="7f6066b6-35e9-4d47-9d15-8917e2720a06" providerId="ADAL" clId="{CB224072-EA94-4500-BB44-FA94C70FEF2B}" dt="2026-01-05T10:07:49.317" v="15868"/>
          <ac:spMkLst>
            <pc:docMk/>
            <pc:sldMk cId="2909719335" sldId="302"/>
            <ac:spMk id="94" creationId="{66E67EC1-40A2-6774-57F3-3399F302DE20}"/>
          </ac:spMkLst>
        </pc:spChg>
        <pc:spChg chg="del mod">
          <ac:chgData name="Aryan Tah (MiddleEast)" userId="7f6066b6-35e9-4d47-9d15-8917e2720a06" providerId="ADAL" clId="{CB224072-EA94-4500-BB44-FA94C70FEF2B}" dt="2026-01-05T10:07:49.325" v="15880"/>
          <ac:spMkLst>
            <pc:docMk/>
            <pc:sldMk cId="2909719335" sldId="302"/>
            <ac:spMk id="95" creationId="{8A81D328-F4A5-82E6-0DDF-F09C1054EC9D}"/>
          </ac:spMkLst>
        </pc:spChg>
        <pc:spChg chg="add mod">
          <ac:chgData name="Aryan Tah (MiddleEast)" userId="7f6066b6-35e9-4d47-9d15-8917e2720a06" providerId="ADAL" clId="{CB224072-EA94-4500-BB44-FA94C70FEF2B}" dt="2026-01-05T10:09:10.230" v="19665"/>
          <ac:spMkLst>
            <pc:docMk/>
            <pc:sldMk cId="2909719335" sldId="302"/>
            <ac:spMk id="96" creationId="{9578FDAA-FADE-C77C-CE60-875FD5624798}"/>
          </ac:spMkLst>
        </pc:spChg>
        <pc:spChg chg="mod ord">
          <ac:chgData name="Aryan Tah (MiddleEast)" userId="7f6066b6-35e9-4d47-9d15-8917e2720a06" providerId="ADAL" clId="{CB224072-EA94-4500-BB44-FA94C70FEF2B}" dt="2026-01-05T10:09:10.232" v="19669"/>
          <ac:spMkLst>
            <pc:docMk/>
            <pc:sldMk cId="2909719335" sldId="302"/>
            <ac:spMk id="97" creationId="{F547946E-82C3-C105-E06F-BF63BA1E9060}"/>
          </ac:spMkLst>
        </pc:spChg>
        <pc:spChg chg="mod ord">
          <ac:chgData name="Aryan Tah (MiddleEast)" userId="7f6066b6-35e9-4d47-9d15-8917e2720a06" providerId="ADAL" clId="{CB224072-EA94-4500-BB44-FA94C70FEF2B}" dt="2026-01-05T10:09:10.231" v="19667"/>
          <ac:spMkLst>
            <pc:docMk/>
            <pc:sldMk cId="2909719335" sldId="302"/>
            <ac:spMk id="98" creationId="{5C2EF126-A12E-DED0-73B4-ADF6BA55067D}"/>
          </ac:spMkLst>
        </pc:spChg>
        <pc:spChg chg="mod">
          <ac:chgData name="Aryan Tah (MiddleEast)" userId="7f6066b6-35e9-4d47-9d15-8917e2720a06" providerId="ADAL" clId="{CB224072-EA94-4500-BB44-FA94C70FEF2B}" dt="2026-01-05T10:09:10.232" v="19672"/>
          <ac:spMkLst>
            <pc:docMk/>
            <pc:sldMk cId="2909719335" sldId="302"/>
            <ac:spMk id="99" creationId="{C6163CB2-83EC-09A7-E92B-5486935D2300}"/>
          </ac:spMkLst>
        </pc:spChg>
        <pc:spChg chg="del mod">
          <ac:chgData name="Aryan Tah (MiddleEast)" userId="7f6066b6-35e9-4d47-9d15-8917e2720a06" providerId="ADAL" clId="{CB224072-EA94-4500-BB44-FA94C70FEF2B}" dt="2026-01-05T10:08:21.608" v="17401"/>
          <ac:spMkLst>
            <pc:docMk/>
            <pc:sldMk cId="2909719335" sldId="302"/>
            <ac:spMk id="100" creationId="{25D16560-5E47-15EE-97D1-E2A8FB20EF3A}"/>
          </ac:spMkLst>
        </pc:spChg>
        <pc:spChg chg="mod">
          <ac:chgData name="Aryan Tah (MiddleEast)" userId="7f6066b6-35e9-4d47-9d15-8917e2720a06" providerId="ADAL" clId="{CB224072-EA94-4500-BB44-FA94C70FEF2B}" dt="2026-01-05T10:09:10.233" v="19673"/>
          <ac:spMkLst>
            <pc:docMk/>
            <pc:sldMk cId="2909719335" sldId="302"/>
            <ac:spMk id="101" creationId="{CA101EE5-FECA-E304-D870-2FAF5910C38F}"/>
          </ac:spMkLst>
        </pc:spChg>
        <pc:spChg chg="del mod">
          <ac:chgData name="Aryan Tah (MiddleEast)" userId="7f6066b6-35e9-4d47-9d15-8917e2720a06" providerId="ADAL" clId="{CB224072-EA94-4500-BB44-FA94C70FEF2B}" dt="2026-01-05T10:08:21.610" v="17404"/>
          <ac:spMkLst>
            <pc:docMk/>
            <pc:sldMk cId="2909719335" sldId="302"/>
            <ac:spMk id="102" creationId="{F828CD7F-0CFE-3D67-F126-0DC6AED02AF5}"/>
          </ac:spMkLst>
        </pc:spChg>
        <pc:spChg chg="add del mod ord">
          <ac:chgData name="Aryan Tah (MiddleEast)" userId="7f6066b6-35e9-4d47-9d15-8917e2720a06" providerId="ADAL" clId="{CB224072-EA94-4500-BB44-FA94C70FEF2B}" dt="2026-01-05T10:08:21.609" v="17403"/>
          <ac:spMkLst>
            <pc:docMk/>
            <pc:sldMk cId="2909719335" sldId="302"/>
            <ac:spMk id="103" creationId="{AABF2DBC-A607-7AA3-456B-25477D9B11A8}"/>
          </ac:spMkLst>
        </pc:spChg>
        <pc:spChg chg="add del mod">
          <ac:chgData name="Aryan Tah (MiddleEast)" userId="7f6066b6-35e9-4d47-9d15-8917e2720a06" providerId="ADAL" clId="{CB224072-EA94-4500-BB44-FA94C70FEF2B}" dt="2026-01-05T10:08:21.611" v="17405"/>
          <ac:spMkLst>
            <pc:docMk/>
            <pc:sldMk cId="2909719335" sldId="302"/>
            <ac:spMk id="104" creationId="{D168F2DF-DD9C-D63E-C825-7EC94787E923}"/>
          </ac:spMkLst>
        </pc:spChg>
        <pc:spChg chg="mod">
          <ac:chgData name="Aryan Tah (MiddleEast)" userId="7f6066b6-35e9-4d47-9d15-8917e2720a06" providerId="ADAL" clId="{CB224072-EA94-4500-BB44-FA94C70FEF2B}" dt="2026-01-05T10:09:10.234" v="19675"/>
          <ac:spMkLst>
            <pc:docMk/>
            <pc:sldMk cId="2909719335" sldId="302"/>
            <ac:spMk id="105" creationId="{395974D3-88AC-B89F-3791-8B64FD6DE5D0}"/>
          </ac:spMkLst>
        </pc:spChg>
        <pc:spChg chg="add del mod">
          <ac:chgData name="Aryan Tah (MiddleEast)" userId="7f6066b6-35e9-4d47-9d15-8917e2720a06" providerId="ADAL" clId="{CB224072-EA94-4500-BB44-FA94C70FEF2B}" dt="2026-01-05T10:08:21.611" v="17406"/>
          <ac:spMkLst>
            <pc:docMk/>
            <pc:sldMk cId="2909719335" sldId="302"/>
            <ac:spMk id="106" creationId="{8EACE0CB-185A-9F38-C8E6-C0690FC4D175}"/>
          </ac:spMkLst>
        </pc:spChg>
        <pc:spChg chg="mod">
          <ac:chgData name="Aryan Tah (MiddleEast)" userId="7f6066b6-35e9-4d47-9d15-8917e2720a06" providerId="ADAL" clId="{CB224072-EA94-4500-BB44-FA94C70FEF2B}" dt="2026-01-05T10:09:10.234" v="19676"/>
          <ac:spMkLst>
            <pc:docMk/>
            <pc:sldMk cId="2909719335" sldId="302"/>
            <ac:spMk id="107" creationId="{06B81DF9-9E17-5D41-4803-A9CA54D8858B}"/>
          </ac:spMkLst>
        </pc:spChg>
        <pc:spChg chg="mod">
          <ac:chgData name="Aryan Tah (MiddleEast)" userId="7f6066b6-35e9-4d47-9d15-8917e2720a06" providerId="ADAL" clId="{CB224072-EA94-4500-BB44-FA94C70FEF2B}" dt="2026-01-05T10:09:10.233" v="19674"/>
          <ac:spMkLst>
            <pc:docMk/>
            <pc:sldMk cId="2909719335" sldId="302"/>
            <ac:spMk id="108" creationId="{CD5D74FD-2F25-A660-A8C6-8A13794237EC}"/>
          </ac:spMkLst>
        </pc:spChg>
        <pc:spChg chg="mod">
          <ac:chgData name="Aryan Tah (MiddleEast)" userId="7f6066b6-35e9-4d47-9d15-8917e2720a06" providerId="ADAL" clId="{CB224072-EA94-4500-BB44-FA94C70FEF2B}" dt="2026-01-05T10:09:10.235" v="19677"/>
          <ac:spMkLst>
            <pc:docMk/>
            <pc:sldMk cId="2909719335" sldId="302"/>
            <ac:spMk id="109" creationId="{768E7545-0EC8-7B3B-C5DF-1E9BBC8C7C50}"/>
          </ac:spMkLst>
        </pc:spChg>
        <pc:spChg chg="add del mod">
          <ac:chgData name="Aryan Tah (MiddleEast)" userId="7f6066b6-35e9-4d47-9d15-8917e2720a06" providerId="ADAL" clId="{CB224072-EA94-4500-BB44-FA94C70FEF2B}" dt="2026-01-05T10:08:21.612" v="17407"/>
          <ac:spMkLst>
            <pc:docMk/>
            <pc:sldMk cId="2909719335" sldId="302"/>
            <ac:spMk id="110" creationId="{B0DF43A1-FCF6-BA19-A784-BC61A0BBA6DE}"/>
          </ac:spMkLst>
        </pc:spChg>
        <pc:spChg chg="add del mod modVis">
          <ac:chgData name="Aryan Tah (MiddleEast)" userId="7f6066b6-35e9-4d47-9d15-8917e2720a06" providerId="ADAL" clId="{CB224072-EA94-4500-BB44-FA94C70FEF2B}" dt="2026-01-05T10:07:36.476" v="15046"/>
          <ac:spMkLst>
            <pc:docMk/>
            <pc:sldMk cId="2909719335" sldId="302"/>
            <ac:spMk id="111" creationId="{D7C94898-3D23-ABE9-C404-9F5ABE23F60D}"/>
          </ac:spMkLst>
        </pc:spChg>
        <pc:spChg chg="add del mod modVis">
          <ac:chgData name="Aryan Tah (MiddleEast)" userId="7f6066b6-35e9-4d47-9d15-8917e2720a06" providerId="ADAL" clId="{CB224072-EA94-4500-BB44-FA94C70FEF2B}" dt="2026-01-05T10:07:41.159" v="15485"/>
          <ac:spMkLst>
            <pc:docMk/>
            <pc:sldMk cId="2909719335" sldId="302"/>
            <ac:spMk id="113" creationId="{5780DDCA-45B5-F4B2-D6EC-2D32DC891F8D}"/>
          </ac:spMkLst>
        </pc:spChg>
        <pc:spChg chg="add del mod modVis">
          <ac:chgData name="Aryan Tah (MiddleEast)" userId="7f6066b6-35e9-4d47-9d15-8917e2720a06" providerId="ADAL" clId="{CB224072-EA94-4500-BB44-FA94C70FEF2B}" dt="2026-01-05T10:07:45.837" v="15800"/>
          <ac:spMkLst>
            <pc:docMk/>
            <pc:sldMk cId="2909719335" sldId="302"/>
            <ac:spMk id="115" creationId="{5B9AAD68-D39C-18D3-B044-AE12C4CD82CC}"/>
          </ac:spMkLst>
        </pc:spChg>
        <pc:spChg chg="add del mod modVis">
          <ac:chgData name="Aryan Tah (MiddleEast)" userId="7f6066b6-35e9-4d47-9d15-8917e2720a06" providerId="ADAL" clId="{CB224072-EA94-4500-BB44-FA94C70FEF2B}" dt="2026-01-05T10:07:49.580" v="16154"/>
          <ac:spMkLst>
            <pc:docMk/>
            <pc:sldMk cId="2909719335" sldId="302"/>
            <ac:spMk id="117" creationId="{C62CF6BC-8878-FFA8-2D92-82962C0DF730}"/>
          </ac:spMkLst>
        </pc:spChg>
        <pc:spChg chg="add mod">
          <ac:chgData name="Aryan Tah (MiddleEast)" userId="7f6066b6-35e9-4d47-9d15-8917e2720a06" providerId="ADAL" clId="{CB224072-EA94-4500-BB44-FA94C70FEF2B}" dt="2026-01-05T10:09:10.229" v="19663"/>
          <ac:spMkLst>
            <pc:docMk/>
            <pc:sldMk cId="2909719335" sldId="302"/>
            <ac:spMk id="118" creationId="{8736F800-DCDD-BC90-7B5F-64CFBCA8B59E}"/>
          </ac:spMkLst>
        </pc:spChg>
        <pc:spChg chg="add del mod modVis">
          <ac:chgData name="Aryan Tah (MiddleEast)" userId="7f6066b6-35e9-4d47-9d15-8917e2720a06" providerId="ADAL" clId="{CB224072-EA94-4500-BB44-FA94C70FEF2B}" dt="2026-01-05T10:07:53.027" v="16415"/>
          <ac:spMkLst>
            <pc:docMk/>
            <pc:sldMk cId="2909719335" sldId="302"/>
            <ac:spMk id="121" creationId="{5531D600-26E6-CADD-A591-EED304C717A3}"/>
          </ac:spMkLst>
        </pc:spChg>
        <pc:spChg chg="add del mod modVis">
          <ac:chgData name="Aryan Tah (MiddleEast)" userId="7f6066b6-35e9-4d47-9d15-8917e2720a06" providerId="ADAL" clId="{CB224072-EA94-4500-BB44-FA94C70FEF2B}" dt="2026-01-05T10:07:54.796" v="16616"/>
          <ac:spMkLst>
            <pc:docMk/>
            <pc:sldMk cId="2909719335" sldId="302"/>
            <ac:spMk id="123" creationId="{58EBBE74-5FA5-93E5-D1FE-8850B7F4611C}"/>
          </ac:spMkLst>
        </pc:spChg>
        <pc:spChg chg="add del mod modVis">
          <ac:chgData name="Aryan Tah (MiddleEast)" userId="7f6066b6-35e9-4d47-9d15-8917e2720a06" providerId="ADAL" clId="{CB224072-EA94-4500-BB44-FA94C70FEF2B}" dt="2026-01-05T10:07:56.861" v="16861"/>
          <ac:spMkLst>
            <pc:docMk/>
            <pc:sldMk cId="2909719335" sldId="302"/>
            <ac:spMk id="125" creationId="{AC1B1278-5203-68A8-212E-025DD6AE419D}"/>
          </ac:spMkLst>
        </pc:spChg>
        <pc:spChg chg="add del mod modVis">
          <ac:chgData name="Aryan Tah (MiddleEast)" userId="7f6066b6-35e9-4d47-9d15-8917e2720a06" providerId="ADAL" clId="{CB224072-EA94-4500-BB44-FA94C70FEF2B}" dt="2026-01-05T10:08:04.833" v="17040"/>
          <ac:spMkLst>
            <pc:docMk/>
            <pc:sldMk cId="2909719335" sldId="302"/>
            <ac:spMk id="127" creationId="{D4939393-04D7-D922-E8DA-2E26916ADFF7}"/>
          </ac:spMkLst>
        </pc:spChg>
        <pc:spChg chg="add del mod modVis">
          <ac:chgData name="Aryan Tah (MiddleEast)" userId="7f6066b6-35e9-4d47-9d15-8917e2720a06" providerId="ADAL" clId="{CB224072-EA94-4500-BB44-FA94C70FEF2B}" dt="2026-01-05T10:08:06.459" v="17219"/>
          <ac:spMkLst>
            <pc:docMk/>
            <pc:sldMk cId="2909719335" sldId="302"/>
            <ac:spMk id="129" creationId="{631C3CE3-CFA5-8B3F-27EC-8765C1CB3CD4}"/>
          </ac:spMkLst>
        </pc:spChg>
        <pc:spChg chg="add del mod modVis">
          <ac:chgData name="Aryan Tah (MiddleEast)" userId="7f6066b6-35e9-4d47-9d15-8917e2720a06" providerId="ADAL" clId="{CB224072-EA94-4500-BB44-FA94C70FEF2B}" dt="2026-01-05T10:08:15.735" v="17398"/>
          <ac:spMkLst>
            <pc:docMk/>
            <pc:sldMk cId="2909719335" sldId="302"/>
            <ac:spMk id="131" creationId="{0CB7AC51-71C9-F3D5-E85B-D85CE08DD587}"/>
          </ac:spMkLst>
        </pc:spChg>
        <pc:spChg chg="add del mod modVis">
          <ac:chgData name="Aryan Tah (MiddleEast)" userId="7f6066b6-35e9-4d47-9d15-8917e2720a06" providerId="ADAL" clId="{CB224072-EA94-4500-BB44-FA94C70FEF2B}" dt="2026-01-05T10:08:21.756" v="17577"/>
          <ac:spMkLst>
            <pc:docMk/>
            <pc:sldMk cId="2909719335" sldId="302"/>
            <ac:spMk id="133" creationId="{84129CC9-2C0C-386A-3B0B-2813464DA3D4}"/>
          </ac:spMkLst>
        </pc:spChg>
        <pc:spChg chg="add mod">
          <ac:chgData name="Aryan Tah (MiddleEast)" userId="7f6066b6-35e9-4d47-9d15-8917e2720a06" providerId="ADAL" clId="{CB224072-EA94-4500-BB44-FA94C70FEF2B}" dt="2026-01-05T10:09:10.236" v="19678"/>
          <ac:spMkLst>
            <pc:docMk/>
            <pc:sldMk cId="2909719335" sldId="302"/>
            <ac:spMk id="135" creationId="{21D17E02-D884-2091-DD37-9EB9B4FBA104}"/>
          </ac:spMkLst>
        </pc:spChg>
        <pc:spChg chg="add mod ord">
          <ac:chgData name="Aryan Tah (MiddleEast)" userId="7f6066b6-35e9-4d47-9d15-8917e2720a06" providerId="ADAL" clId="{CB224072-EA94-4500-BB44-FA94C70FEF2B}" dt="2026-01-05T10:09:10.236" v="19679"/>
          <ac:spMkLst>
            <pc:docMk/>
            <pc:sldMk cId="2909719335" sldId="302"/>
            <ac:spMk id="136" creationId="{934DD989-7C7F-24DC-230D-331C90B567D8}"/>
          </ac:spMkLst>
        </pc:spChg>
        <pc:spChg chg="add mod">
          <ac:chgData name="Aryan Tah (MiddleEast)" userId="7f6066b6-35e9-4d47-9d15-8917e2720a06" providerId="ADAL" clId="{CB224072-EA94-4500-BB44-FA94C70FEF2B}" dt="2026-01-05T10:09:10.237" v="19680"/>
          <ac:spMkLst>
            <pc:docMk/>
            <pc:sldMk cId="2909719335" sldId="302"/>
            <ac:spMk id="137" creationId="{52DA3BCD-488A-D65B-B5E1-9B98D7F2E33B}"/>
          </ac:spMkLst>
        </pc:spChg>
        <pc:spChg chg="add mod">
          <ac:chgData name="Aryan Tah (MiddleEast)" userId="7f6066b6-35e9-4d47-9d15-8917e2720a06" providerId="ADAL" clId="{CB224072-EA94-4500-BB44-FA94C70FEF2B}" dt="2026-01-05T10:09:10.237" v="19681"/>
          <ac:spMkLst>
            <pc:docMk/>
            <pc:sldMk cId="2909719335" sldId="302"/>
            <ac:spMk id="138" creationId="{44F97594-5909-71F3-84BC-571A658C3405}"/>
          </ac:spMkLst>
        </pc:spChg>
        <pc:spChg chg="add mod">
          <ac:chgData name="Aryan Tah (MiddleEast)" userId="7f6066b6-35e9-4d47-9d15-8917e2720a06" providerId="ADAL" clId="{CB224072-EA94-4500-BB44-FA94C70FEF2B}" dt="2026-01-05T10:09:10.238" v="19682"/>
          <ac:spMkLst>
            <pc:docMk/>
            <pc:sldMk cId="2909719335" sldId="302"/>
            <ac:spMk id="139" creationId="{B7638A85-A748-0687-E4FD-EE12E74B6DC7}"/>
          </ac:spMkLst>
        </pc:spChg>
        <pc:spChg chg="add mod">
          <ac:chgData name="Aryan Tah (MiddleEast)" userId="7f6066b6-35e9-4d47-9d15-8917e2720a06" providerId="ADAL" clId="{CB224072-EA94-4500-BB44-FA94C70FEF2B}" dt="2026-01-05T10:09:10.238" v="19683"/>
          <ac:spMkLst>
            <pc:docMk/>
            <pc:sldMk cId="2909719335" sldId="302"/>
            <ac:spMk id="140" creationId="{8091B6B3-2C30-ED16-772A-EAE2C955BD42}"/>
          </ac:spMkLst>
        </pc:spChg>
        <pc:spChg chg="add del mod modVis">
          <ac:chgData name="Aryan Tah (MiddleEast)" userId="7f6066b6-35e9-4d47-9d15-8917e2720a06" providerId="ADAL" clId="{CB224072-EA94-4500-BB44-FA94C70FEF2B}" dt="2026-01-05T10:08:26.142" v="17912"/>
          <ac:spMkLst>
            <pc:docMk/>
            <pc:sldMk cId="2909719335" sldId="302"/>
            <ac:spMk id="141" creationId="{D7792DBC-2791-9621-AE7E-D001DC67C312}"/>
          </ac:spMkLst>
        </pc:spChg>
        <pc:spChg chg="add del mod modVis">
          <ac:chgData name="Aryan Tah (MiddleEast)" userId="7f6066b6-35e9-4d47-9d15-8917e2720a06" providerId="ADAL" clId="{CB224072-EA94-4500-BB44-FA94C70FEF2B}" dt="2026-01-05T10:08:33.910" v="18091"/>
          <ac:spMkLst>
            <pc:docMk/>
            <pc:sldMk cId="2909719335" sldId="302"/>
            <ac:spMk id="143" creationId="{D7F58817-B210-2DF4-FB92-7C163DC17920}"/>
          </ac:spMkLst>
        </pc:spChg>
        <pc:spChg chg="add del mod modVis">
          <ac:chgData name="Aryan Tah (MiddleEast)" userId="7f6066b6-35e9-4d47-9d15-8917e2720a06" providerId="ADAL" clId="{CB224072-EA94-4500-BB44-FA94C70FEF2B}" dt="2026-01-05T10:08:35.312" v="18299"/>
          <ac:spMkLst>
            <pc:docMk/>
            <pc:sldMk cId="2909719335" sldId="302"/>
            <ac:spMk id="145" creationId="{746ACC8B-1A1B-805F-1C24-9C5D573445F6}"/>
          </ac:spMkLst>
        </pc:spChg>
        <pc:spChg chg="add del mod modVis">
          <ac:chgData name="Aryan Tah (MiddleEast)" userId="7f6066b6-35e9-4d47-9d15-8917e2720a06" providerId="ADAL" clId="{CB224072-EA94-4500-BB44-FA94C70FEF2B}" dt="2026-01-05T10:08:49.832" v="18631"/>
          <ac:spMkLst>
            <pc:docMk/>
            <pc:sldMk cId="2909719335" sldId="302"/>
            <ac:spMk id="148" creationId="{F1BD8F1A-04FC-EB2B-3FE6-9ED47BC5951B}"/>
          </ac:spMkLst>
        </pc:spChg>
        <pc:spChg chg="add del mod ord">
          <ac:chgData name="Aryan Tah (MiddleEast)" userId="7f6066b6-35e9-4d47-9d15-8917e2720a06" providerId="ADAL" clId="{CB224072-EA94-4500-BB44-FA94C70FEF2B}" dt="2026-01-05T10:09:10.097" v="19507"/>
          <ac:spMkLst>
            <pc:docMk/>
            <pc:sldMk cId="2909719335" sldId="302"/>
            <ac:spMk id="149" creationId="{AE71C36D-2801-3DD9-4EA5-A73B6B243D4B}"/>
          </ac:spMkLst>
        </pc:spChg>
        <pc:spChg chg="add del mod modVis">
          <ac:chgData name="Aryan Tah (MiddleEast)" userId="7f6066b6-35e9-4d47-9d15-8917e2720a06" providerId="ADAL" clId="{CB224072-EA94-4500-BB44-FA94C70FEF2B}" dt="2026-01-05T10:08:53.752" v="18823"/>
          <ac:spMkLst>
            <pc:docMk/>
            <pc:sldMk cId="2909719335" sldId="302"/>
            <ac:spMk id="156" creationId="{1C7EF5C7-E0BC-B002-FE51-55420EFB55BD}"/>
          </ac:spMkLst>
        </pc:spChg>
        <pc:spChg chg="add del mod modVis">
          <ac:chgData name="Aryan Tah (MiddleEast)" userId="7f6066b6-35e9-4d47-9d15-8917e2720a06" providerId="ADAL" clId="{CB224072-EA94-4500-BB44-FA94C70FEF2B}" dt="2026-01-05T10:08:55.766" v="19015"/>
          <ac:spMkLst>
            <pc:docMk/>
            <pc:sldMk cId="2909719335" sldId="302"/>
            <ac:spMk id="158" creationId="{A3B095DA-B510-4E90-77D6-4B3828680197}"/>
          </ac:spMkLst>
        </pc:spChg>
        <pc:spChg chg="add del mod modVis">
          <ac:chgData name="Aryan Tah (MiddleEast)" userId="7f6066b6-35e9-4d47-9d15-8917e2720a06" providerId="ADAL" clId="{CB224072-EA94-4500-BB44-FA94C70FEF2B}" dt="2026-01-05T10:08:59.858" v="19255"/>
          <ac:spMkLst>
            <pc:docMk/>
            <pc:sldMk cId="2909719335" sldId="302"/>
            <ac:spMk id="160" creationId="{4E980212-F44E-5869-222B-0EC2103087DC}"/>
          </ac:spMkLst>
        </pc:spChg>
        <pc:spChg chg="add del mod modVis">
          <ac:chgData name="Aryan Tah (MiddleEast)" userId="7f6066b6-35e9-4d47-9d15-8917e2720a06" providerId="ADAL" clId="{CB224072-EA94-4500-BB44-FA94C70FEF2B}" dt="2026-01-05T10:09:03.822" v="19495"/>
          <ac:spMkLst>
            <pc:docMk/>
            <pc:sldMk cId="2909719335" sldId="302"/>
            <ac:spMk id="162" creationId="{B0F3DE4B-7F49-A18B-923C-9FA06F910CD2}"/>
          </ac:spMkLst>
        </pc:spChg>
        <pc:spChg chg="add del mod modVis">
          <ac:chgData name="Aryan Tah (MiddleEast)" userId="7f6066b6-35e9-4d47-9d15-8917e2720a06" providerId="ADAL" clId="{CB224072-EA94-4500-BB44-FA94C70FEF2B}" dt="2026-01-05T10:09:10.239" v="19685"/>
          <ac:spMkLst>
            <pc:docMk/>
            <pc:sldMk cId="2909719335" sldId="302"/>
            <ac:spMk id="164" creationId="{B2FCC5BA-41AB-56F3-31AD-74C53C2AF20C}"/>
          </ac:spMkLst>
        </pc:spChg>
        <pc:spChg chg="add mod">
          <ac:chgData name="Aryan Tah (MiddleEast)" userId="7f6066b6-35e9-4d47-9d15-8917e2720a06" providerId="ADAL" clId="{CB224072-EA94-4500-BB44-FA94C70FEF2B}" dt="2026-01-05T10:09:33.140" v="19689"/>
          <ac:spMkLst>
            <pc:docMk/>
            <pc:sldMk cId="2909719335" sldId="302"/>
            <ac:spMk id="168" creationId="{0E575AA9-DF71-BD98-A09B-09769F82D2B0}"/>
          </ac:spMkLst>
        </pc:spChg>
        <pc:grpChg chg="add del mod">
          <ac:chgData name="Aryan Tah (MiddleEast)" userId="7f6066b6-35e9-4d47-9d15-8917e2720a06" providerId="ADAL" clId="{CB224072-EA94-4500-BB44-FA94C70FEF2B}" dt="2026-01-05T09:27:08.838" v="12180" actId="165"/>
          <ac:grpSpMkLst>
            <pc:docMk/>
            <pc:sldMk cId="2909719335" sldId="302"/>
            <ac:grpSpMk id="12" creationId="{81B4E5F5-9174-E5D6-3FFE-EB91A0184764}"/>
          </ac:grpSpMkLst>
        </pc:grpChg>
        <pc:grpChg chg="add del mod ord">
          <ac:chgData name="Aryan Tah (MiddleEast)" userId="7f6066b6-35e9-4d47-9d15-8917e2720a06" providerId="ADAL" clId="{CB224072-EA94-4500-BB44-FA94C70FEF2B}" dt="2026-01-05T09:41:12.224" v="12900" actId="478"/>
          <ac:grpSpMkLst>
            <pc:docMk/>
            <pc:sldMk cId="2909719335" sldId="302"/>
            <ac:grpSpMk id="15" creationId="{4AD4A546-68CD-267C-8D37-9AF82175A65A}"/>
          </ac:grpSpMkLst>
        </pc:grpChg>
        <pc:grpChg chg="mod ord">
          <ac:chgData name="Aryan Tah (MiddleEast)" userId="7f6066b6-35e9-4d47-9d15-8917e2720a06" providerId="ADAL" clId="{CB224072-EA94-4500-BB44-FA94C70FEF2B}" dt="2026-01-05T09:31:21.028" v="12339"/>
          <ac:grpSpMkLst>
            <pc:docMk/>
            <pc:sldMk cId="2909719335" sldId="302"/>
            <ac:grpSpMk id="16" creationId="{5BE4F54C-3B0E-8BA7-8F4F-4B8E54FDBC8B}"/>
          </ac:grpSpMkLst>
        </pc:grpChg>
        <pc:grpChg chg="add mod ord">
          <ac:chgData name="Aryan Tah (MiddleEast)" userId="7f6066b6-35e9-4d47-9d15-8917e2720a06" providerId="ADAL" clId="{CB224072-EA94-4500-BB44-FA94C70FEF2B}" dt="2026-01-05T10:09:10.222" v="19638"/>
          <ac:grpSpMkLst>
            <pc:docMk/>
            <pc:sldMk cId="2909719335" sldId="302"/>
            <ac:grpSpMk id="29" creationId="{0D6C5740-F9BE-A720-2E95-2A1811510126}"/>
          </ac:grpSpMkLst>
        </pc:grpChg>
        <pc:grpChg chg="add del mod">
          <ac:chgData name="Aryan Tah (MiddleEast)" userId="7f6066b6-35e9-4d47-9d15-8917e2720a06" providerId="ADAL" clId="{CB224072-EA94-4500-BB44-FA94C70FEF2B}" dt="2026-01-05T09:38:18.813" v="12588" actId="21"/>
          <ac:grpSpMkLst>
            <pc:docMk/>
            <pc:sldMk cId="2909719335" sldId="302"/>
            <ac:grpSpMk id="31" creationId="{BB13EBEA-16CE-4517-5029-3E911D8F7CDD}"/>
          </ac:grpSpMkLst>
        </pc:grpChg>
        <pc:grpChg chg="add mod ord">
          <ac:chgData name="Aryan Tah (MiddleEast)" userId="7f6066b6-35e9-4d47-9d15-8917e2720a06" providerId="ADAL" clId="{CB224072-EA94-4500-BB44-FA94C70FEF2B}" dt="2026-01-05T10:09:10.216" v="19608"/>
          <ac:grpSpMkLst>
            <pc:docMk/>
            <pc:sldMk cId="2909719335" sldId="302"/>
            <ac:grpSpMk id="33" creationId="{BB13EBEA-16CE-4517-5029-3E911D8F7CDD}"/>
          </ac:grpSpMkLst>
        </pc:grpChg>
        <pc:grpChg chg="add mod ord">
          <ac:chgData name="Aryan Tah (MiddleEast)" userId="7f6066b6-35e9-4d47-9d15-8917e2720a06" providerId="ADAL" clId="{CB224072-EA94-4500-BB44-FA94C70FEF2B}" dt="2026-01-05T09:39:59.481" v="12795"/>
          <ac:grpSpMkLst>
            <pc:docMk/>
            <pc:sldMk cId="2909719335" sldId="302"/>
            <ac:grpSpMk id="49" creationId="{1E56C8A7-9979-AF9B-E197-5E492703E2B0}"/>
          </ac:grpSpMkLst>
        </pc:grpChg>
        <pc:grpChg chg="mod ord">
          <ac:chgData name="Aryan Tah (MiddleEast)" userId="7f6066b6-35e9-4d47-9d15-8917e2720a06" providerId="ADAL" clId="{CB224072-EA94-4500-BB44-FA94C70FEF2B}" dt="2026-01-05T10:09:10.218" v="19620"/>
          <ac:grpSpMkLst>
            <pc:docMk/>
            <pc:sldMk cId="2909719335" sldId="302"/>
            <ac:grpSpMk id="58" creationId="{5645A410-83EC-8710-EBC4-3410C06912E9}"/>
          </ac:grpSpMkLst>
        </pc:grpChg>
        <pc:grpChg chg="mod ord">
          <ac:chgData name="Aryan Tah (MiddleEast)" userId="7f6066b6-35e9-4d47-9d15-8917e2720a06" providerId="ADAL" clId="{CB224072-EA94-4500-BB44-FA94C70FEF2B}" dt="2026-01-05T10:09:10.220" v="19626"/>
          <ac:grpSpMkLst>
            <pc:docMk/>
            <pc:sldMk cId="2909719335" sldId="302"/>
            <ac:grpSpMk id="68" creationId="{CC7BA49F-9077-45B7-BCB8-51353847CAE1}"/>
          </ac:grpSpMkLst>
        </pc:grpChg>
        <pc:grpChg chg="mod ord">
          <ac:chgData name="Aryan Tah (MiddleEast)" userId="7f6066b6-35e9-4d47-9d15-8917e2720a06" providerId="ADAL" clId="{CB224072-EA94-4500-BB44-FA94C70FEF2B}" dt="2026-01-05T10:09:10.219" v="19624"/>
          <ac:grpSpMkLst>
            <pc:docMk/>
            <pc:sldMk cId="2909719335" sldId="302"/>
            <ac:grpSpMk id="71" creationId="{32B407B2-FBE2-B6DB-389A-F6D4C2FD36A6}"/>
          </ac:grpSpMkLst>
        </pc:grpChg>
        <pc:graphicFrameChg chg="mod">
          <ac:chgData name="Aryan Tah (MiddleEast)" userId="7f6066b6-35e9-4d47-9d15-8917e2720a06" providerId="ADAL" clId="{CB224072-EA94-4500-BB44-FA94C70FEF2B}" dt="2026-01-05T10:09:10.240" v="19687"/>
          <ac:graphicFrameMkLst>
            <pc:docMk/>
            <pc:sldMk cId="2909719335" sldId="302"/>
            <ac:graphicFrameMk id="3" creationId="{36208348-7522-70AD-8DB2-5897289379E1}"/>
          </ac:graphicFrameMkLst>
        </pc:graphicFrameChg>
        <pc:graphicFrameChg chg="add del mod">
          <ac:chgData name="Aryan Tah (MiddleEast)" userId="7f6066b6-35e9-4d47-9d15-8917e2720a06" providerId="ADAL" clId="{CB224072-EA94-4500-BB44-FA94C70FEF2B}" dt="2026-01-05T09:28:19.574" v="12245" actId="478"/>
          <ac:graphicFrameMkLst>
            <pc:docMk/>
            <pc:sldMk cId="2909719335" sldId="302"/>
            <ac:graphicFrameMk id="13" creationId="{02B15111-381A-3408-85B2-7A5AE041DB37}"/>
          </ac:graphicFrameMkLst>
        </pc:graphicFrameChg>
        <pc:graphicFrameChg chg="del">
          <ac:chgData name="Aryan Tah (MiddleEast)" userId="7f6066b6-35e9-4d47-9d15-8917e2720a06" providerId="ADAL" clId="{CB224072-EA94-4500-BB44-FA94C70FEF2B}" dt="2026-01-05T10:07:36.397" v="14913"/>
          <ac:graphicFrameMkLst>
            <pc:docMk/>
            <pc:sldMk cId="2909719335" sldId="302"/>
            <ac:graphicFrameMk id="81" creationId="{C7006E92-3C1F-C75B-6E2B-A2A8F3CFC31B}"/>
          </ac:graphicFrameMkLst>
        </pc:graphicFrameChg>
        <pc:graphicFrameChg chg="add del mod ord">
          <ac:chgData name="Aryan Tah (MiddleEast)" userId="7f6066b6-35e9-4d47-9d15-8917e2720a06" providerId="ADAL" clId="{CB224072-EA94-4500-BB44-FA94C70FEF2B}" dt="2026-01-05T10:07:41.085" v="15352"/>
          <ac:graphicFrameMkLst>
            <pc:docMk/>
            <pc:sldMk cId="2909719335" sldId="302"/>
            <ac:graphicFrameMk id="112" creationId="{3BB136AA-3A7F-2673-24BF-929B2FEFEF5E}"/>
          </ac:graphicFrameMkLst>
        </pc:graphicFrameChg>
        <pc:graphicFrameChg chg="add del mod ord">
          <ac:chgData name="Aryan Tah (MiddleEast)" userId="7f6066b6-35e9-4d47-9d15-8917e2720a06" providerId="ADAL" clId="{CB224072-EA94-4500-BB44-FA94C70FEF2B}" dt="2026-01-05T10:07:45.767" v="15667"/>
          <ac:graphicFrameMkLst>
            <pc:docMk/>
            <pc:sldMk cId="2909719335" sldId="302"/>
            <ac:graphicFrameMk id="114" creationId="{2BD1F95D-5FF8-D155-B760-AE7F6173E91E}"/>
          </ac:graphicFrameMkLst>
        </pc:graphicFrameChg>
        <pc:graphicFrameChg chg="add del mod ord">
          <ac:chgData name="Aryan Tah (MiddleEast)" userId="7f6066b6-35e9-4d47-9d15-8917e2720a06" providerId="ADAL" clId="{CB224072-EA94-4500-BB44-FA94C70FEF2B}" dt="2026-01-05T10:07:49.507" v="16039"/>
          <ac:graphicFrameMkLst>
            <pc:docMk/>
            <pc:sldMk cId="2909719335" sldId="302"/>
            <ac:graphicFrameMk id="116" creationId="{51918396-437F-BF45-D4E0-7F4E56037220}"/>
          </ac:graphicFrameMkLst>
        </pc:graphicFrameChg>
        <pc:graphicFrameChg chg="add del mod ord">
          <ac:chgData name="Aryan Tah (MiddleEast)" userId="7f6066b6-35e9-4d47-9d15-8917e2720a06" providerId="ADAL" clId="{CB224072-EA94-4500-BB44-FA94C70FEF2B}" dt="2026-01-05T10:07:52.952" v="16300"/>
          <ac:graphicFrameMkLst>
            <pc:docMk/>
            <pc:sldMk cId="2909719335" sldId="302"/>
            <ac:graphicFrameMk id="120" creationId="{79ACC3D2-FE23-3498-8B10-FC3AD8F06CE5}"/>
          </ac:graphicFrameMkLst>
        </pc:graphicFrameChg>
        <pc:graphicFrameChg chg="add del mod ord">
          <ac:chgData name="Aryan Tah (MiddleEast)" userId="7f6066b6-35e9-4d47-9d15-8917e2720a06" providerId="ADAL" clId="{CB224072-EA94-4500-BB44-FA94C70FEF2B}" dt="2026-01-05T10:07:54.730" v="16501"/>
          <ac:graphicFrameMkLst>
            <pc:docMk/>
            <pc:sldMk cId="2909719335" sldId="302"/>
            <ac:graphicFrameMk id="122" creationId="{5678B123-25F9-1239-4246-CB44E2C406C3}"/>
          </ac:graphicFrameMkLst>
        </pc:graphicFrameChg>
        <pc:graphicFrameChg chg="add del mod ord">
          <ac:chgData name="Aryan Tah (MiddleEast)" userId="7f6066b6-35e9-4d47-9d15-8917e2720a06" providerId="ADAL" clId="{CB224072-EA94-4500-BB44-FA94C70FEF2B}" dt="2026-01-05T10:07:56.788" v="16746"/>
          <ac:graphicFrameMkLst>
            <pc:docMk/>
            <pc:sldMk cId="2909719335" sldId="302"/>
            <ac:graphicFrameMk id="124" creationId="{057B44CE-F75B-2108-4CA4-383C233ED43A}"/>
          </ac:graphicFrameMkLst>
        </pc:graphicFrameChg>
        <pc:graphicFrameChg chg="add del mod ord">
          <ac:chgData name="Aryan Tah (MiddleEast)" userId="7f6066b6-35e9-4d47-9d15-8917e2720a06" providerId="ADAL" clId="{CB224072-EA94-4500-BB44-FA94C70FEF2B}" dt="2026-01-05T10:08:04.754" v="16925"/>
          <ac:graphicFrameMkLst>
            <pc:docMk/>
            <pc:sldMk cId="2909719335" sldId="302"/>
            <ac:graphicFrameMk id="126" creationId="{A79A335A-8108-85AD-5D87-DDA2C8297725}"/>
          </ac:graphicFrameMkLst>
        </pc:graphicFrameChg>
        <pc:graphicFrameChg chg="add del mod ord">
          <ac:chgData name="Aryan Tah (MiddleEast)" userId="7f6066b6-35e9-4d47-9d15-8917e2720a06" providerId="ADAL" clId="{CB224072-EA94-4500-BB44-FA94C70FEF2B}" dt="2026-01-05T10:08:06.394" v="17104"/>
          <ac:graphicFrameMkLst>
            <pc:docMk/>
            <pc:sldMk cId="2909719335" sldId="302"/>
            <ac:graphicFrameMk id="128" creationId="{DA8D9A74-45C5-D9EB-6F28-10189986F2B2}"/>
          </ac:graphicFrameMkLst>
        </pc:graphicFrameChg>
        <pc:graphicFrameChg chg="add del mod ord">
          <ac:chgData name="Aryan Tah (MiddleEast)" userId="7f6066b6-35e9-4d47-9d15-8917e2720a06" providerId="ADAL" clId="{CB224072-EA94-4500-BB44-FA94C70FEF2B}" dt="2026-01-05T10:08:15.674" v="17283"/>
          <ac:graphicFrameMkLst>
            <pc:docMk/>
            <pc:sldMk cId="2909719335" sldId="302"/>
            <ac:graphicFrameMk id="130" creationId="{B15E77E6-24FC-F7B9-CDD7-FB1FD66391DA}"/>
          </ac:graphicFrameMkLst>
        </pc:graphicFrameChg>
        <pc:graphicFrameChg chg="add del mod ord">
          <ac:chgData name="Aryan Tah (MiddleEast)" userId="7f6066b6-35e9-4d47-9d15-8917e2720a06" providerId="ADAL" clId="{CB224072-EA94-4500-BB44-FA94C70FEF2B}" dt="2026-01-05T10:08:21.694" v="17469"/>
          <ac:graphicFrameMkLst>
            <pc:docMk/>
            <pc:sldMk cId="2909719335" sldId="302"/>
            <ac:graphicFrameMk id="132" creationId="{6B9379BC-FF2D-528A-EDC4-91128025C3F6}"/>
          </ac:graphicFrameMkLst>
        </pc:graphicFrameChg>
        <pc:graphicFrameChg chg="add del mod ord">
          <ac:chgData name="Aryan Tah (MiddleEast)" userId="7f6066b6-35e9-4d47-9d15-8917e2720a06" providerId="ADAL" clId="{CB224072-EA94-4500-BB44-FA94C70FEF2B}" dt="2026-01-05T10:08:26.046" v="17797"/>
          <ac:graphicFrameMkLst>
            <pc:docMk/>
            <pc:sldMk cId="2909719335" sldId="302"/>
            <ac:graphicFrameMk id="134" creationId="{D766099A-8F0F-C083-B150-1F0A61D36F91}"/>
          </ac:graphicFrameMkLst>
        </pc:graphicFrameChg>
        <pc:graphicFrameChg chg="add del mod ord">
          <ac:chgData name="Aryan Tah (MiddleEast)" userId="7f6066b6-35e9-4d47-9d15-8917e2720a06" providerId="ADAL" clId="{CB224072-EA94-4500-BB44-FA94C70FEF2B}" dt="2026-01-05T10:08:33.844" v="17976"/>
          <ac:graphicFrameMkLst>
            <pc:docMk/>
            <pc:sldMk cId="2909719335" sldId="302"/>
            <ac:graphicFrameMk id="142" creationId="{34C584B8-802C-D9FC-066D-8117B77F1B25}"/>
          </ac:graphicFrameMkLst>
        </pc:graphicFrameChg>
        <pc:graphicFrameChg chg="add del mod ord">
          <ac:chgData name="Aryan Tah (MiddleEast)" userId="7f6066b6-35e9-4d47-9d15-8917e2720a06" providerId="ADAL" clId="{CB224072-EA94-4500-BB44-FA94C70FEF2B}" dt="2026-01-05T10:08:35.245" v="18183"/>
          <ac:graphicFrameMkLst>
            <pc:docMk/>
            <pc:sldMk cId="2909719335" sldId="302"/>
            <ac:graphicFrameMk id="144" creationId="{8F01B486-0D54-1654-77DC-F1C5E89924DA}"/>
          </ac:graphicFrameMkLst>
        </pc:graphicFrameChg>
        <pc:graphicFrameChg chg="add del mod ord">
          <ac:chgData name="Aryan Tah (MiddleEast)" userId="7f6066b6-35e9-4d47-9d15-8917e2720a06" providerId="ADAL" clId="{CB224072-EA94-4500-BB44-FA94C70FEF2B}" dt="2026-01-05T10:08:49.764" v="18502"/>
          <ac:graphicFrameMkLst>
            <pc:docMk/>
            <pc:sldMk cId="2909719335" sldId="302"/>
            <ac:graphicFrameMk id="147" creationId="{85B7DC3B-3034-9E93-4AA8-19929B4A1AE3}"/>
          </ac:graphicFrameMkLst>
        </pc:graphicFrameChg>
        <pc:graphicFrameChg chg="add del mod ord">
          <ac:chgData name="Aryan Tah (MiddleEast)" userId="7f6066b6-35e9-4d47-9d15-8917e2720a06" providerId="ADAL" clId="{CB224072-EA94-4500-BB44-FA94C70FEF2B}" dt="2026-01-05T10:08:53.671" v="18695"/>
          <ac:graphicFrameMkLst>
            <pc:docMk/>
            <pc:sldMk cId="2909719335" sldId="302"/>
            <ac:graphicFrameMk id="155" creationId="{A58F66CD-667E-7D7E-3416-2AA3C6C6A2F7}"/>
          </ac:graphicFrameMkLst>
        </pc:graphicFrameChg>
        <pc:graphicFrameChg chg="add del mod ord">
          <ac:chgData name="Aryan Tah (MiddleEast)" userId="7f6066b6-35e9-4d47-9d15-8917e2720a06" providerId="ADAL" clId="{CB224072-EA94-4500-BB44-FA94C70FEF2B}" dt="2026-01-05T10:08:55.692" v="18887"/>
          <ac:graphicFrameMkLst>
            <pc:docMk/>
            <pc:sldMk cId="2909719335" sldId="302"/>
            <ac:graphicFrameMk id="157" creationId="{8283C44D-3D46-FBCA-4136-06CA2BE5ACE2}"/>
          </ac:graphicFrameMkLst>
        </pc:graphicFrameChg>
        <pc:graphicFrameChg chg="add del mod ord">
          <ac:chgData name="Aryan Tah (MiddleEast)" userId="7f6066b6-35e9-4d47-9d15-8917e2720a06" providerId="ADAL" clId="{CB224072-EA94-4500-BB44-FA94C70FEF2B}" dt="2026-01-05T10:08:59.791" v="19128"/>
          <ac:graphicFrameMkLst>
            <pc:docMk/>
            <pc:sldMk cId="2909719335" sldId="302"/>
            <ac:graphicFrameMk id="159" creationId="{87C1D372-F50E-8515-2722-2A9D7AA5E70D}"/>
          </ac:graphicFrameMkLst>
        </pc:graphicFrameChg>
        <pc:graphicFrameChg chg="add del mod ord">
          <ac:chgData name="Aryan Tah (MiddleEast)" userId="7f6066b6-35e9-4d47-9d15-8917e2720a06" providerId="ADAL" clId="{CB224072-EA94-4500-BB44-FA94C70FEF2B}" dt="2026-01-05T10:09:03.749" v="19368"/>
          <ac:graphicFrameMkLst>
            <pc:docMk/>
            <pc:sldMk cId="2909719335" sldId="302"/>
            <ac:graphicFrameMk id="161" creationId="{CBD295E4-2641-BF7E-61B0-7BF14E736EF4}"/>
          </ac:graphicFrameMkLst>
        </pc:graphicFrameChg>
        <pc:graphicFrameChg chg="add del mod ord">
          <ac:chgData name="Aryan Tah (MiddleEast)" userId="7f6066b6-35e9-4d47-9d15-8917e2720a06" providerId="ADAL" clId="{CB224072-EA94-4500-BB44-FA94C70FEF2B}" dt="2026-01-05T10:09:10.175" v="19569"/>
          <ac:graphicFrameMkLst>
            <pc:docMk/>
            <pc:sldMk cId="2909719335" sldId="302"/>
            <ac:graphicFrameMk id="163" creationId="{C929D2F3-02DF-FE33-7D67-34B12347B063}"/>
          </ac:graphicFrameMkLst>
        </pc:graphicFrameChg>
        <pc:graphicFrameChg chg="add mod ord">
          <ac:chgData name="Aryan Tah (MiddleEast)" userId="7f6066b6-35e9-4d47-9d15-8917e2720a06" providerId="ADAL" clId="{CB224072-EA94-4500-BB44-FA94C70FEF2B}" dt="2026-01-05T10:09:10.226" v="19656"/>
          <ac:graphicFrameMkLst>
            <pc:docMk/>
            <pc:sldMk cId="2909719335" sldId="302"/>
            <ac:graphicFrameMk id="165" creationId="{8CF03819-65DD-E0DE-9BD9-D39DB18D1338}"/>
          </ac:graphicFrameMkLst>
        </pc:graphicFrameChg>
        <pc:picChg chg="del">
          <ac:chgData name="Aryan Tah (MiddleEast)" userId="7f6066b6-35e9-4d47-9d15-8917e2720a06" providerId="ADAL" clId="{CB224072-EA94-4500-BB44-FA94C70FEF2B}" dt="2026-01-05T09:28:25.824" v="12247" actId="478"/>
          <ac:picMkLst>
            <pc:docMk/>
            <pc:sldMk cId="2909719335" sldId="302"/>
            <ac:picMk id="37" creationId="{C1D66048-89A8-94BF-B13C-344D73EA3907}"/>
          </ac:picMkLst>
        </pc:picChg>
        <pc:cxnChg chg="mod ord">
          <ac:chgData name="Aryan Tah (MiddleEast)" userId="7f6066b6-35e9-4d47-9d15-8917e2720a06" providerId="ADAL" clId="{CB224072-EA94-4500-BB44-FA94C70FEF2B}" dt="2026-01-05T10:09:10.214" v="19600"/>
          <ac:cxnSpMkLst>
            <pc:docMk/>
            <pc:sldMk cId="2909719335" sldId="302"/>
            <ac:cxnSpMk id="45" creationId="{51054180-3655-5A90-F86A-AAAB30668A25}"/>
          </ac:cxnSpMkLst>
        </pc:cxnChg>
        <pc:cxnChg chg="mod ord">
          <ac:chgData name="Aryan Tah (MiddleEast)" userId="7f6066b6-35e9-4d47-9d15-8917e2720a06" providerId="ADAL" clId="{CB224072-EA94-4500-BB44-FA94C70FEF2B}" dt="2026-01-05T10:09:10.214" v="19602"/>
          <ac:cxnSpMkLst>
            <pc:docMk/>
            <pc:sldMk cId="2909719335" sldId="302"/>
            <ac:cxnSpMk id="46" creationId="{0717427D-F2D3-6732-C0E9-168960486519}"/>
          </ac:cxnSpMkLst>
        </pc:cxnChg>
        <pc:cxnChg chg="mod ord">
          <ac:chgData name="Aryan Tah (MiddleEast)" userId="7f6066b6-35e9-4d47-9d15-8917e2720a06" providerId="ADAL" clId="{CB224072-EA94-4500-BB44-FA94C70FEF2B}" dt="2026-01-05T10:09:10.215" v="19604"/>
          <ac:cxnSpMkLst>
            <pc:docMk/>
            <pc:sldMk cId="2909719335" sldId="302"/>
            <ac:cxnSpMk id="47" creationId="{40E21080-5293-12A7-C4CE-9173BF944033}"/>
          </ac:cxnSpMkLst>
        </pc:cxnChg>
        <pc:cxnChg chg="mod ord">
          <ac:chgData name="Aryan Tah (MiddleEast)" userId="7f6066b6-35e9-4d47-9d15-8917e2720a06" providerId="ADAL" clId="{CB224072-EA94-4500-BB44-FA94C70FEF2B}" dt="2026-01-05T10:09:10.225" v="19652"/>
          <ac:cxnSpMkLst>
            <pc:docMk/>
            <pc:sldMk cId="2909719335" sldId="302"/>
            <ac:cxnSpMk id="51" creationId="{54920CB2-39D0-97DF-5906-6A8EC034C338}"/>
          </ac:cxnSpMkLst>
        </pc:cxnChg>
        <pc:cxnChg chg="mod ord">
          <ac:chgData name="Aryan Tah (MiddleEast)" userId="7f6066b6-35e9-4d47-9d15-8917e2720a06" providerId="ADAL" clId="{CB224072-EA94-4500-BB44-FA94C70FEF2B}" dt="2026-01-05T10:09:10.224" v="19648"/>
          <ac:cxnSpMkLst>
            <pc:docMk/>
            <pc:sldMk cId="2909719335" sldId="302"/>
            <ac:cxnSpMk id="54" creationId="{88D75190-00A9-44AC-D0DE-1014B148CF18}"/>
          </ac:cxnSpMkLst>
        </pc:cxnChg>
        <pc:cxnChg chg="mod ord">
          <ac:chgData name="Aryan Tah (MiddleEast)" userId="7f6066b6-35e9-4d47-9d15-8917e2720a06" providerId="ADAL" clId="{CB224072-EA94-4500-BB44-FA94C70FEF2B}" dt="2026-01-05T10:09:10.225" v="19654"/>
          <ac:cxnSpMkLst>
            <pc:docMk/>
            <pc:sldMk cId="2909719335" sldId="302"/>
            <ac:cxnSpMk id="55" creationId="{DF7BB6BA-C4DE-9A70-A81B-0D74B848B260}"/>
          </ac:cxnSpMkLst>
        </pc:cxnChg>
        <pc:cxnChg chg="del mod ord">
          <ac:chgData name="Aryan Tah (MiddleEast)" userId="7f6066b6-35e9-4d47-9d15-8917e2720a06" providerId="ADAL" clId="{CB224072-EA94-4500-BB44-FA94C70FEF2B}" dt="2026-01-05T10:07:49.327" v="15885"/>
          <ac:cxnSpMkLst>
            <pc:docMk/>
            <pc:sldMk cId="2909719335" sldId="302"/>
            <ac:cxnSpMk id="56" creationId="{65D970B2-1067-1FE2-23D1-72326A0053D8}"/>
          </ac:cxnSpMkLst>
        </pc:cxnChg>
        <pc:cxnChg chg="mod ord">
          <ac:chgData name="Aryan Tah (MiddleEast)" userId="7f6066b6-35e9-4d47-9d15-8917e2720a06" providerId="ADAL" clId="{CB224072-EA94-4500-BB44-FA94C70FEF2B}" dt="2026-01-05T10:09:10.224" v="19646"/>
          <ac:cxnSpMkLst>
            <pc:docMk/>
            <pc:sldMk cId="2909719335" sldId="302"/>
            <ac:cxnSpMk id="57" creationId="{064FC755-1D20-4FE9-1720-BE4414D708FC}"/>
          </ac:cxnSpMkLst>
        </pc:cxnChg>
        <pc:cxnChg chg="del mod ord">
          <ac:chgData name="Aryan Tah (MiddleEast)" userId="7f6066b6-35e9-4d47-9d15-8917e2720a06" providerId="ADAL" clId="{CB224072-EA94-4500-BB44-FA94C70FEF2B}" dt="2026-01-05T10:07:49.316" v="15867"/>
          <ac:cxnSpMkLst>
            <pc:docMk/>
            <pc:sldMk cId="2909719335" sldId="302"/>
            <ac:cxnSpMk id="59" creationId="{D7B65946-AD22-8E63-937B-CD0C248EBBFF}"/>
          </ac:cxnSpMkLst>
        </pc:cxnChg>
        <pc:cxnChg chg="mod ord">
          <ac:chgData name="Aryan Tah (MiddleEast)" userId="7f6066b6-35e9-4d47-9d15-8917e2720a06" providerId="ADAL" clId="{CB224072-EA94-4500-BB44-FA94C70FEF2B}" dt="2026-01-05T10:09:10.225" v="19650"/>
          <ac:cxnSpMkLst>
            <pc:docMk/>
            <pc:sldMk cId="2909719335" sldId="302"/>
            <ac:cxnSpMk id="60" creationId="{94DEF8A2-7B15-04C0-B15A-CD9F8BDF5450}"/>
          </ac:cxnSpMkLst>
        </pc:cxnChg>
        <pc:cxnChg chg="del mod ord">
          <ac:chgData name="Aryan Tah (MiddleEast)" userId="7f6066b6-35e9-4d47-9d15-8917e2720a06" providerId="ADAL" clId="{CB224072-EA94-4500-BB44-FA94C70FEF2B}" dt="2026-01-05T10:07:49.325" v="15882"/>
          <ac:cxnSpMkLst>
            <pc:docMk/>
            <pc:sldMk cId="2909719335" sldId="302"/>
            <ac:cxnSpMk id="62" creationId="{93EDAA8C-C75A-B282-AE2A-17D4A4092D5A}"/>
          </ac:cxnSpMkLst>
        </pc:cxnChg>
        <pc:cxnChg chg="del mod ord">
          <ac:chgData name="Aryan Tah (MiddleEast)" userId="7f6066b6-35e9-4d47-9d15-8917e2720a06" providerId="ADAL" clId="{CB224072-EA94-4500-BB44-FA94C70FEF2B}" dt="2026-01-05T10:07:49.323" v="15876"/>
          <ac:cxnSpMkLst>
            <pc:docMk/>
            <pc:sldMk cId="2909719335" sldId="302"/>
            <ac:cxnSpMk id="65" creationId="{D333716B-0362-FB46-D214-4B0C3441B769}"/>
          </ac:cxnSpMkLst>
        </pc:cxnChg>
        <pc:cxnChg chg="mod ord">
          <ac:chgData name="Aryan Tah (MiddleEast)" userId="7f6066b6-35e9-4d47-9d15-8917e2720a06" providerId="ADAL" clId="{CB224072-EA94-4500-BB44-FA94C70FEF2B}" dt="2026-01-05T10:09:10.223" v="19642"/>
          <ac:cxnSpMkLst>
            <pc:docMk/>
            <pc:sldMk cId="2909719335" sldId="302"/>
            <ac:cxnSpMk id="66" creationId="{6F27858B-9D5B-7675-040C-8D4F7AADF6F8}"/>
          </ac:cxnSpMkLst>
        </pc:cxnChg>
        <pc:cxnChg chg="del mod ord">
          <ac:chgData name="Aryan Tah (MiddleEast)" userId="7f6066b6-35e9-4d47-9d15-8917e2720a06" providerId="ADAL" clId="{CB224072-EA94-4500-BB44-FA94C70FEF2B}" dt="2026-01-05T10:07:49.321" v="15873"/>
          <ac:cxnSpMkLst>
            <pc:docMk/>
            <pc:sldMk cId="2909719335" sldId="302"/>
            <ac:cxnSpMk id="75" creationId="{E6A8AA7F-9A2B-8736-21F3-6286DE41A74D}"/>
          </ac:cxnSpMkLst>
        </pc:cxnChg>
        <pc:cxnChg chg="del mod ord">
          <ac:chgData name="Aryan Tah (MiddleEast)" userId="7f6066b6-35e9-4d47-9d15-8917e2720a06" providerId="ADAL" clId="{CB224072-EA94-4500-BB44-FA94C70FEF2B}" dt="2026-01-05T10:07:49.324" v="15879"/>
          <ac:cxnSpMkLst>
            <pc:docMk/>
            <pc:sldMk cId="2909719335" sldId="302"/>
            <ac:cxnSpMk id="78" creationId="{FC6584C9-B597-2FE4-43B4-6024ADB44110}"/>
          </ac:cxnSpMkLst>
        </pc:cxnChg>
        <pc:cxnChg chg="del mod ord">
          <ac:chgData name="Aryan Tah (MiddleEast)" userId="7f6066b6-35e9-4d47-9d15-8917e2720a06" providerId="ADAL" clId="{CB224072-EA94-4500-BB44-FA94C70FEF2B}" dt="2026-01-05T10:07:49.319" v="15870"/>
          <ac:cxnSpMkLst>
            <pc:docMk/>
            <pc:sldMk cId="2909719335" sldId="302"/>
            <ac:cxnSpMk id="79" creationId="{57F7C173-CD4C-CD39-36A3-5585FCB34649}"/>
          </ac:cxnSpMkLst>
        </pc:cxnChg>
        <pc:cxnChg chg="mod ord">
          <ac:chgData name="Aryan Tah (MiddleEast)" userId="7f6066b6-35e9-4d47-9d15-8917e2720a06" providerId="ADAL" clId="{CB224072-EA94-4500-BB44-FA94C70FEF2B}" dt="2026-01-05T10:09:10.223" v="19640"/>
          <ac:cxnSpMkLst>
            <pc:docMk/>
            <pc:sldMk cId="2909719335" sldId="302"/>
            <ac:cxnSpMk id="80" creationId="{78D5F8CE-E341-445B-B01D-FD512A5909BE}"/>
          </ac:cxnSpMkLst>
        </pc:cxnChg>
        <pc:cxnChg chg="add mod ord">
          <ac:chgData name="Aryan Tah (MiddleEast)" userId="7f6066b6-35e9-4d47-9d15-8917e2720a06" providerId="ADAL" clId="{CB224072-EA94-4500-BB44-FA94C70FEF2B}" dt="2026-01-05T10:09:10.223" v="19644"/>
          <ac:cxnSpMkLst>
            <pc:docMk/>
            <pc:sldMk cId="2909719335" sldId="302"/>
            <ac:cxnSpMk id="119" creationId="{F2E26EB0-7D84-B0DA-0298-68440DF195B6}"/>
          </ac:cxnSpMkLst>
        </pc:cxnChg>
        <pc:cxnChg chg="add mod ord">
          <ac:chgData name="Aryan Tah (MiddleEast)" userId="7f6066b6-35e9-4d47-9d15-8917e2720a06" providerId="ADAL" clId="{CB224072-EA94-4500-BB44-FA94C70FEF2B}" dt="2026-01-05T10:09:10.232" v="19671"/>
          <ac:cxnSpMkLst>
            <pc:docMk/>
            <pc:sldMk cId="2909719335" sldId="302"/>
            <ac:cxnSpMk id="146" creationId="{B6EF387D-AB9E-1445-2A41-F98B4B8030E5}"/>
          </ac:cxnSpMkLst>
        </pc:cxnChg>
        <pc:cxnChg chg="add del mod ord">
          <ac:chgData name="Aryan Tah (MiddleEast)" userId="7f6066b6-35e9-4d47-9d15-8917e2720a06" providerId="ADAL" clId="{CB224072-EA94-4500-BB44-FA94C70FEF2B}" dt="2026-01-05T10:08:59.782" v="19108"/>
          <ac:cxnSpMkLst>
            <pc:docMk/>
            <pc:sldMk cId="2909719335" sldId="302"/>
            <ac:cxnSpMk id="150" creationId="{8BF4F332-2647-30F9-E79E-5713116739B3}"/>
          </ac:cxnSpMkLst>
        </pc:cxnChg>
        <pc:cxnChg chg="add del mod ord">
          <ac:chgData name="Aryan Tah (MiddleEast)" userId="7f6066b6-35e9-4d47-9d15-8917e2720a06" providerId="ADAL" clId="{CB224072-EA94-4500-BB44-FA94C70FEF2B}" dt="2026-01-05T10:09:10.096" v="19505"/>
          <ac:cxnSpMkLst>
            <pc:docMk/>
            <pc:sldMk cId="2909719335" sldId="302"/>
            <ac:cxnSpMk id="151" creationId="{1D834691-0E14-7236-8C29-E128739019EF}"/>
          </ac:cxnSpMkLst>
        </pc:cxnChg>
        <pc:cxnChg chg="add del mod ord">
          <ac:chgData name="Aryan Tah (MiddleEast)" userId="7f6066b6-35e9-4d47-9d15-8917e2720a06" providerId="ADAL" clId="{CB224072-EA94-4500-BB44-FA94C70FEF2B}" dt="2026-01-05T10:09:10.095" v="19503"/>
          <ac:cxnSpMkLst>
            <pc:docMk/>
            <pc:sldMk cId="2909719335" sldId="302"/>
            <ac:cxnSpMk id="152" creationId="{C4412BC8-1999-708E-D5B6-6DFDE04831F3}"/>
          </ac:cxnSpMkLst>
        </pc:cxnChg>
        <pc:cxnChg chg="add del mod ord">
          <ac:chgData name="Aryan Tah (MiddleEast)" userId="7f6066b6-35e9-4d47-9d15-8917e2720a06" providerId="ADAL" clId="{CB224072-EA94-4500-BB44-FA94C70FEF2B}" dt="2026-01-05T10:09:10.094" v="19501"/>
          <ac:cxnSpMkLst>
            <pc:docMk/>
            <pc:sldMk cId="2909719335" sldId="302"/>
            <ac:cxnSpMk id="153" creationId="{977AA65A-AEEB-5B9A-D2A9-EEA2DDDA5E64}"/>
          </ac:cxnSpMkLst>
        </pc:cxnChg>
        <pc:cxnChg chg="add del mod ord">
          <ac:chgData name="Aryan Tah (MiddleEast)" userId="7f6066b6-35e9-4d47-9d15-8917e2720a06" providerId="ADAL" clId="{CB224072-EA94-4500-BB44-FA94C70FEF2B}" dt="2026-01-05T10:09:10.093" v="19499"/>
          <ac:cxnSpMkLst>
            <pc:docMk/>
            <pc:sldMk cId="2909719335" sldId="302"/>
            <ac:cxnSpMk id="154" creationId="{1C0874B1-45B9-127A-04EF-5EE1CBEC1E63}"/>
          </ac:cxnSpMkLst>
        </pc:cxnChg>
        <pc:cxnChg chg="add">
          <ac:chgData name="Aryan Tah (MiddleEast)" userId="7f6066b6-35e9-4d47-9d15-8917e2720a06" providerId="ADAL" clId="{CB224072-EA94-4500-BB44-FA94C70FEF2B}" dt="2026-01-05T10:09:20.356" v="19688" actId="11529"/>
          <ac:cxnSpMkLst>
            <pc:docMk/>
            <pc:sldMk cId="2909719335" sldId="302"/>
            <ac:cxnSpMk id="167" creationId="{87B84165-9893-EF39-86E1-EF1F20D73DF0}"/>
          </ac:cxnSpMkLst>
        </pc:cxnChg>
      </pc:sldChg>
      <pc:sldChg chg="addSp delSp modSp add mod">
        <pc:chgData name="Aryan Tah (MiddleEast)" userId="7f6066b6-35e9-4d47-9d15-8917e2720a06" providerId="ADAL" clId="{CB224072-EA94-4500-BB44-FA94C70FEF2B}" dt="2026-01-05T11:35:06.382" v="20889" actId="20577"/>
        <pc:sldMkLst>
          <pc:docMk/>
          <pc:sldMk cId="160543707" sldId="304"/>
        </pc:sldMkLst>
        <pc:spChg chg="del">
          <ac:chgData name="Aryan Tah (MiddleEast)" userId="7f6066b6-35e9-4d47-9d15-8917e2720a06" providerId="ADAL" clId="{CB224072-EA94-4500-BB44-FA94C70FEF2B}" dt="2026-01-05T09:47:54.991" v="12913" actId="478"/>
          <ac:spMkLst>
            <pc:docMk/>
            <pc:sldMk cId="160543707" sldId="304"/>
            <ac:spMk id="2" creationId="{F8FF4E85-F323-9CDF-ECC2-B5564BE0B89E}"/>
          </ac:spMkLst>
        </pc:spChg>
        <pc:spChg chg="mod ord">
          <ac:chgData name="Aryan Tah (MiddleEast)" userId="7f6066b6-35e9-4d47-9d15-8917e2720a06" providerId="ADAL" clId="{CB224072-EA94-4500-BB44-FA94C70FEF2B}" dt="2026-01-05T10:07:03.906" v="13176"/>
          <ac:spMkLst>
            <pc:docMk/>
            <pc:sldMk cId="160543707" sldId="304"/>
            <ac:spMk id="4" creationId="{40C50CED-A600-2C65-9F5B-75EEA76FDA77}"/>
          </ac:spMkLst>
        </pc:spChg>
        <pc:spChg chg="add del mod">
          <ac:chgData name="Aryan Tah (MiddleEast)" userId="7f6066b6-35e9-4d47-9d15-8917e2720a06" providerId="ADAL" clId="{CB224072-EA94-4500-BB44-FA94C70FEF2B}" dt="2026-01-05T10:07:00.918" v="13169" actId="478"/>
          <ac:spMkLst>
            <pc:docMk/>
            <pc:sldMk cId="160543707" sldId="304"/>
            <ac:spMk id="5" creationId="{1B2AC0AF-430D-93D0-4D5D-4367A89ABD4D}"/>
          </ac:spMkLst>
        </pc:spChg>
        <pc:spChg chg="mod ord">
          <ac:chgData name="Aryan Tah (MiddleEast)" userId="7f6066b6-35e9-4d47-9d15-8917e2720a06" providerId="ADAL" clId="{CB224072-EA94-4500-BB44-FA94C70FEF2B}" dt="2026-01-05T10:07:03.911" v="13194"/>
          <ac:spMkLst>
            <pc:docMk/>
            <pc:sldMk cId="160543707" sldId="304"/>
            <ac:spMk id="6" creationId="{77B8A5C8-0B9F-186E-EFB8-B8A958E7E165}"/>
          </ac:spMkLst>
        </pc:spChg>
        <pc:spChg chg="add mod ord">
          <ac:chgData name="Aryan Tah (MiddleEast)" userId="7f6066b6-35e9-4d47-9d15-8917e2720a06" providerId="ADAL" clId="{CB224072-EA94-4500-BB44-FA94C70FEF2B}" dt="2026-01-05T10:07:03.923" v="13240"/>
          <ac:spMkLst>
            <pc:docMk/>
            <pc:sldMk cId="160543707" sldId="304"/>
            <ac:spMk id="7" creationId="{0AB057C3-2733-19AA-1F62-39446D35E01E}"/>
          </ac:spMkLst>
        </pc:spChg>
        <pc:spChg chg="mod ord topLvl">
          <ac:chgData name="Aryan Tah (MiddleEast)" userId="7f6066b6-35e9-4d47-9d15-8917e2720a06" providerId="ADAL" clId="{CB224072-EA94-4500-BB44-FA94C70FEF2B}" dt="2026-01-05T10:19:12.710" v="19695" actId="164"/>
          <ac:spMkLst>
            <pc:docMk/>
            <pc:sldMk cId="160543707" sldId="304"/>
            <ac:spMk id="8" creationId="{081169B4-CBF5-2354-EA5D-0C29A78C63A3}"/>
          </ac:spMkLst>
        </pc:spChg>
        <pc:spChg chg="add mod ord">
          <ac:chgData name="Aryan Tah (MiddleEast)" userId="7f6066b6-35e9-4d47-9d15-8917e2720a06" providerId="ADAL" clId="{CB224072-EA94-4500-BB44-FA94C70FEF2B}" dt="2026-01-05T10:07:03.924" v="13242"/>
          <ac:spMkLst>
            <pc:docMk/>
            <pc:sldMk cId="160543707" sldId="304"/>
            <ac:spMk id="9" creationId="{D4B79887-44C2-5C84-E31A-7A101D3AE5A3}"/>
          </ac:spMkLst>
        </pc:spChg>
        <pc:spChg chg="mod ord topLvl">
          <ac:chgData name="Aryan Tah (MiddleEast)" userId="7f6066b6-35e9-4d47-9d15-8917e2720a06" providerId="ADAL" clId="{CB224072-EA94-4500-BB44-FA94C70FEF2B}" dt="2026-01-05T10:19:38.134" v="19712" actId="165"/>
          <ac:spMkLst>
            <pc:docMk/>
            <pc:sldMk cId="160543707" sldId="304"/>
            <ac:spMk id="10" creationId="{2B02A2B6-FB36-6DD2-BB3F-CAD3A875B894}"/>
          </ac:spMkLst>
        </pc:spChg>
        <pc:spChg chg="mod ord">
          <ac:chgData name="Aryan Tah (MiddleEast)" userId="7f6066b6-35e9-4d47-9d15-8917e2720a06" providerId="ADAL" clId="{CB224072-EA94-4500-BB44-FA94C70FEF2B}" dt="2026-01-05T10:07:03.907" v="13178"/>
          <ac:spMkLst>
            <pc:docMk/>
            <pc:sldMk cId="160543707" sldId="304"/>
            <ac:spMk id="11" creationId="{111ABC99-E35E-7975-DEA5-108A21E4FC86}"/>
          </ac:spMkLst>
        </pc:spChg>
        <pc:spChg chg="mod ord">
          <ac:chgData name="Aryan Tah (MiddleEast)" userId="7f6066b6-35e9-4d47-9d15-8917e2720a06" providerId="ADAL" clId="{CB224072-EA94-4500-BB44-FA94C70FEF2B}" dt="2026-01-05T10:07:03.913" v="13200"/>
          <ac:spMkLst>
            <pc:docMk/>
            <pc:sldMk cId="160543707" sldId="304"/>
            <ac:spMk id="12" creationId="{29A8FA71-CFB7-90DC-74C6-DA1B3ADB656B}"/>
          </ac:spMkLst>
        </pc:spChg>
        <pc:spChg chg="mod ord topLvl">
          <ac:chgData name="Aryan Tah (MiddleEast)" userId="7f6066b6-35e9-4d47-9d15-8917e2720a06" providerId="ADAL" clId="{CB224072-EA94-4500-BB44-FA94C70FEF2B}" dt="2026-01-05T10:19:38.134" v="19712" actId="165"/>
          <ac:spMkLst>
            <pc:docMk/>
            <pc:sldMk cId="160543707" sldId="304"/>
            <ac:spMk id="13" creationId="{970C40B0-EB20-DDA8-3F60-D87EFB0D86C6}"/>
          </ac:spMkLst>
        </pc:spChg>
        <pc:spChg chg="mod ord topLvl">
          <ac:chgData name="Aryan Tah (MiddleEast)" userId="7f6066b6-35e9-4d47-9d15-8917e2720a06" providerId="ADAL" clId="{CB224072-EA94-4500-BB44-FA94C70FEF2B}" dt="2026-01-05T10:07:03.914" v="13204"/>
          <ac:spMkLst>
            <pc:docMk/>
            <pc:sldMk cId="160543707" sldId="304"/>
            <ac:spMk id="15" creationId="{E33C2305-652C-5044-06A8-619529492DAA}"/>
          </ac:spMkLst>
        </pc:spChg>
        <pc:spChg chg="mod ord">
          <ac:chgData name="Aryan Tah (MiddleEast)" userId="7f6066b6-35e9-4d47-9d15-8917e2720a06" providerId="ADAL" clId="{CB224072-EA94-4500-BB44-FA94C70FEF2B}" dt="2026-01-05T10:07:03.915" v="13206"/>
          <ac:spMkLst>
            <pc:docMk/>
            <pc:sldMk cId="160543707" sldId="304"/>
            <ac:spMk id="16" creationId="{47A9F457-EDA4-BB22-5013-E1335459266C}"/>
          </ac:spMkLst>
        </pc:spChg>
        <pc:spChg chg="mod">
          <ac:chgData name="Aryan Tah (MiddleEast)" userId="7f6066b6-35e9-4d47-9d15-8917e2720a06" providerId="ADAL" clId="{CB224072-EA94-4500-BB44-FA94C70FEF2B}" dt="2026-01-05T10:23:59.597" v="19832" actId="207"/>
          <ac:spMkLst>
            <pc:docMk/>
            <pc:sldMk cId="160543707" sldId="304"/>
            <ac:spMk id="18" creationId="{93FE57D7-294E-11AA-37E2-28D1053EFB3E}"/>
          </ac:spMkLst>
        </pc:spChg>
        <pc:spChg chg="mod">
          <ac:chgData name="Aryan Tah (MiddleEast)" userId="7f6066b6-35e9-4d47-9d15-8917e2720a06" providerId="ADAL" clId="{CB224072-EA94-4500-BB44-FA94C70FEF2B}" dt="2026-01-05T10:23:52.543" v="19831" actId="207"/>
          <ac:spMkLst>
            <pc:docMk/>
            <pc:sldMk cId="160543707" sldId="304"/>
            <ac:spMk id="19" creationId="{7275EAA7-0FD3-5A58-623E-7A80FFB68D3A}"/>
          </ac:spMkLst>
        </pc:spChg>
        <pc:spChg chg="mod">
          <ac:chgData name="Aryan Tah (MiddleEast)" userId="7f6066b6-35e9-4d47-9d15-8917e2720a06" providerId="ADAL" clId="{CB224072-EA94-4500-BB44-FA94C70FEF2B}" dt="2026-01-05T10:24:09.268" v="19834" actId="20577"/>
          <ac:spMkLst>
            <pc:docMk/>
            <pc:sldMk cId="160543707" sldId="304"/>
            <ac:spMk id="20" creationId="{A184D294-4588-3130-EF6D-8BBE62DA75C4}"/>
          </ac:spMkLst>
        </pc:spChg>
        <pc:spChg chg="del">
          <ac:chgData name="Aryan Tah (MiddleEast)" userId="7f6066b6-35e9-4d47-9d15-8917e2720a06" providerId="ADAL" clId="{CB224072-EA94-4500-BB44-FA94C70FEF2B}" dt="2026-01-05T09:48:05.752" v="12915" actId="478"/>
          <ac:spMkLst>
            <pc:docMk/>
            <pc:sldMk cId="160543707" sldId="304"/>
            <ac:spMk id="21" creationId="{3A1F1262-2204-0378-8B90-36F39F44D7D6}"/>
          </ac:spMkLst>
        </pc:spChg>
        <pc:spChg chg="del">
          <ac:chgData name="Aryan Tah (MiddleEast)" userId="7f6066b6-35e9-4d47-9d15-8917e2720a06" providerId="ADAL" clId="{CB224072-EA94-4500-BB44-FA94C70FEF2B}" dt="2026-01-05T09:48:05.752" v="12915" actId="478"/>
          <ac:spMkLst>
            <pc:docMk/>
            <pc:sldMk cId="160543707" sldId="304"/>
            <ac:spMk id="22" creationId="{CE52E571-E3B0-5A9A-380E-CDC0352CA462}"/>
          </ac:spMkLst>
        </pc:spChg>
        <pc:spChg chg="del">
          <ac:chgData name="Aryan Tah (MiddleEast)" userId="7f6066b6-35e9-4d47-9d15-8917e2720a06" providerId="ADAL" clId="{CB224072-EA94-4500-BB44-FA94C70FEF2B}" dt="2026-01-05T09:48:05.752" v="12915" actId="478"/>
          <ac:spMkLst>
            <pc:docMk/>
            <pc:sldMk cId="160543707" sldId="304"/>
            <ac:spMk id="25" creationId="{B8A9B38E-1167-BA54-27B3-ED6D494D59CA}"/>
          </ac:spMkLst>
        </pc:spChg>
        <pc:spChg chg="mod ord">
          <ac:chgData name="Aryan Tah (MiddleEast)" userId="7f6066b6-35e9-4d47-9d15-8917e2720a06" providerId="ADAL" clId="{CB224072-EA94-4500-BB44-FA94C70FEF2B}" dt="2026-01-05T10:07:03.916" v="13210"/>
          <ac:spMkLst>
            <pc:docMk/>
            <pc:sldMk cId="160543707" sldId="304"/>
            <ac:spMk id="26" creationId="{D72DB0B2-9A0A-230A-903C-183E5EAE941A}"/>
          </ac:spMkLst>
        </pc:spChg>
        <pc:spChg chg="mod ord">
          <ac:chgData name="Aryan Tah (MiddleEast)" userId="7f6066b6-35e9-4d47-9d15-8917e2720a06" providerId="ADAL" clId="{CB224072-EA94-4500-BB44-FA94C70FEF2B}" dt="2026-01-05T10:07:03.908" v="13182"/>
          <ac:spMkLst>
            <pc:docMk/>
            <pc:sldMk cId="160543707" sldId="304"/>
            <ac:spMk id="28" creationId="{A3A93D78-51AD-FCAF-20FA-567463307B71}"/>
          </ac:spMkLst>
        </pc:spChg>
        <pc:spChg chg="mod ord">
          <ac:chgData name="Aryan Tah (MiddleEast)" userId="7f6066b6-35e9-4d47-9d15-8917e2720a06" providerId="ADAL" clId="{CB224072-EA94-4500-BB44-FA94C70FEF2B}" dt="2026-01-05T10:07:03.916" v="13212"/>
          <ac:spMkLst>
            <pc:docMk/>
            <pc:sldMk cId="160543707" sldId="304"/>
            <ac:spMk id="29" creationId="{4F81B80C-3D2E-C9AB-C616-CF3785D52B98}"/>
          </ac:spMkLst>
        </pc:spChg>
        <pc:spChg chg="mod ord topLvl">
          <ac:chgData name="Aryan Tah (MiddleEast)" userId="7f6066b6-35e9-4d47-9d15-8917e2720a06" providerId="ADAL" clId="{CB224072-EA94-4500-BB44-FA94C70FEF2B}" dt="2026-01-05T10:07:03.917" v="13214"/>
          <ac:spMkLst>
            <pc:docMk/>
            <pc:sldMk cId="160543707" sldId="304"/>
            <ac:spMk id="31" creationId="{73C9B0D3-C359-89B4-A5E8-A11C6D0AC7CD}"/>
          </ac:spMkLst>
        </pc:spChg>
        <pc:spChg chg="add del mod modVis">
          <ac:chgData name="Aryan Tah (MiddleEast)" userId="7f6066b6-35e9-4d47-9d15-8917e2720a06" providerId="ADAL" clId="{CB224072-EA94-4500-BB44-FA94C70FEF2B}" dt="2026-01-05T09:49:35.420" v="12967" actId="962"/>
          <ac:spMkLst>
            <pc:docMk/>
            <pc:sldMk cId="160543707" sldId="304"/>
            <ac:spMk id="32" creationId="{B92D5651-0284-95FF-986B-05E195C16FE9}"/>
          </ac:spMkLst>
        </pc:spChg>
        <pc:spChg chg="mod ord topLvl">
          <ac:chgData name="Aryan Tah (MiddleEast)" userId="7f6066b6-35e9-4d47-9d15-8917e2720a06" providerId="ADAL" clId="{CB224072-EA94-4500-BB44-FA94C70FEF2B}" dt="2026-01-05T10:19:38.134" v="19712" actId="165"/>
          <ac:spMkLst>
            <pc:docMk/>
            <pc:sldMk cId="160543707" sldId="304"/>
            <ac:spMk id="33" creationId="{84581ED5-BD34-104F-FBE9-DA17F0CC3BFB}"/>
          </ac:spMkLst>
        </pc:spChg>
        <pc:spChg chg="mod ord topLvl">
          <ac:chgData name="Aryan Tah (MiddleEast)" userId="7f6066b6-35e9-4d47-9d15-8917e2720a06" providerId="ADAL" clId="{CB224072-EA94-4500-BB44-FA94C70FEF2B}" dt="2026-01-05T10:19:38.134" v="19712" actId="165"/>
          <ac:spMkLst>
            <pc:docMk/>
            <pc:sldMk cId="160543707" sldId="304"/>
            <ac:spMk id="34" creationId="{3B09B0DC-7F61-27EA-9FDB-5DA5CE9DA9B5}"/>
          </ac:spMkLst>
        </pc:spChg>
        <pc:spChg chg="mod ord topLvl">
          <ac:chgData name="Aryan Tah (MiddleEast)" userId="7f6066b6-35e9-4d47-9d15-8917e2720a06" providerId="ADAL" clId="{CB224072-EA94-4500-BB44-FA94C70FEF2B}" dt="2026-01-05T10:07:03.918" v="13220"/>
          <ac:spMkLst>
            <pc:docMk/>
            <pc:sldMk cId="160543707" sldId="304"/>
            <ac:spMk id="35" creationId="{8FB29F02-3388-929E-5B9B-0694F4189D95}"/>
          </ac:spMkLst>
        </pc:spChg>
        <pc:spChg chg="mod ord topLvl">
          <ac:chgData name="Aryan Tah (MiddleEast)" userId="7f6066b6-35e9-4d47-9d15-8917e2720a06" providerId="ADAL" clId="{CB224072-EA94-4500-BB44-FA94C70FEF2B}" dt="2026-01-05T10:19:12.710" v="19695" actId="164"/>
          <ac:spMkLst>
            <pc:docMk/>
            <pc:sldMk cId="160543707" sldId="304"/>
            <ac:spMk id="36" creationId="{454260E8-66EA-3187-8B32-29457265FB69}"/>
          </ac:spMkLst>
        </pc:spChg>
        <pc:spChg chg="add del mod modVis">
          <ac:chgData name="Aryan Tah (MiddleEast)" userId="7f6066b6-35e9-4d47-9d15-8917e2720a06" providerId="ADAL" clId="{CB224072-EA94-4500-BB44-FA94C70FEF2B}" dt="2026-01-05T09:55:48.383" v="12995"/>
          <ac:spMkLst>
            <pc:docMk/>
            <pc:sldMk cId="160543707" sldId="304"/>
            <ac:spMk id="37" creationId="{E1A19986-A57C-449C-720B-2ACE624C07E6}"/>
          </ac:spMkLst>
        </pc:spChg>
        <pc:spChg chg="mod ord topLvl">
          <ac:chgData name="Aryan Tah (MiddleEast)" userId="7f6066b6-35e9-4d47-9d15-8917e2720a06" providerId="ADAL" clId="{CB224072-EA94-4500-BB44-FA94C70FEF2B}" dt="2026-01-05T10:19:38.134" v="19712" actId="165"/>
          <ac:spMkLst>
            <pc:docMk/>
            <pc:sldMk cId="160543707" sldId="304"/>
            <ac:spMk id="39" creationId="{7CF28524-1D1D-4F60-1642-87F05AE9B9AA}"/>
          </ac:spMkLst>
        </pc:spChg>
        <pc:spChg chg="mod ord topLvl">
          <ac:chgData name="Aryan Tah (MiddleEast)" userId="7f6066b6-35e9-4d47-9d15-8917e2720a06" providerId="ADAL" clId="{CB224072-EA94-4500-BB44-FA94C70FEF2B}" dt="2026-01-05T10:07:03.920" v="13226"/>
          <ac:spMkLst>
            <pc:docMk/>
            <pc:sldMk cId="160543707" sldId="304"/>
            <ac:spMk id="40" creationId="{05744D38-9F54-3C43-F36E-6961BC9F8404}"/>
          </ac:spMkLst>
        </pc:spChg>
        <pc:spChg chg="mod ord topLvl">
          <ac:chgData name="Aryan Tah (MiddleEast)" userId="7f6066b6-35e9-4d47-9d15-8917e2720a06" providerId="ADAL" clId="{CB224072-EA94-4500-BB44-FA94C70FEF2B}" dt="2026-01-05T10:07:03.920" v="13228"/>
          <ac:spMkLst>
            <pc:docMk/>
            <pc:sldMk cId="160543707" sldId="304"/>
            <ac:spMk id="41" creationId="{4D88707C-89A5-2479-B8C9-A18BA6A7023E}"/>
          </ac:spMkLst>
        </pc:spChg>
        <pc:spChg chg="mod ord topLvl">
          <ac:chgData name="Aryan Tah (MiddleEast)" userId="7f6066b6-35e9-4d47-9d15-8917e2720a06" providerId="ADAL" clId="{CB224072-EA94-4500-BB44-FA94C70FEF2B}" dt="2026-01-05T10:19:12.710" v="19695" actId="164"/>
          <ac:spMkLst>
            <pc:docMk/>
            <pc:sldMk cId="160543707" sldId="304"/>
            <ac:spMk id="43" creationId="{CE0C63A7-9F31-ACB5-F25F-3BDA339749C5}"/>
          </ac:spMkLst>
        </pc:spChg>
        <pc:spChg chg="mod ord topLvl">
          <ac:chgData name="Aryan Tah (MiddleEast)" userId="7f6066b6-35e9-4d47-9d15-8917e2720a06" providerId="ADAL" clId="{CB224072-EA94-4500-BB44-FA94C70FEF2B}" dt="2026-01-05T10:07:03.921" v="13232"/>
          <ac:spMkLst>
            <pc:docMk/>
            <pc:sldMk cId="160543707" sldId="304"/>
            <ac:spMk id="44" creationId="{8DB0CD2E-C9C5-7F8E-3556-428D319F5C44}"/>
          </ac:spMkLst>
        </pc:spChg>
        <pc:spChg chg="mod ord topLvl">
          <ac:chgData name="Aryan Tah (MiddleEast)" userId="7f6066b6-35e9-4d47-9d15-8917e2720a06" providerId="ADAL" clId="{CB224072-EA94-4500-BB44-FA94C70FEF2B}" dt="2026-01-05T10:07:03.925" v="13246"/>
          <ac:spMkLst>
            <pc:docMk/>
            <pc:sldMk cId="160543707" sldId="304"/>
            <ac:spMk id="45" creationId="{290A6F85-2EBD-5D9D-BC7D-00522878A724}"/>
          </ac:spMkLst>
        </pc:spChg>
        <pc:spChg chg="del mod topLvl">
          <ac:chgData name="Aryan Tah (MiddleEast)" userId="7f6066b6-35e9-4d47-9d15-8917e2720a06" providerId="ADAL" clId="{CB224072-EA94-4500-BB44-FA94C70FEF2B}" dt="2026-01-05T10:03:10.718" v="13093" actId="478"/>
          <ac:spMkLst>
            <pc:docMk/>
            <pc:sldMk cId="160543707" sldId="304"/>
            <ac:spMk id="46" creationId="{2AC5A0C0-77FB-4CE4-10D1-7F490689FD00}"/>
          </ac:spMkLst>
        </pc:spChg>
        <pc:spChg chg="mod ord topLvl">
          <ac:chgData name="Aryan Tah (MiddleEast)" userId="7f6066b6-35e9-4d47-9d15-8917e2720a06" providerId="ADAL" clId="{CB224072-EA94-4500-BB44-FA94C70FEF2B}" dt="2026-01-05T10:07:03.922" v="13234"/>
          <ac:spMkLst>
            <pc:docMk/>
            <pc:sldMk cId="160543707" sldId="304"/>
            <ac:spMk id="48" creationId="{9E6B1DBF-892A-4D3C-C2FE-EF96FAE41FF9}"/>
          </ac:spMkLst>
        </pc:spChg>
        <pc:spChg chg="mod ord topLvl">
          <ac:chgData name="Aryan Tah (MiddleEast)" userId="7f6066b6-35e9-4d47-9d15-8917e2720a06" providerId="ADAL" clId="{CB224072-EA94-4500-BB44-FA94C70FEF2B}" dt="2026-01-05T10:07:03.922" v="13236"/>
          <ac:spMkLst>
            <pc:docMk/>
            <pc:sldMk cId="160543707" sldId="304"/>
            <ac:spMk id="49" creationId="{B3022A1B-B0CA-CE34-00C9-89E79A5215ED}"/>
          </ac:spMkLst>
        </pc:spChg>
        <pc:spChg chg="mod ord topLvl">
          <ac:chgData name="Aryan Tah (MiddleEast)" userId="7f6066b6-35e9-4d47-9d15-8917e2720a06" providerId="ADAL" clId="{CB224072-EA94-4500-BB44-FA94C70FEF2B}" dt="2026-01-05T10:19:12.710" v="19695" actId="164"/>
          <ac:spMkLst>
            <pc:docMk/>
            <pc:sldMk cId="160543707" sldId="304"/>
            <ac:spMk id="50" creationId="{FEFCD4C1-E09D-BBB4-64BA-66D8F9E04DD4}"/>
          </ac:spMkLst>
        </pc:spChg>
        <pc:spChg chg="del">
          <ac:chgData name="Aryan Tah (MiddleEast)" userId="7f6066b6-35e9-4d47-9d15-8917e2720a06" providerId="ADAL" clId="{CB224072-EA94-4500-BB44-FA94C70FEF2B}" dt="2026-01-05T09:48:05.752" v="12915" actId="478"/>
          <ac:spMkLst>
            <pc:docMk/>
            <pc:sldMk cId="160543707" sldId="304"/>
            <ac:spMk id="51" creationId="{C9EDCAF5-8AD4-1C46-FE1B-1CC4EF42B423}"/>
          </ac:spMkLst>
        </pc:spChg>
        <pc:spChg chg="mod ord topLvl">
          <ac:chgData name="Aryan Tah (MiddleEast)" userId="7f6066b6-35e9-4d47-9d15-8917e2720a06" providerId="ADAL" clId="{CB224072-EA94-4500-BB44-FA94C70FEF2B}" dt="2026-01-05T10:07:03.926" v="13248"/>
          <ac:spMkLst>
            <pc:docMk/>
            <pc:sldMk cId="160543707" sldId="304"/>
            <ac:spMk id="52" creationId="{0483B37A-1F65-BFC9-110A-7FAEC29581DE}"/>
          </ac:spMkLst>
        </pc:spChg>
        <pc:spChg chg="mod ord">
          <ac:chgData name="Aryan Tah (MiddleEast)" userId="7f6066b6-35e9-4d47-9d15-8917e2720a06" providerId="ADAL" clId="{CB224072-EA94-4500-BB44-FA94C70FEF2B}" dt="2026-01-05T10:07:03.906" v="13174"/>
          <ac:spMkLst>
            <pc:docMk/>
            <pc:sldMk cId="160543707" sldId="304"/>
            <ac:spMk id="53" creationId="{236B2F64-9DD4-EC07-5FF0-B0752144ADE6}"/>
          </ac:spMkLst>
        </pc:spChg>
        <pc:spChg chg="mod ord topLvl">
          <ac:chgData name="Aryan Tah (MiddleEast)" userId="7f6066b6-35e9-4d47-9d15-8917e2720a06" providerId="ADAL" clId="{CB224072-EA94-4500-BB44-FA94C70FEF2B}" dt="2026-01-05T10:19:12.710" v="19695" actId="164"/>
          <ac:spMkLst>
            <pc:docMk/>
            <pc:sldMk cId="160543707" sldId="304"/>
            <ac:spMk id="54" creationId="{BAD3AF00-FFD6-45AA-3782-2F28BEB9D824}"/>
          </ac:spMkLst>
        </pc:spChg>
        <pc:spChg chg="del">
          <ac:chgData name="Aryan Tah (MiddleEast)" userId="7f6066b6-35e9-4d47-9d15-8917e2720a06" providerId="ADAL" clId="{CB224072-EA94-4500-BB44-FA94C70FEF2B}" dt="2026-01-05T09:47:59.038" v="12914" actId="478"/>
          <ac:spMkLst>
            <pc:docMk/>
            <pc:sldMk cId="160543707" sldId="304"/>
            <ac:spMk id="55" creationId="{8D54ECEF-C86B-7400-68D2-EEE2CB90EE19}"/>
          </ac:spMkLst>
        </pc:spChg>
        <pc:spChg chg="del">
          <ac:chgData name="Aryan Tah (MiddleEast)" userId="7f6066b6-35e9-4d47-9d15-8917e2720a06" providerId="ADAL" clId="{CB224072-EA94-4500-BB44-FA94C70FEF2B}" dt="2026-01-05T09:47:59.038" v="12914" actId="478"/>
          <ac:spMkLst>
            <pc:docMk/>
            <pc:sldMk cId="160543707" sldId="304"/>
            <ac:spMk id="56" creationId="{5C01B88F-A52E-5778-7A32-6E12652B36DF}"/>
          </ac:spMkLst>
        </pc:spChg>
        <pc:spChg chg="mod topLvl">
          <ac:chgData name="Aryan Tah (MiddleEast)" userId="7f6066b6-35e9-4d47-9d15-8917e2720a06" providerId="ADAL" clId="{CB224072-EA94-4500-BB44-FA94C70FEF2B}" dt="2026-01-05T10:06:06.600" v="13156"/>
          <ac:spMkLst>
            <pc:docMk/>
            <pc:sldMk cId="160543707" sldId="304"/>
            <ac:spMk id="59" creationId="{4C43BBE0-D754-7A8F-AC3B-E1BD846DCB40}"/>
          </ac:spMkLst>
        </pc:spChg>
        <pc:spChg chg="del mod topLvl">
          <ac:chgData name="Aryan Tah (MiddleEast)" userId="7f6066b6-35e9-4d47-9d15-8917e2720a06" providerId="ADAL" clId="{CB224072-EA94-4500-BB44-FA94C70FEF2B}" dt="2026-01-05T10:03:03.622" v="13092" actId="478"/>
          <ac:spMkLst>
            <pc:docMk/>
            <pc:sldMk cId="160543707" sldId="304"/>
            <ac:spMk id="60" creationId="{ADA316AB-22F9-1D91-DD7A-524E35B67F23}"/>
          </ac:spMkLst>
        </pc:spChg>
        <pc:spChg chg="mod topLvl">
          <ac:chgData name="Aryan Tah (MiddleEast)" userId="7f6066b6-35e9-4d47-9d15-8917e2720a06" providerId="ADAL" clId="{CB224072-EA94-4500-BB44-FA94C70FEF2B}" dt="2026-01-05T10:06:06.601" v="13158"/>
          <ac:spMkLst>
            <pc:docMk/>
            <pc:sldMk cId="160543707" sldId="304"/>
            <ac:spMk id="62" creationId="{AA8F83FE-2355-DCB5-E6FC-EA3F75864A25}"/>
          </ac:spMkLst>
        </pc:spChg>
        <pc:spChg chg="mod topLvl">
          <ac:chgData name="Aryan Tah (MiddleEast)" userId="7f6066b6-35e9-4d47-9d15-8917e2720a06" providerId="ADAL" clId="{CB224072-EA94-4500-BB44-FA94C70FEF2B}" dt="2026-01-05T10:06:06.601" v="13158"/>
          <ac:spMkLst>
            <pc:docMk/>
            <pc:sldMk cId="160543707" sldId="304"/>
            <ac:spMk id="65" creationId="{54440D78-6B18-E52D-359C-B917C01E63EE}"/>
          </ac:spMkLst>
        </pc:spChg>
        <pc:spChg chg="mod ord topLvl">
          <ac:chgData name="Aryan Tah (MiddleEast)" userId="7f6066b6-35e9-4d47-9d15-8917e2720a06" providerId="ADAL" clId="{CB224072-EA94-4500-BB44-FA94C70FEF2B}" dt="2026-01-05T10:07:03.927" v="13254"/>
          <ac:spMkLst>
            <pc:docMk/>
            <pc:sldMk cId="160543707" sldId="304"/>
            <ac:spMk id="67" creationId="{77DE2E32-A7D0-4C2E-EEB8-E303D9C0C27A}"/>
          </ac:spMkLst>
        </pc:spChg>
        <pc:spChg chg="mod ord">
          <ac:chgData name="Aryan Tah (MiddleEast)" userId="7f6066b6-35e9-4d47-9d15-8917e2720a06" providerId="ADAL" clId="{CB224072-EA94-4500-BB44-FA94C70FEF2B}" dt="2026-01-05T10:07:03.910" v="13188"/>
          <ac:spMkLst>
            <pc:docMk/>
            <pc:sldMk cId="160543707" sldId="304"/>
            <ac:spMk id="72" creationId="{E46FA77B-E8D0-8599-CB7E-8B2B12095DD3}"/>
          </ac:spMkLst>
        </pc:spChg>
        <pc:spChg chg="mod ord">
          <ac:chgData name="Aryan Tah (MiddleEast)" userId="7f6066b6-35e9-4d47-9d15-8917e2720a06" providerId="ADAL" clId="{CB224072-EA94-4500-BB44-FA94C70FEF2B}" dt="2026-01-05T10:07:03.910" v="13190"/>
          <ac:spMkLst>
            <pc:docMk/>
            <pc:sldMk cId="160543707" sldId="304"/>
            <ac:spMk id="73" creationId="{7B4CEFAC-AF3B-39FA-78BB-3898951B811C}"/>
          </ac:spMkLst>
        </pc:spChg>
        <pc:spChg chg="mod ord">
          <ac:chgData name="Aryan Tah (MiddleEast)" userId="7f6066b6-35e9-4d47-9d15-8917e2720a06" providerId="ADAL" clId="{CB224072-EA94-4500-BB44-FA94C70FEF2B}" dt="2026-01-05T10:07:03.911" v="13192"/>
          <ac:spMkLst>
            <pc:docMk/>
            <pc:sldMk cId="160543707" sldId="304"/>
            <ac:spMk id="74" creationId="{E53ECB58-8867-DFDF-18A7-956D78FCAB60}"/>
          </ac:spMkLst>
        </pc:spChg>
        <pc:spChg chg="del mod topLvl">
          <ac:chgData name="Aryan Tah (MiddleEast)" userId="7f6066b6-35e9-4d47-9d15-8917e2720a06" providerId="ADAL" clId="{CB224072-EA94-4500-BB44-FA94C70FEF2B}" dt="2026-01-05T10:02:34.903" v="13082" actId="478"/>
          <ac:spMkLst>
            <pc:docMk/>
            <pc:sldMk cId="160543707" sldId="304"/>
            <ac:spMk id="75" creationId="{A7F0E144-1164-066A-0FB8-C3FD4E6CB87B}"/>
          </ac:spMkLst>
        </pc:spChg>
        <pc:spChg chg="mod ord topLvl">
          <ac:chgData name="Aryan Tah (MiddleEast)" userId="7f6066b6-35e9-4d47-9d15-8917e2720a06" providerId="ADAL" clId="{CB224072-EA94-4500-BB44-FA94C70FEF2B}" dt="2026-01-05T10:19:38.134" v="19712" actId="165"/>
          <ac:spMkLst>
            <pc:docMk/>
            <pc:sldMk cId="160543707" sldId="304"/>
            <ac:spMk id="77" creationId="{32332001-DF90-83AD-19DD-86418CFCC08F}"/>
          </ac:spMkLst>
        </pc:spChg>
        <pc:spChg chg="mod ord topLvl">
          <ac:chgData name="Aryan Tah (MiddleEast)" userId="7f6066b6-35e9-4d47-9d15-8917e2720a06" providerId="ADAL" clId="{CB224072-EA94-4500-BB44-FA94C70FEF2B}" dt="2026-01-05T10:07:03.928" v="13258"/>
          <ac:spMkLst>
            <pc:docMk/>
            <pc:sldMk cId="160543707" sldId="304"/>
            <ac:spMk id="78" creationId="{AA75B2C6-C085-8DE6-9FED-41209209BC4A}"/>
          </ac:spMkLst>
        </pc:spChg>
        <pc:spChg chg="mod">
          <ac:chgData name="Aryan Tah (MiddleEast)" userId="7f6066b6-35e9-4d47-9d15-8917e2720a06" providerId="ADAL" clId="{CB224072-EA94-4500-BB44-FA94C70FEF2B}" dt="2026-01-05T10:00:45.543" v="13031" actId="571"/>
          <ac:spMkLst>
            <pc:docMk/>
            <pc:sldMk cId="160543707" sldId="304"/>
            <ac:spMk id="80" creationId="{BBD1160C-C035-08F6-F116-06448B670B4E}"/>
          </ac:spMkLst>
        </pc:spChg>
        <pc:spChg chg="mod">
          <ac:chgData name="Aryan Tah (MiddleEast)" userId="7f6066b6-35e9-4d47-9d15-8917e2720a06" providerId="ADAL" clId="{CB224072-EA94-4500-BB44-FA94C70FEF2B}" dt="2026-01-05T10:00:45.543" v="13031" actId="571"/>
          <ac:spMkLst>
            <pc:docMk/>
            <pc:sldMk cId="160543707" sldId="304"/>
            <ac:spMk id="81" creationId="{1E0AE8C1-6CA5-D219-F323-25397AE9DC73}"/>
          </ac:spMkLst>
        </pc:spChg>
        <pc:spChg chg="mod ord topLvl">
          <ac:chgData name="Aryan Tah (MiddleEast)" userId="7f6066b6-35e9-4d47-9d15-8917e2720a06" providerId="ADAL" clId="{CB224072-EA94-4500-BB44-FA94C70FEF2B}" dt="2026-01-05T10:19:12.710" v="19695" actId="164"/>
          <ac:spMkLst>
            <pc:docMk/>
            <pc:sldMk cId="160543707" sldId="304"/>
            <ac:spMk id="83" creationId="{7E1D7514-4246-9454-C627-295071D3CC66}"/>
          </ac:spMkLst>
        </pc:spChg>
        <pc:spChg chg="mod ord topLvl">
          <ac:chgData name="Aryan Tah (MiddleEast)" userId="7f6066b6-35e9-4d47-9d15-8917e2720a06" providerId="ADAL" clId="{CB224072-EA94-4500-BB44-FA94C70FEF2B}" dt="2026-01-05T10:19:38.134" v="19712" actId="165"/>
          <ac:spMkLst>
            <pc:docMk/>
            <pc:sldMk cId="160543707" sldId="304"/>
            <ac:spMk id="84" creationId="{CC91F405-6159-1382-F5AD-1FCA827C03FD}"/>
          </ac:spMkLst>
        </pc:spChg>
        <pc:spChg chg="mod ord topLvl">
          <ac:chgData name="Aryan Tah (MiddleEast)" userId="7f6066b6-35e9-4d47-9d15-8917e2720a06" providerId="ADAL" clId="{CB224072-EA94-4500-BB44-FA94C70FEF2B}" dt="2026-01-05T10:19:12.710" v="19695" actId="164"/>
          <ac:spMkLst>
            <pc:docMk/>
            <pc:sldMk cId="160543707" sldId="304"/>
            <ac:spMk id="86" creationId="{B466F90E-612D-F4E8-066B-E97E056D1702}"/>
          </ac:spMkLst>
        </pc:spChg>
        <pc:spChg chg="del mod topLvl">
          <ac:chgData name="Aryan Tah (MiddleEast)" userId="7f6066b6-35e9-4d47-9d15-8917e2720a06" providerId="ADAL" clId="{CB224072-EA94-4500-BB44-FA94C70FEF2B}" dt="2026-01-05T10:03:43.068" v="13097" actId="478"/>
          <ac:spMkLst>
            <pc:docMk/>
            <pc:sldMk cId="160543707" sldId="304"/>
            <ac:spMk id="87" creationId="{D3158B92-9021-E682-53E4-63A0D5FC1A67}"/>
          </ac:spMkLst>
        </pc:spChg>
        <pc:spChg chg="mod topLvl">
          <ac:chgData name="Aryan Tah (MiddleEast)" userId="7f6066b6-35e9-4d47-9d15-8917e2720a06" providerId="ADAL" clId="{CB224072-EA94-4500-BB44-FA94C70FEF2B}" dt="2026-01-05T10:21:03.512" v="19747" actId="165"/>
          <ac:spMkLst>
            <pc:docMk/>
            <pc:sldMk cId="160543707" sldId="304"/>
            <ac:spMk id="89" creationId="{289EEA1F-82DE-C666-8480-0ABFF50B5DC2}"/>
          </ac:spMkLst>
        </pc:spChg>
        <pc:spChg chg="mod topLvl">
          <ac:chgData name="Aryan Tah (MiddleEast)" userId="7f6066b6-35e9-4d47-9d15-8917e2720a06" providerId="ADAL" clId="{CB224072-EA94-4500-BB44-FA94C70FEF2B}" dt="2026-01-05T10:21:03.512" v="19747" actId="165"/>
          <ac:spMkLst>
            <pc:docMk/>
            <pc:sldMk cId="160543707" sldId="304"/>
            <ac:spMk id="90" creationId="{45AF0255-F3F5-EF80-9259-C061FF1B862E}"/>
          </ac:spMkLst>
        </pc:spChg>
        <pc:spChg chg="add mod ord">
          <ac:chgData name="Aryan Tah (MiddleEast)" userId="7f6066b6-35e9-4d47-9d15-8917e2720a06" providerId="ADAL" clId="{CB224072-EA94-4500-BB44-FA94C70FEF2B}" dt="2026-01-05T11:35:02.965" v="20888" actId="20577"/>
          <ac:spMkLst>
            <pc:docMk/>
            <pc:sldMk cId="160543707" sldId="304"/>
            <ac:spMk id="91" creationId="{3A46E127-B622-3FE6-341E-785C43234C7B}"/>
          </ac:spMkLst>
        </pc:spChg>
        <pc:spChg chg="add mod ord">
          <ac:chgData name="Aryan Tah (MiddleEast)" userId="7f6066b6-35e9-4d47-9d15-8917e2720a06" providerId="ADAL" clId="{CB224072-EA94-4500-BB44-FA94C70FEF2B}" dt="2026-01-05T11:35:06.382" v="20889" actId="20577"/>
          <ac:spMkLst>
            <pc:docMk/>
            <pc:sldMk cId="160543707" sldId="304"/>
            <ac:spMk id="92" creationId="{76E01401-6F0F-90C2-2188-2DB8CAFD67A1}"/>
          </ac:spMkLst>
        </pc:spChg>
        <pc:spChg chg="add mod ord topLvl">
          <ac:chgData name="Aryan Tah (MiddleEast)" userId="7f6066b6-35e9-4d47-9d15-8917e2720a06" providerId="ADAL" clId="{CB224072-EA94-4500-BB44-FA94C70FEF2B}" dt="2026-01-05T11:35:00.896" v="20887" actId="20577"/>
          <ac:spMkLst>
            <pc:docMk/>
            <pc:sldMk cId="160543707" sldId="304"/>
            <ac:spMk id="93" creationId="{8FB31844-E4EB-5486-72A2-424BF0862897}"/>
          </ac:spMkLst>
        </pc:spChg>
        <pc:spChg chg="add mod ord">
          <ac:chgData name="Aryan Tah (MiddleEast)" userId="7f6066b6-35e9-4d47-9d15-8917e2720a06" providerId="ADAL" clId="{CB224072-EA94-4500-BB44-FA94C70FEF2B}" dt="2026-01-05T10:07:03.933" v="13276"/>
          <ac:spMkLst>
            <pc:docMk/>
            <pc:sldMk cId="160543707" sldId="304"/>
            <ac:spMk id="94" creationId="{EF9665B5-85F0-B888-9537-461F9B8EB0FC}"/>
          </ac:spMkLst>
        </pc:spChg>
        <pc:spChg chg="add mod">
          <ac:chgData name="Aryan Tah (MiddleEast)" userId="7f6066b6-35e9-4d47-9d15-8917e2720a06" providerId="ADAL" clId="{CB224072-EA94-4500-BB44-FA94C70FEF2B}" dt="2026-01-05T10:06:06.600" v="13156"/>
          <ac:spMkLst>
            <pc:docMk/>
            <pc:sldMk cId="160543707" sldId="304"/>
            <ac:spMk id="95" creationId="{7F62CB27-AF85-AA0C-8B0D-C97F6A3A5FEC}"/>
          </ac:spMkLst>
        </pc:spChg>
        <pc:spChg chg="add mod ord">
          <ac:chgData name="Aryan Tah (MiddleEast)" userId="7f6066b6-35e9-4d47-9d15-8917e2720a06" providerId="ADAL" clId="{CB224072-EA94-4500-BB44-FA94C70FEF2B}" dt="2026-01-05T10:07:03.934" v="13280"/>
          <ac:spMkLst>
            <pc:docMk/>
            <pc:sldMk cId="160543707" sldId="304"/>
            <ac:spMk id="96" creationId="{2C1028E8-DD46-3B33-BD91-334683085A53}"/>
          </ac:spMkLst>
        </pc:spChg>
        <pc:spChg chg="add mod ord">
          <ac:chgData name="Aryan Tah (MiddleEast)" userId="7f6066b6-35e9-4d47-9d15-8917e2720a06" providerId="ADAL" clId="{CB224072-EA94-4500-BB44-FA94C70FEF2B}" dt="2026-01-05T10:07:03.934" v="13282"/>
          <ac:spMkLst>
            <pc:docMk/>
            <pc:sldMk cId="160543707" sldId="304"/>
            <ac:spMk id="97" creationId="{0176C824-EF12-937D-A37C-04FFA5801E24}"/>
          </ac:spMkLst>
        </pc:spChg>
        <pc:spChg chg="mod">
          <ac:chgData name="Aryan Tah (MiddleEast)" userId="7f6066b6-35e9-4d47-9d15-8917e2720a06" providerId="ADAL" clId="{CB224072-EA94-4500-BB44-FA94C70FEF2B}" dt="2026-01-05T10:05:11.669" v="13115" actId="571"/>
          <ac:spMkLst>
            <pc:docMk/>
            <pc:sldMk cId="160543707" sldId="304"/>
            <ac:spMk id="100" creationId="{73C1B61C-758D-0D56-312A-1C72184FFDA7}"/>
          </ac:spMkLst>
        </pc:spChg>
        <pc:spChg chg="mod">
          <ac:chgData name="Aryan Tah (MiddleEast)" userId="7f6066b6-35e9-4d47-9d15-8917e2720a06" providerId="ADAL" clId="{CB224072-EA94-4500-BB44-FA94C70FEF2B}" dt="2026-01-05T10:05:11.669" v="13115" actId="571"/>
          <ac:spMkLst>
            <pc:docMk/>
            <pc:sldMk cId="160543707" sldId="304"/>
            <ac:spMk id="101" creationId="{73F85AA7-CA89-F828-1F89-10D6461DD1DD}"/>
          </ac:spMkLst>
        </pc:spChg>
        <pc:spChg chg="mod">
          <ac:chgData name="Aryan Tah (MiddleEast)" userId="7f6066b6-35e9-4d47-9d15-8917e2720a06" providerId="ADAL" clId="{CB224072-EA94-4500-BB44-FA94C70FEF2B}" dt="2026-01-05T10:05:20.626" v="13121" actId="571"/>
          <ac:spMkLst>
            <pc:docMk/>
            <pc:sldMk cId="160543707" sldId="304"/>
            <ac:spMk id="103" creationId="{760A9E9D-D74C-3825-25C9-FBB1FB56A466}"/>
          </ac:spMkLst>
        </pc:spChg>
        <pc:spChg chg="mod">
          <ac:chgData name="Aryan Tah (MiddleEast)" userId="7f6066b6-35e9-4d47-9d15-8917e2720a06" providerId="ADAL" clId="{CB224072-EA94-4500-BB44-FA94C70FEF2B}" dt="2026-01-05T10:18:17.719" v="19692" actId="207"/>
          <ac:spMkLst>
            <pc:docMk/>
            <pc:sldMk cId="160543707" sldId="304"/>
            <ac:spMk id="104" creationId="{514CCBEF-6902-0584-CB8E-E31F6658A72C}"/>
          </ac:spMkLst>
        </pc:spChg>
        <pc:spChg chg="mod">
          <ac:chgData name="Aryan Tah (MiddleEast)" userId="7f6066b6-35e9-4d47-9d15-8917e2720a06" providerId="ADAL" clId="{CB224072-EA94-4500-BB44-FA94C70FEF2B}" dt="2026-01-05T10:19:38.134" v="19712" actId="165"/>
          <ac:spMkLst>
            <pc:docMk/>
            <pc:sldMk cId="160543707" sldId="304"/>
            <ac:spMk id="106" creationId="{3B264AA4-E1AE-7B0A-2B7D-BCC7076A3716}"/>
          </ac:spMkLst>
        </pc:spChg>
        <pc:spChg chg="mod">
          <ac:chgData name="Aryan Tah (MiddleEast)" userId="7f6066b6-35e9-4d47-9d15-8917e2720a06" providerId="ADAL" clId="{CB224072-EA94-4500-BB44-FA94C70FEF2B}" dt="2026-01-05T10:06:13.395" v="13162"/>
          <ac:spMkLst>
            <pc:docMk/>
            <pc:sldMk cId="160543707" sldId="304"/>
            <ac:spMk id="107" creationId="{B051AB3B-AF33-08C1-B91E-352AB8B5601C}"/>
          </ac:spMkLst>
        </pc:spChg>
        <pc:spChg chg="mod">
          <ac:chgData name="Aryan Tah (MiddleEast)" userId="7f6066b6-35e9-4d47-9d15-8917e2720a06" providerId="ADAL" clId="{CB224072-EA94-4500-BB44-FA94C70FEF2B}" dt="2026-01-05T10:19:38.134" v="19712" actId="165"/>
          <ac:spMkLst>
            <pc:docMk/>
            <pc:sldMk cId="160543707" sldId="304"/>
            <ac:spMk id="109" creationId="{C4D8AD87-AFC0-1FE1-DB38-90DBC1F9A89A}"/>
          </ac:spMkLst>
        </pc:spChg>
        <pc:spChg chg="mod">
          <ac:chgData name="Aryan Tah (MiddleEast)" userId="7f6066b6-35e9-4d47-9d15-8917e2720a06" providerId="ADAL" clId="{CB224072-EA94-4500-BB44-FA94C70FEF2B}" dt="2026-01-05T10:06:06.602" v="13160"/>
          <ac:spMkLst>
            <pc:docMk/>
            <pc:sldMk cId="160543707" sldId="304"/>
            <ac:spMk id="110" creationId="{B226F497-CDAE-5E6E-0391-FAE53B6965F8}"/>
          </ac:spMkLst>
        </pc:spChg>
        <pc:spChg chg="mod">
          <ac:chgData name="Aryan Tah (MiddleEast)" userId="7f6066b6-35e9-4d47-9d15-8917e2720a06" providerId="ADAL" clId="{CB224072-EA94-4500-BB44-FA94C70FEF2B}" dt="2026-01-05T10:05:47.701" v="13136"/>
          <ac:spMkLst>
            <pc:docMk/>
            <pc:sldMk cId="160543707" sldId="304"/>
            <ac:spMk id="112" creationId="{2B3E9DC1-21C6-AFB9-7CEB-40F1B413AB84}"/>
          </ac:spMkLst>
        </pc:spChg>
        <pc:spChg chg="mod">
          <ac:chgData name="Aryan Tah (MiddleEast)" userId="7f6066b6-35e9-4d47-9d15-8917e2720a06" providerId="ADAL" clId="{CB224072-EA94-4500-BB44-FA94C70FEF2B}" dt="2026-01-05T10:05:47.701" v="13136"/>
          <ac:spMkLst>
            <pc:docMk/>
            <pc:sldMk cId="160543707" sldId="304"/>
            <ac:spMk id="113" creationId="{CCF1C167-0640-C2FC-684C-AF25C6EE1123}"/>
          </ac:spMkLst>
        </pc:spChg>
        <pc:spChg chg="add mod ord">
          <ac:chgData name="Aryan Tah (MiddleEast)" userId="7f6066b6-35e9-4d47-9d15-8917e2720a06" providerId="ADAL" clId="{CB224072-EA94-4500-BB44-FA94C70FEF2B}" dt="2026-01-05T10:07:03.904" v="13172"/>
          <ac:spMkLst>
            <pc:docMk/>
            <pc:sldMk cId="160543707" sldId="304"/>
            <ac:spMk id="116" creationId="{1B0FBE93-2D24-4341-4E3A-BE15004F0772}"/>
          </ac:spMkLst>
        </pc:spChg>
        <pc:spChg chg="mod topLvl">
          <ac:chgData name="Aryan Tah (MiddleEast)" userId="7f6066b6-35e9-4d47-9d15-8917e2720a06" providerId="ADAL" clId="{CB224072-EA94-4500-BB44-FA94C70FEF2B}" dt="2026-01-05T10:22:45.267" v="19823" actId="1035"/>
          <ac:spMkLst>
            <pc:docMk/>
            <pc:sldMk cId="160543707" sldId="304"/>
            <ac:spMk id="119" creationId="{E7BA5ECE-66EA-BB31-1583-45D7EE124FA6}"/>
          </ac:spMkLst>
        </pc:spChg>
        <pc:spChg chg="del mod topLvl">
          <ac:chgData name="Aryan Tah (MiddleEast)" userId="7f6066b6-35e9-4d47-9d15-8917e2720a06" providerId="ADAL" clId="{CB224072-EA94-4500-BB44-FA94C70FEF2B}" dt="2026-01-05T10:22:02.732" v="19791" actId="478"/>
          <ac:spMkLst>
            <pc:docMk/>
            <pc:sldMk cId="160543707" sldId="304"/>
            <ac:spMk id="120" creationId="{C56679FD-56B9-52E8-E16A-D60E41FF73C4}"/>
          </ac:spMkLst>
        </pc:spChg>
        <pc:spChg chg="mod">
          <ac:chgData name="Aryan Tah (MiddleEast)" userId="7f6066b6-35e9-4d47-9d15-8917e2720a06" providerId="ADAL" clId="{CB224072-EA94-4500-BB44-FA94C70FEF2B}" dt="2026-01-05T10:22:45.267" v="19823" actId="1035"/>
          <ac:spMkLst>
            <pc:docMk/>
            <pc:sldMk cId="160543707" sldId="304"/>
            <ac:spMk id="122" creationId="{0C518926-12CA-F362-DD86-2A8E428B94A4}"/>
          </ac:spMkLst>
        </pc:spChg>
        <pc:spChg chg="mod">
          <ac:chgData name="Aryan Tah (MiddleEast)" userId="7f6066b6-35e9-4d47-9d15-8917e2720a06" providerId="ADAL" clId="{CB224072-EA94-4500-BB44-FA94C70FEF2B}" dt="2026-01-05T10:22:45.267" v="19823" actId="1035"/>
          <ac:spMkLst>
            <pc:docMk/>
            <pc:sldMk cId="160543707" sldId="304"/>
            <ac:spMk id="123" creationId="{A1B9AB6F-B51D-042F-6CC4-6C491A9D9EAE}"/>
          </ac:spMkLst>
        </pc:spChg>
        <pc:spChg chg="mod topLvl">
          <ac:chgData name="Aryan Tah (MiddleEast)" userId="7f6066b6-35e9-4d47-9d15-8917e2720a06" providerId="ADAL" clId="{CB224072-EA94-4500-BB44-FA94C70FEF2B}" dt="2026-01-05T10:22:45.267" v="19823" actId="1035"/>
          <ac:spMkLst>
            <pc:docMk/>
            <pc:sldMk cId="160543707" sldId="304"/>
            <ac:spMk id="125" creationId="{C883C219-F331-04D1-5051-52BDFD42AFD8}"/>
          </ac:spMkLst>
        </pc:spChg>
        <pc:spChg chg="del mod topLvl">
          <ac:chgData name="Aryan Tah (MiddleEast)" userId="7f6066b6-35e9-4d47-9d15-8917e2720a06" providerId="ADAL" clId="{CB224072-EA94-4500-BB44-FA94C70FEF2B}" dt="2026-01-05T10:20:58.072" v="19745" actId="478"/>
          <ac:spMkLst>
            <pc:docMk/>
            <pc:sldMk cId="160543707" sldId="304"/>
            <ac:spMk id="126" creationId="{DF66C2CE-F989-BEDD-29FC-BFB3A7C5A2C1}"/>
          </ac:spMkLst>
        </pc:spChg>
        <pc:spChg chg="add mod">
          <ac:chgData name="Aryan Tah (MiddleEast)" userId="7f6066b6-35e9-4d47-9d15-8917e2720a06" providerId="ADAL" clId="{CB224072-EA94-4500-BB44-FA94C70FEF2B}" dt="2026-01-05T10:22:45.267" v="19823" actId="1035"/>
          <ac:spMkLst>
            <pc:docMk/>
            <pc:sldMk cId="160543707" sldId="304"/>
            <ac:spMk id="127" creationId="{D1C12208-2B49-1AEE-E341-F6315A8B3D85}"/>
          </ac:spMkLst>
        </pc:spChg>
        <pc:spChg chg="add mod topLvl">
          <ac:chgData name="Aryan Tah (MiddleEast)" userId="7f6066b6-35e9-4d47-9d15-8917e2720a06" providerId="ADAL" clId="{CB224072-EA94-4500-BB44-FA94C70FEF2B}" dt="2026-01-05T10:22:45.267" v="19823" actId="1035"/>
          <ac:spMkLst>
            <pc:docMk/>
            <pc:sldMk cId="160543707" sldId="304"/>
            <ac:spMk id="128" creationId="{370B62D3-4440-9DCB-CE98-2DB10EA136AF}"/>
          </ac:spMkLst>
        </pc:spChg>
        <pc:spChg chg="add mod">
          <ac:chgData name="Aryan Tah (MiddleEast)" userId="7f6066b6-35e9-4d47-9d15-8917e2720a06" providerId="ADAL" clId="{CB224072-EA94-4500-BB44-FA94C70FEF2B}" dt="2026-01-05T10:22:45.267" v="19823" actId="1035"/>
          <ac:spMkLst>
            <pc:docMk/>
            <pc:sldMk cId="160543707" sldId="304"/>
            <ac:spMk id="129" creationId="{1AB43432-2F3E-7EE3-2BC0-9747D776560C}"/>
          </ac:spMkLst>
        </pc:spChg>
        <pc:spChg chg="add mod">
          <ac:chgData name="Aryan Tah (MiddleEast)" userId="7f6066b6-35e9-4d47-9d15-8917e2720a06" providerId="ADAL" clId="{CB224072-EA94-4500-BB44-FA94C70FEF2B}" dt="2026-01-05T10:22:37.207" v="19819" actId="1037"/>
          <ac:spMkLst>
            <pc:docMk/>
            <pc:sldMk cId="160543707" sldId="304"/>
            <ac:spMk id="131" creationId="{5406B489-060D-6433-0B9C-9D87AE554D7E}"/>
          </ac:spMkLst>
        </pc:spChg>
        <pc:spChg chg="add mod">
          <ac:chgData name="Aryan Tah (MiddleEast)" userId="7f6066b6-35e9-4d47-9d15-8917e2720a06" providerId="ADAL" clId="{CB224072-EA94-4500-BB44-FA94C70FEF2B}" dt="2026-01-05T10:22:45.267" v="19823" actId="1035"/>
          <ac:spMkLst>
            <pc:docMk/>
            <pc:sldMk cId="160543707" sldId="304"/>
            <ac:spMk id="132" creationId="{FBA27B55-F7B0-C321-B51F-EFB597323A0E}"/>
          </ac:spMkLst>
        </pc:spChg>
        <pc:spChg chg="mod">
          <ac:chgData name="Aryan Tah (MiddleEast)" userId="7f6066b6-35e9-4d47-9d15-8917e2720a06" providerId="ADAL" clId="{CB224072-EA94-4500-BB44-FA94C70FEF2B}" dt="2026-01-05T10:22:45.267" v="19823" actId="1035"/>
          <ac:spMkLst>
            <pc:docMk/>
            <pc:sldMk cId="160543707" sldId="304"/>
            <ac:spMk id="134" creationId="{88D28846-F223-4D94-B2C0-90F24F21E5D1}"/>
          </ac:spMkLst>
        </pc:spChg>
        <pc:spChg chg="mod">
          <ac:chgData name="Aryan Tah (MiddleEast)" userId="7f6066b6-35e9-4d47-9d15-8917e2720a06" providerId="ADAL" clId="{CB224072-EA94-4500-BB44-FA94C70FEF2B}" dt="2026-01-05T10:22:45.267" v="19823" actId="1035"/>
          <ac:spMkLst>
            <pc:docMk/>
            <pc:sldMk cId="160543707" sldId="304"/>
            <ac:spMk id="135" creationId="{38B57A2F-5639-190A-CA1E-6550E0A295CB}"/>
          </ac:spMkLst>
        </pc:spChg>
        <pc:grpChg chg="add mod ord">
          <ac:chgData name="Aryan Tah (MiddleEast)" userId="7f6066b6-35e9-4d47-9d15-8917e2720a06" providerId="ADAL" clId="{CB224072-EA94-4500-BB44-FA94C70FEF2B}" dt="2026-01-05T10:07:03.924" v="13244"/>
          <ac:grpSpMkLst>
            <pc:docMk/>
            <pc:sldMk cId="160543707" sldId="304"/>
            <ac:grpSpMk id="14" creationId="{8CBBC493-ECED-78C0-67FF-6FBD07816E07}"/>
          </ac:grpSpMkLst>
        </pc:grpChg>
        <pc:grpChg chg="mod">
          <ac:chgData name="Aryan Tah (MiddleEast)" userId="7f6066b6-35e9-4d47-9d15-8917e2720a06" providerId="ADAL" clId="{CB224072-EA94-4500-BB44-FA94C70FEF2B}" dt="2026-01-05T09:48:19.635" v="12918" actId="14100"/>
          <ac:grpSpMkLst>
            <pc:docMk/>
            <pc:sldMk cId="160543707" sldId="304"/>
            <ac:grpSpMk id="27" creationId="{786D4D02-B2B0-C50C-C01F-4D7D401A0427}"/>
          </ac:grpSpMkLst>
        </pc:grpChg>
        <pc:grpChg chg="mod">
          <ac:chgData name="Aryan Tah (MiddleEast)" userId="7f6066b6-35e9-4d47-9d15-8917e2720a06" providerId="ADAL" clId="{CB224072-EA94-4500-BB44-FA94C70FEF2B}" dt="2026-01-05T09:58:03.114" v="12998" actId="164"/>
          <ac:grpSpMkLst>
            <pc:docMk/>
            <pc:sldMk cId="160543707" sldId="304"/>
            <ac:grpSpMk id="30" creationId="{AF399943-C078-F796-3C67-DE367ECDADEC}"/>
          </ac:grpSpMkLst>
        </pc:grpChg>
        <pc:grpChg chg="add mod">
          <ac:chgData name="Aryan Tah (MiddleEast)" userId="7f6066b6-35e9-4d47-9d15-8917e2720a06" providerId="ADAL" clId="{CB224072-EA94-4500-BB44-FA94C70FEF2B}" dt="2026-01-05T09:58:08.923" v="12999" actId="14100"/>
          <ac:grpSpMkLst>
            <pc:docMk/>
            <pc:sldMk cId="160543707" sldId="304"/>
            <ac:grpSpMk id="38" creationId="{0B048061-6FC2-4494-04B4-3088DF97F94F}"/>
          </ac:grpSpMkLst>
        </pc:grpChg>
        <pc:grpChg chg="add del mod">
          <ac:chgData name="Aryan Tah (MiddleEast)" userId="7f6066b6-35e9-4d47-9d15-8917e2720a06" providerId="ADAL" clId="{CB224072-EA94-4500-BB44-FA94C70FEF2B}" dt="2026-01-05T10:03:10.718" v="13093" actId="478"/>
          <ac:grpSpMkLst>
            <pc:docMk/>
            <pc:sldMk cId="160543707" sldId="304"/>
            <ac:grpSpMk id="42" creationId="{55034A5A-1ACC-70EF-096E-1FED60E4E607}"/>
          </ac:grpSpMkLst>
        </pc:grpChg>
        <pc:grpChg chg="add mod">
          <ac:chgData name="Aryan Tah (MiddleEast)" userId="7f6066b6-35e9-4d47-9d15-8917e2720a06" providerId="ADAL" clId="{CB224072-EA94-4500-BB44-FA94C70FEF2B}" dt="2026-01-05T10:00:30.667" v="13027" actId="571"/>
          <ac:grpSpMkLst>
            <pc:docMk/>
            <pc:sldMk cId="160543707" sldId="304"/>
            <ac:grpSpMk id="47" creationId="{B26F9FAA-F249-4990-7CBC-FF43FD299265}"/>
          </ac:grpSpMkLst>
        </pc:grpChg>
        <pc:grpChg chg="add del mod">
          <ac:chgData name="Aryan Tah (MiddleEast)" userId="7f6066b6-35e9-4d47-9d15-8917e2720a06" providerId="ADAL" clId="{CB224072-EA94-4500-BB44-FA94C70FEF2B}" dt="2026-01-05T10:03:03.622" v="13092" actId="478"/>
          <ac:grpSpMkLst>
            <pc:docMk/>
            <pc:sldMk cId="160543707" sldId="304"/>
            <ac:grpSpMk id="57" creationId="{0B53A27E-810A-A78A-774F-AB3C74AEBD5F}"/>
          </ac:grpSpMkLst>
        </pc:grpChg>
        <pc:grpChg chg="mod ord">
          <ac:chgData name="Aryan Tah (MiddleEast)" userId="7f6066b6-35e9-4d47-9d15-8917e2720a06" providerId="ADAL" clId="{CB224072-EA94-4500-BB44-FA94C70FEF2B}" dt="2026-01-05T10:07:03.907" v="13180"/>
          <ac:grpSpMkLst>
            <pc:docMk/>
            <pc:sldMk cId="160543707" sldId="304"/>
            <ac:grpSpMk id="58" creationId="{A2BC72C5-63EC-578C-7AE1-A98E251D41A1}"/>
          </ac:grpSpMkLst>
        </pc:grpChg>
        <pc:grpChg chg="add mod">
          <ac:chgData name="Aryan Tah (MiddleEast)" userId="7f6066b6-35e9-4d47-9d15-8917e2720a06" providerId="ADAL" clId="{CB224072-EA94-4500-BB44-FA94C70FEF2B}" dt="2026-01-05T10:00:37.434" v="13029" actId="571"/>
          <ac:grpSpMkLst>
            <pc:docMk/>
            <pc:sldMk cId="160543707" sldId="304"/>
            <ac:grpSpMk id="61" creationId="{8072B6DA-0E3C-C1CD-D5F5-6BB4A08EFE41}"/>
          </ac:grpSpMkLst>
        </pc:grpChg>
        <pc:grpChg chg="add del mod">
          <ac:chgData name="Aryan Tah (MiddleEast)" userId="7f6066b6-35e9-4d47-9d15-8917e2720a06" providerId="ADAL" clId="{CB224072-EA94-4500-BB44-FA94C70FEF2B}" dt="2026-01-05T10:02:34.903" v="13082" actId="478"/>
          <ac:grpSpMkLst>
            <pc:docMk/>
            <pc:sldMk cId="160543707" sldId="304"/>
            <ac:grpSpMk id="66" creationId="{BA90AEB8-C10D-89F7-2B03-64E287C65BB8}"/>
          </ac:grpSpMkLst>
        </pc:grpChg>
        <pc:grpChg chg="mod ord">
          <ac:chgData name="Aryan Tah (MiddleEast)" userId="7f6066b6-35e9-4d47-9d15-8917e2720a06" providerId="ADAL" clId="{CB224072-EA94-4500-BB44-FA94C70FEF2B}" dt="2026-01-05T10:07:03.909" v="13186"/>
          <ac:grpSpMkLst>
            <pc:docMk/>
            <pc:sldMk cId="160543707" sldId="304"/>
            <ac:grpSpMk id="68" creationId="{54789660-DA54-CBED-C176-94F8F0BD4E08}"/>
          </ac:grpSpMkLst>
        </pc:grpChg>
        <pc:grpChg chg="mod ord">
          <ac:chgData name="Aryan Tah (MiddleEast)" userId="7f6066b6-35e9-4d47-9d15-8917e2720a06" providerId="ADAL" clId="{CB224072-EA94-4500-BB44-FA94C70FEF2B}" dt="2026-01-05T10:07:03.908" v="13184"/>
          <ac:grpSpMkLst>
            <pc:docMk/>
            <pc:sldMk cId="160543707" sldId="304"/>
            <ac:grpSpMk id="71" creationId="{A6F81DF1-DADA-A64F-901E-48CC3CCC9FD4}"/>
          </ac:grpSpMkLst>
        </pc:grpChg>
        <pc:grpChg chg="add mod">
          <ac:chgData name="Aryan Tah (MiddleEast)" userId="7f6066b6-35e9-4d47-9d15-8917e2720a06" providerId="ADAL" clId="{CB224072-EA94-4500-BB44-FA94C70FEF2B}" dt="2026-01-05T10:00:42.535" v="13030" actId="571"/>
          <ac:grpSpMkLst>
            <pc:docMk/>
            <pc:sldMk cId="160543707" sldId="304"/>
            <ac:grpSpMk id="76" creationId="{6E2BFDE9-05CE-3021-F5B6-00BD5B6A8A48}"/>
          </ac:grpSpMkLst>
        </pc:grpChg>
        <pc:grpChg chg="add mod ord">
          <ac:chgData name="Aryan Tah (MiddleEast)" userId="7f6066b6-35e9-4d47-9d15-8917e2720a06" providerId="ADAL" clId="{CB224072-EA94-4500-BB44-FA94C70FEF2B}" dt="2026-01-05T10:07:03.929" v="13260"/>
          <ac:grpSpMkLst>
            <pc:docMk/>
            <pc:sldMk cId="160543707" sldId="304"/>
            <ac:grpSpMk id="79" creationId="{1F9B3B4C-6E02-C2C9-4E00-BDE87A606009}"/>
          </ac:grpSpMkLst>
        </pc:grpChg>
        <pc:grpChg chg="add mod">
          <ac:chgData name="Aryan Tah (MiddleEast)" userId="7f6066b6-35e9-4d47-9d15-8917e2720a06" providerId="ADAL" clId="{CB224072-EA94-4500-BB44-FA94C70FEF2B}" dt="2026-01-05T10:00:45.543" v="13031" actId="571"/>
          <ac:grpSpMkLst>
            <pc:docMk/>
            <pc:sldMk cId="160543707" sldId="304"/>
            <ac:grpSpMk id="82" creationId="{F893F0F0-7222-C68B-0199-2F5B4883460E}"/>
          </ac:grpSpMkLst>
        </pc:grpChg>
        <pc:grpChg chg="add del mod">
          <ac:chgData name="Aryan Tah (MiddleEast)" userId="7f6066b6-35e9-4d47-9d15-8917e2720a06" providerId="ADAL" clId="{CB224072-EA94-4500-BB44-FA94C70FEF2B}" dt="2026-01-05T10:03:43.068" v="13097" actId="478"/>
          <ac:grpSpMkLst>
            <pc:docMk/>
            <pc:sldMk cId="160543707" sldId="304"/>
            <ac:grpSpMk id="85" creationId="{6F83457C-830A-BEA6-B5E1-C4091FB0EE00}"/>
          </ac:grpSpMkLst>
        </pc:grpChg>
        <pc:grpChg chg="add mod">
          <ac:chgData name="Aryan Tah (MiddleEast)" userId="7f6066b6-35e9-4d47-9d15-8917e2720a06" providerId="ADAL" clId="{CB224072-EA94-4500-BB44-FA94C70FEF2B}" dt="2026-01-05T10:00:48.102" v="13032" actId="571"/>
          <ac:grpSpMkLst>
            <pc:docMk/>
            <pc:sldMk cId="160543707" sldId="304"/>
            <ac:grpSpMk id="88" creationId="{06A85E5D-357F-AC57-0459-BBA95E195FBD}"/>
          </ac:grpSpMkLst>
        </pc:grpChg>
        <pc:grpChg chg="add del mod ord">
          <ac:chgData name="Aryan Tah (MiddleEast)" userId="7f6066b6-35e9-4d47-9d15-8917e2720a06" providerId="ADAL" clId="{CB224072-EA94-4500-BB44-FA94C70FEF2B}" dt="2026-01-05T10:21:03.512" v="19747" actId="165"/>
          <ac:grpSpMkLst>
            <pc:docMk/>
            <pc:sldMk cId="160543707" sldId="304"/>
            <ac:grpSpMk id="98" creationId="{003F24EB-2A23-2DA1-2D6A-C59623C22729}"/>
          </ac:grpSpMkLst>
        </pc:grpChg>
        <pc:grpChg chg="add mod ord">
          <ac:chgData name="Aryan Tah (MiddleEast)" userId="7f6066b6-35e9-4d47-9d15-8917e2720a06" providerId="ADAL" clId="{CB224072-EA94-4500-BB44-FA94C70FEF2B}" dt="2026-01-05T10:07:03.935" v="13284"/>
          <ac:grpSpMkLst>
            <pc:docMk/>
            <pc:sldMk cId="160543707" sldId="304"/>
            <ac:grpSpMk id="99" creationId="{E16FF360-7873-144E-962D-3F1E160EE3B9}"/>
          </ac:grpSpMkLst>
        </pc:grpChg>
        <pc:grpChg chg="add mod ord">
          <ac:chgData name="Aryan Tah (MiddleEast)" userId="7f6066b6-35e9-4d47-9d15-8917e2720a06" providerId="ADAL" clId="{CB224072-EA94-4500-BB44-FA94C70FEF2B}" dt="2026-01-05T10:07:03.935" v="13286"/>
          <ac:grpSpMkLst>
            <pc:docMk/>
            <pc:sldMk cId="160543707" sldId="304"/>
            <ac:grpSpMk id="102" creationId="{188DFF75-A01C-15C6-3D69-32180D1DD69A}"/>
          </ac:grpSpMkLst>
        </pc:grpChg>
        <pc:grpChg chg="add mod ord">
          <ac:chgData name="Aryan Tah (MiddleEast)" userId="7f6066b6-35e9-4d47-9d15-8917e2720a06" providerId="ADAL" clId="{CB224072-EA94-4500-BB44-FA94C70FEF2B}" dt="2026-01-05T10:07:03.936" v="13288"/>
          <ac:grpSpMkLst>
            <pc:docMk/>
            <pc:sldMk cId="160543707" sldId="304"/>
            <ac:grpSpMk id="105" creationId="{11A8A5B6-F732-8120-AD3F-98CBDFADA13B}"/>
          </ac:grpSpMkLst>
        </pc:grpChg>
        <pc:grpChg chg="add mod ord">
          <ac:chgData name="Aryan Tah (MiddleEast)" userId="7f6066b6-35e9-4d47-9d15-8917e2720a06" providerId="ADAL" clId="{CB224072-EA94-4500-BB44-FA94C70FEF2B}" dt="2026-01-05T10:07:03.936" v="13290"/>
          <ac:grpSpMkLst>
            <pc:docMk/>
            <pc:sldMk cId="160543707" sldId="304"/>
            <ac:grpSpMk id="108" creationId="{4C9192CA-3A99-8DF8-63AD-0F7B06790878}"/>
          </ac:grpSpMkLst>
        </pc:grpChg>
        <pc:grpChg chg="add mod ord">
          <ac:chgData name="Aryan Tah (MiddleEast)" userId="7f6066b6-35e9-4d47-9d15-8917e2720a06" providerId="ADAL" clId="{CB224072-EA94-4500-BB44-FA94C70FEF2B}" dt="2026-01-05T10:07:03.937" v="13292"/>
          <ac:grpSpMkLst>
            <pc:docMk/>
            <pc:sldMk cId="160543707" sldId="304"/>
            <ac:grpSpMk id="111" creationId="{E078239A-39E1-AE40-F5DC-B0C2248853A9}"/>
          </ac:grpSpMkLst>
        </pc:grpChg>
        <pc:grpChg chg="add mod ord">
          <ac:chgData name="Aryan Tah (MiddleEast)" userId="7f6066b6-35e9-4d47-9d15-8917e2720a06" providerId="ADAL" clId="{CB224072-EA94-4500-BB44-FA94C70FEF2B}" dt="2026-01-05T10:07:03.926" v="13252"/>
          <ac:grpSpMkLst>
            <pc:docMk/>
            <pc:sldMk cId="160543707" sldId="304"/>
            <ac:grpSpMk id="114" creationId="{C7A25F8A-8938-B306-BB91-BC637F6C2327}"/>
          </ac:grpSpMkLst>
        </pc:grpChg>
        <pc:grpChg chg="add mod ord">
          <ac:chgData name="Aryan Tah (MiddleEast)" userId="7f6066b6-35e9-4d47-9d15-8917e2720a06" providerId="ADAL" clId="{CB224072-EA94-4500-BB44-FA94C70FEF2B}" dt="2026-01-05T10:07:03.933" v="13278"/>
          <ac:grpSpMkLst>
            <pc:docMk/>
            <pc:sldMk cId="160543707" sldId="304"/>
            <ac:grpSpMk id="115" creationId="{70AD20F5-41AA-B46D-2F4D-6F03BD1715B8}"/>
          </ac:grpSpMkLst>
        </pc:grpChg>
        <pc:grpChg chg="mod">
          <ac:chgData name="Aryan Tah (MiddleEast)" userId="7f6066b6-35e9-4d47-9d15-8917e2720a06" providerId="ADAL" clId="{CB224072-EA94-4500-BB44-FA94C70FEF2B}" dt="2026-01-05T10:19:31.645" v="19711" actId="14100"/>
          <ac:grpSpMkLst>
            <pc:docMk/>
            <pc:sldMk cId="160543707" sldId="304"/>
            <ac:grpSpMk id="117" creationId="{F4530B81-59E0-BBCD-639C-08CE892C8F7C}"/>
          </ac:grpSpMkLst>
        </pc:grpChg>
        <pc:grpChg chg="add del mod">
          <ac:chgData name="Aryan Tah (MiddleEast)" userId="7f6066b6-35e9-4d47-9d15-8917e2720a06" providerId="ADAL" clId="{CB224072-EA94-4500-BB44-FA94C70FEF2B}" dt="2026-01-05T10:22:02.732" v="19791" actId="478"/>
          <ac:grpSpMkLst>
            <pc:docMk/>
            <pc:sldMk cId="160543707" sldId="304"/>
            <ac:grpSpMk id="118" creationId="{E68EC793-66A9-053B-42F0-A82D6D8D9C96}"/>
          </ac:grpSpMkLst>
        </pc:grpChg>
        <pc:grpChg chg="add mod">
          <ac:chgData name="Aryan Tah (MiddleEast)" userId="7f6066b6-35e9-4d47-9d15-8917e2720a06" providerId="ADAL" clId="{CB224072-EA94-4500-BB44-FA94C70FEF2B}" dt="2026-01-05T10:22:37.207" v="19819" actId="1037"/>
          <ac:grpSpMkLst>
            <pc:docMk/>
            <pc:sldMk cId="160543707" sldId="304"/>
            <ac:grpSpMk id="121" creationId="{F69430FD-827D-D072-A1D6-6D4350A03BEC}"/>
          </ac:grpSpMkLst>
        </pc:grpChg>
        <pc:grpChg chg="add del mod">
          <ac:chgData name="Aryan Tah (MiddleEast)" userId="7f6066b6-35e9-4d47-9d15-8917e2720a06" providerId="ADAL" clId="{CB224072-EA94-4500-BB44-FA94C70FEF2B}" dt="2026-01-05T10:20:58.072" v="19745" actId="478"/>
          <ac:grpSpMkLst>
            <pc:docMk/>
            <pc:sldMk cId="160543707" sldId="304"/>
            <ac:grpSpMk id="124" creationId="{451BE3F3-03EF-8234-B185-087A2A43BC49}"/>
          </ac:grpSpMkLst>
        </pc:grpChg>
        <pc:grpChg chg="add mod">
          <ac:chgData name="Aryan Tah (MiddleEast)" userId="7f6066b6-35e9-4d47-9d15-8917e2720a06" providerId="ADAL" clId="{CB224072-EA94-4500-BB44-FA94C70FEF2B}" dt="2026-01-05T10:21:36.089" v="19765" actId="1035"/>
          <ac:grpSpMkLst>
            <pc:docMk/>
            <pc:sldMk cId="160543707" sldId="304"/>
            <ac:grpSpMk id="130" creationId="{B31362F4-92E2-42A2-9AEA-373EAA0E7DC2}"/>
          </ac:grpSpMkLst>
        </pc:grpChg>
        <pc:grpChg chg="add mod">
          <ac:chgData name="Aryan Tah (MiddleEast)" userId="7f6066b6-35e9-4d47-9d15-8917e2720a06" providerId="ADAL" clId="{CB224072-EA94-4500-BB44-FA94C70FEF2B}" dt="2026-01-05T10:22:18.734" v="19794" actId="207"/>
          <ac:grpSpMkLst>
            <pc:docMk/>
            <pc:sldMk cId="160543707" sldId="304"/>
            <ac:grpSpMk id="133" creationId="{C36E3506-0EAA-299C-F846-D7E1376FDFBA}"/>
          </ac:grpSpMkLst>
        </pc:grpChg>
        <pc:graphicFrameChg chg="mod">
          <ac:chgData name="Aryan Tah (MiddleEast)" userId="7f6066b6-35e9-4d47-9d15-8917e2720a06" providerId="ADAL" clId="{CB224072-EA94-4500-BB44-FA94C70FEF2B}" dt="2026-01-05T10:07:03.937" v="13294"/>
          <ac:graphicFrameMkLst>
            <pc:docMk/>
            <pc:sldMk cId="160543707" sldId="304"/>
            <ac:graphicFrameMk id="3" creationId="{1AE73966-B052-6D0B-F15E-7AA62BF77012}"/>
          </ac:graphicFrameMkLst>
        </pc:graphicFrameChg>
        <pc:cxnChg chg="mod ord">
          <ac:chgData name="Aryan Tah (MiddleEast)" userId="7f6066b6-35e9-4d47-9d15-8917e2720a06" providerId="ADAL" clId="{CB224072-EA94-4500-BB44-FA94C70FEF2B}" dt="2026-01-05T10:07:03.915" v="13208"/>
          <ac:cxnSpMkLst>
            <pc:docMk/>
            <pc:sldMk cId="160543707" sldId="304"/>
            <ac:cxnSpMk id="17" creationId="{EDA2642F-8790-ACD9-9304-FA643E1ED068}"/>
          </ac:cxnSpMkLst>
        </pc:cxnChg>
      </pc:sldChg>
      <pc:sldChg chg="addSp delSp modSp add del mod">
        <pc:chgData name="Aryan Tah (MiddleEast)" userId="7f6066b6-35e9-4d47-9d15-8917e2720a06" providerId="ADAL" clId="{CB224072-EA94-4500-BB44-FA94C70FEF2B}" dt="2026-01-05T10:37:45.206" v="19842" actId="47"/>
        <pc:sldMkLst>
          <pc:docMk/>
          <pc:sldMk cId="1052203660" sldId="307"/>
        </pc:sldMkLst>
        <pc:spChg chg="mod ord">
          <ac:chgData name="Aryan Tah (MiddleEast)" userId="7f6066b6-35e9-4d47-9d15-8917e2720a06" providerId="ADAL" clId="{CB224072-EA94-4500-BB44-FA94C70FEF2B}" dt="2026-01-05T10:07:25.049" v="13953"/>
          <ac:spMkLst>
            <pc:docMk/>
            <pc:sldMk cId="1052203660" sldId="307"/>
            <ac:spMk id="2" creationId="{9E5A23C2-ABFA-DC4E-16A9-CA029EDF5EEC}"/>
          </ac:spMkLst>
        </pc:spChg>
        <pc:spChg chg="add del mod modVis">
          <ac:chgData name="Aryan Tah (MiddleEast)" userId="7f6066b6-35e9-4d47-9d15-8917e2720a06" providerId="ADAL" clId="{CB224072-EA94-4500-BB44-FA94C70FEF2B}" dt="2026-01-05T10:07:25.251" v="14265" actId="962"/>
          <ac:spMkLst>
            <pc:docMk/>
            <pc:sldMk cId="1052203660" sldId="307"/>
            <ac:spMk id="3" creationId="{F867D671-E913-4BB3-1278-751F716E75E1}"/>
          </ac:spMkLst>
        </pc:spChg>
        <pc:spChg chg="add mod ord">
          <ac:chgData name="Aryan Tah (MiddleEast)" userId="7f6066b6-35e9-4d47-9d15-8917e2720a06" providerId="ADAL" clId="{CB224072-EA94-4500-BB44-FA94C70FEF2B}" dt="2026-01-05T10:07:25.198" v="14207" actId="208"/>
          <ac:spMkLst>
            <pc:docMk/>
            <pc:sldMk cId="1052203660" sldId="307"/>
            <ac:spMk id="4" creationId="{7F9F9BCC-F077-981F-D6A0-18AB79C79F06}"/>
          </ac:spMkLst>
        </pc:spChg>
        <pc:spChg chg="add mod ord">
          <ac:chgData name="Aryan Tah (MiddleEast)" userId="7f6066b6-35e9-4d47-9d15-8917e2720a06" providerId="ADAL" clId="{CB224072-EA94-4500-BB44-FA94C70FEF2B}" dt="2026-01-05T10:07:25.193" v="14198" actId="208"/>
          <ac:spMkLst>
            <pc:docMk/>
            <pc:sldMk cId="1052203660" sldId="307"/>
            <ac:spMk id="5" creationId="{E18F207E-1821-0764-3B7E-1ECD63E4CC08}"/>
          </ac:spMkLst>
        </pc:spChg>
        <pc:spChg chg="add mod">
          <ac:chgData name="Aryan Tah (MiddleEast)" userId="7f6066b6-35e9-4d47-9d15-8917e2720a06" providerId="ADAL" clId="{CB224072-EA94-4500-BB44-FA94C70FEF2B}" dt="2026-01-05T10:07:25.190" v="14190" actId="207"/>
          <ac:spMkLst>
            <pc:docMk/>
            <pc:sldMk cId="1052203660" sldId="307"/>
            <ac:spMk id="6" creationId="{29B7AC92-5813-923D-BF10-1D3D220D55A5}"/>
          </ac:spMkLst>
        </pc:spChg>
        <pc:spChg chg="add del">
          <ac:chgData name="Aryan Tah (MiddleEast)" userId="7f6066b6-35e9-4d47-9d15-8917e2720a06" providerId="ADAL" clId="{CB224072-EA94-4500-BB44-FA94C70FEF2B}" dt="2026-01-05T10:07:25.199" v="14208" actId="478"/>
          <ac:spMkLst>
            <pc:docMk/>
            <pc:sldMk cId="1052203660" sldId="307"/>
            <ac:spMk id="9" creationId="{2FAA2463-D60F-C5BB-08D0-3D89CFBA995E}"/>
          </ac:spMkLst>
        </pc:spChg>
        <pc:spChg chg="add del">
          <ac:chgData name="Aryan Tah (MiddleEast)" userId="7f6066b6-35e9-4d47-9d15-8917e2720a06" providerId="ADAL" clId="{CB224072-EA94-4500-BB44-FA94C70FEF2B}" dt="2026-01-05T10:07:25.194" v="14199" actId="478"/>
          <ac:spMkLst>
            <pc:docMk/>
            <pc:sldMk cId="1052203660" sldId="307"/>
            <ac:spMk id="10" creationId="{23E9DE6D-72CA-91D1-5FE2-A0D015FDA021}"/>
          </ac:spMkLst>
        </pc:spChg>
        <pc:spChg chg="del">
          <ac:chgData name="Aryan Tah (MiddleEast)" userId="7f6066b6-35e9-4d47-9d15-8917e2720a06" providerId="ADAL" clId="{CB224072-EA94-4500-BB44-FA94C70FEF2B}" dt="2026-01-05T10:07:21.693" v="13395"/>
          <ac:spMkLst>
            <pc:docMk/>
            <pc:sldMk cId="1052203660" sldId="307"/>
            <ac:spMk id="11" creationId="{E0532F79-89A7-270A-2525-AA2E67F98393}"/>
          </ac:spMkLst>
        </pc:spChg>
        <pc:spChg chg="mod ord">
          <ac:chgData name="Aryan Tah (MiddleEast)" userId="7f6066b6-35e9-4d47-9d15-8917e2720a06" providerId="ADAL" clId="{CB224072-EA94-4500-BB44-FA94C70FEF2B}" dt="2026-01-05T10:07:25.251" v="14266"/>
          <ac:spMkLst>
            <pc:docMk/>
            <pc:sldMk cId="1052203660" sldId="307"/>
            <ac:spMk id="20" creationId="{06C4D5D3-1F36-5338-2FD4-14E33F8740B4}"/>
          </ac:spMkLst>
        </pc:spChg>
        <pc:spChg chg="mod ord">
          <ac:chgData name="Aryan Tah (MiddleEast)" userId="7f6066b6-35e9-4d47-9d15-8917e2720a06" providerId="ADAL" clId="{CB224072-EA94-4500-BB44-FA94C70FEF2B}" dt="2026-01-05T10:07:25.251" v="14266"/>
          <ac:spMkLst>
            <pc:docMk/>
            <pc:sldMk cId="1052203660" sldId="307"/>
            <ac:spMk id="35" creationId="{A0F6C5EE-1377-495A-4B0E-763DC1968A05}"/>
          </ac:spMkLst>
        </pc:spChg>
        <pc:spChg chg="mod ord">
          <ac:chgData name="Aryan Tah (MiddleEast)" userId="7f6066b6-35e9-4d47-9d15-8917e2720a06" providerId="ADAL" clId="{CB224072-EA94-4500-BB44-FA94C70FEF2B}" dt="2026-01-05T10:07:25.251" v="14266"/>
          <ac:spMkLst>
            <pc:docMk/>
            <pc:sldMk cId="1052203660" sldId="307"/>
            <ac:spMk id="51" creationId="{5FB32DA1-CF28-AA9C-F3FB-5DA798BCF732}"/>
          </ac:spMkLst>
        </pc:spChg>
        <pc:spChg chg="mod ord">
          <ac:chgData name="Aryan Tah (MiddleEast)" userId="7f6066b6-35e9-4d47-9d15-8917e2720a06" providerId="ADAL" clId="{CB224072-EA94-4500-BB44-FA94C70FEF2B}" dt="2026-01-05T10:07:25.251" v="14266"/>
          <ac:spMkLst>
            <pc:docMk/>
            <pc:sldMk cId="1052203660" sldId="307"/>
            <ac:spMk id="53" creationId="{1D8A9D19-3BD6-89CD-843B-2F6EDCC33350}"/>
          </ac:spMkLst>
        </pc:spChg>
        <pc:spChg chg="mod">
          <ac:chgData name="Aryan Tah (MiddleEast)" userId="7f6066b6-35e9-4d47-9d15-8917e2720a06" providerId="ADAL" clId="{CB224072-EA94-4500-BB44-FA94C70FEF2B}" dt="2026-01-05T10:07:25.251" v="14266"/>
          <ac:spMkLst>
            <pc:docMk/>
            <pc:sldMk cId="1052203660" sldId="307"/>
            <ac:spMk id="184" creationId="{BC102F9E-32E6-9AD7-C488-E490120B1902}"/>
          </ac:spMkLst>
        </pc:spChg>
        <pc:spChg chg="mod">
          <ac:chgData name="Aryan Tah (MiddleEast)" userId="7f6066b6-35e9-4d47-9d15-8917e2720a06" providerId="ADAL" clId="{CB224072-EA94-4500-BB44-FA94C70FEF2B}" dt="2026-01-05T10:07:22.197" v="13874"/>
          <ac:spMkLst>
            <pc:docMk/>
            <pc:sldMk cId="1052203660" sldId="307"/>
            <ac:spMk id="185" creationId="{A4AF38E5-D776-42AF-DEC8-793BD89A4E9C}"/>
          </ac:spMkLst>
        </pc:spChg>
        <pc:spChg chg="mod">
          <ac:chgData name="Aryan Tah (MiddleEast)" userId="7f6066b6-35e9-4d47-9d15-8917e2720a06" providerId="ADAL" clId="{CB224072-EA94-4500-BB44-FA94C70FEF2B}" dt="2026-01-05T10:07:22.198" v="13876"/>
          <ac:spMkLst>
            <pc:docMk/>
            <pc:sldMk cId="1052203660" sldId="307"/>
            <ac:spMk id="186" creationId="{81C0ADA7-42A9-7F95-9360-6EEF0C362A9F}"/>
          </ac:spMkLst>
        </pc:spChg>
        <pc:spChg chg="mod">
          <ac:chgData name="Aryan Tah (MiddleEast)" userId="7f6066b6-35e9-4d47-9d15-8917e2720a06" providerId="ADAL" clId="{CB224072-EA94-4500-BB44-FA94C70FEF2B}" dt="2026-01-05T10:07:22.200" v="13879"/>
          <ac:spMkLst>
            <pc:docMk/>
            <pc:sldMk cId="1052203660" sldId="307"/>
            <ac:spMk id="187" creationId="{4DB684AF-18D4-C0D1-19D7-CA7954EA1B61}"/>
          </ac:spMkLst>
        </pc:spChg>
        <pc:spChg chg="mod">
          <ac:chgData name="Aryan Tah (MiddleEast)" userId="7f6066b6-35e9-4d47-9d15-8917e2720a06" providerId="ADAL" clId="{CB224072-EA94-4500-BB44-FA94C70FEF2B}" dt="2026-01-05T10:07:22.192" v="13866"/>
          <ac:spMkLst>
            <pc:docMk/>
            <pc:sldMk cId="1052203660" sldId="307"/>
            <ac:spMk id="188" creationId="{2FAE0CAA-24B0-2372-C411-6065BD3B6615}"/>
          </ac:spMkLst>
        </pc:spChg>
        <pc:spChg chg="mod">
          <ac:chgData name="Aryan Tah (MiddleEast)" userId="7f6066b6-35e9-4d47-9d15-8917e2720a06" providerId="ADAL" clId="{CB224072-EA94-4500-BB44-FA94C70FEF2B}" dt="2026-01-05T10:07:25.251" v="14266"/>
          <ac:spMkLst>
            <pc:docMk/>
            <pc:sldMk cId="1052203660" sldId="307"/>
            <ac:spMk id="189" creationId="{091A2470-7785-BACD-33CB-8351E28FB4C2}"/>
          </ac:spMkLst>
        </pc:spChg>
        <pc:spChg chg="mod">
          <ac:chgData name="Aryan Tah (MiddleEast)" userId="7f6066b6-35e9-4d47-9d15-8917e2720a06" providerId="ADAL" clId="{CB224072-EA94-4500-BB44-FA94C70FEF2B}" dt="2026-01-05T10:07:22.193" v="13868"/>
          <ac:spMkLst>
            <pc:docMk/>
            <pc:sldMk cId="1052203660" sldId="307"/>
            <ac:spMk id="190" creationId="{1596EF7B-702B-A467-18B0-D1FADF1BC370}"/>
          </ac:spMkLst>
        </pc:spChg>
        <pc:spChg chg="mod">
          <ac:chgData name="Aryan Tah (MiddleEast)" userId="7f6066b6-35e9-4d47-9d15-8917e2720a06" providerId="ADAL" clId="{CB224072-EA94-4500-BB44-FA94C70FEF2B}" dt="2026-01-05T10:07:22.194" v="13869"/>
          <ac:spMkLst>
            <pc:docMk/>
            <pc:sldMk cId="1052203660" sldId="307"/>
            <ac:spMk id="191" creationId="{A5246761-6267-C170-A464-2A5713554B24}"/>
          </ac:spMkLst>
        </pc:spChg>
        <pc:spChg chg="mod">
          <ac:chgData name="Aryan Tah (MiddleEast)" userId="7f6066b6-35e9-4d47-9d15-8917e2720a06" providerId="ADAL" clId="{CB224072-EA94-4500-BB44-FA94C70FEF2B}" dt="2026-01-05T10:07:22.194" v="13870"/>
          <ac:spMkLst>
            <pc:docMk/>
            <pc:sldMk cId="1052203660" sldId="307"/>
            <ac:spMk id="192" creationId="{B6F6E575-1168-A1CF-8AF3-07C9C740AFAB}"/>
          </ac:spMkLst>
        </pc:spChg>
        <pc:spChg chg="mod">
          <ac:chgData name="Aryan Tah (MiddleEast)" userId="7f6066b6-35e9-4d47-9d15-8917e2720a06" providerId="ADAL" clId="{CB224072-EA94-4500-BB44-FA94C70FEF2B}" dt="2026-01-05T10:07:25.251" v="14266"/>
          <ac:spMkLst>
            <pc:docMk/>
            <pc:sldMk cId="1052203660" sldId="307"/>
            <ac:spMk id="193" creationId="{AA280C8E-D08E-78F2-3E01-198A01473993}"/>
          </ac:spMkLst>
        </pc:spChg>
        <pc:spChg chg="mod">
          <ac:chgData name="Aryan Tah (MiddleEast)" userId="7f6066b6-35e9-4d47-9d15-8917e2720a06" providerId="ADAL" clId="{CB224072-EA94-4500-BB44-FA94C70FEF2B}" dt="2026-01-05T10:07:25.251" v="14266"/>
          <ac:spMkLst>
            <pc:docMk/>
            <pc:sldMk cId="1052203660" sldId="307"/>
            <ac:spMk id="194" creationId="{E68D20C6-7DD0-4E69-6246-44E752020979}"/>
          </ac:spMkLst>
        </pc:spChg>
        <pc:spChg chg="mod">
          <ac:chgData name="Aryan Tah (MiddleEast)" userId="7f6066b6-35e9-4d47-9d15-8917e2720a06" providerId="ADAL" clId="{CB224072-EA94-4500-BB44-FA94C70FEF2B}" dt="2026-01-05T10:07:22.199" v="13878"/>
          <ac:spMkLst>
            <pc:docMk/>
            <pc:sldMk cId="1052203660" sldId="307"/>
            <ac:spMk id="195" creationId="{5623E15D-BD67-542D-0765-B66F2770C3FE}"/>
          </ac:spMkLst>
        </pc:spChg>
        <pc:spChg chg="mod">
          <ac:chgData name="Aryan Tah (MiddleEast)" userId="7f6066b6-35e9-4d47-9d15-8917e2720a06" providerId="ADAL" clId="{CB224072-EA94-4500-BB44-FA94C70FEF2B}" dt="2026-01-05T10:07:22.198" v="13875"/>
          <ac:spMkLst>
            <pc:docMk/>
            <pc:sldMk cId="1052203660" sldId="307"/>
            <ac:spMk id="196" creationId="{FD84727F-8602-1579-D835-F365E34867BA}"/>
          </ac:spMkLst>
        </pc:spChg>
        <pc:spChg chg="mod">
          <ac:chgData name="Aryan Tah (MiddleEast)" userId="7f6066b6-35e9-4d47-9d15-8917e2720a06" providerId="ADAL" clId="{CB224072-EA94-4500-BB44-FA94C70FEF2B}" dt="2026-01-05T10:07:22.199" v="13877"/>
          <ac:spMkLst>
            <pc:docMk/>
            <pc:sldMk cId="1052203660" sldId="307"/>
            <ac:spMk id="197" creationId="{ACFD2A59-B0C8-878E-5592-F2DF386BDC04}"/>
          </ac:spMkLst>
        </pc:spChg>
        <pc:spChg chg="mod ord">
          <ac:chgData name="Aryan Tah (MiddleEast)" userId="7f6066b6-35e9-4d47-9d15-8917e2720a06" providerId="ADAL" clId="{CB224072-EA94-4500-BB44-FA94C70FEF2B}" dt="2026-01-05T10:07:25.186" v="14185" actId="948"/>
          <ac:spMkLst>
            <pc:docMk/>
            <pc:sldMk cId="1052203660" sldId="307"/>
            <ac:spMk id="225" creationId="{9ACD2365-66C7-9DCD-D2E7-8C5C8F4B8F82}"/>
          </ac:spMkLst>
        </pc:spChg>
        <pc:spChg chg="mod">
          <ac:chgData name="Aryan Tah (MiddleEast)" userId="7f6066b6-35e9-4d47-9d15-8917e2720a06" providerId="ADAL" clId="{CB224072-EA94-4500-BB44-FA94C70FEF2B}" dt="2026-01-05T10:07:22.205" v="13885"/>
          <ac:spMkLst>
            <pc:docMk/>
            <pc:sldMk cId="1052203660" sldId="307"/>
            <ac:spMk id="226" creationId="{BBF7AD95-4860-E1C0-64FF-A999ECCC99DB}"/>
          </ac:spMkLst>
        </pc:spChg>
        <pc:spChg chg="mod">
          <ac:chgData name="Aryan Tah (MiddleEast)" userId="7f6066b6-35e9-4d47-9d15-8917e2720a06" providerId="ADAL" clId="{CB224072-EA94-4500-BB44-FA94C70FEF2B}" dt="2026-01-05T10:07:22.206" v="13886"/>
          <ac:spMkLst>
            <pc:docMk/>
            <pc:sldMk cId="1052203660" sldId="307"/>
            <ac:spMk id="227" creationId="{7D2517C9-4318-8D81-AEC1-C65A7C46923C}"/>
          </ac:spMkLst>
        </pc:spChg>
        <pc:spChg chg="mod">
          <ac:chgData name="Aryan Tah (MiddleEast)" userId="7f6066b6-35e9-4d47-9d15-8917e2720a06" providerId="ADAL" clId="{CB224072-EA94-4500-BB44-FA94C70FEF2B}" dt="2026-01-05T10:07:22.206" v="13887"/>
          <ac:spMkLst>
            <pc:docMk/>
            <pc:sldMk cId="1052203660" sldId="307"/>
            <ac:spMk id="228" creationId="{E94E9618-861C-94C3-76A5-514A6FF611B7}"/>
          </ac:spMkLst>
        </pc:spChg>
        <pc:spChg chg="mod">
          <ac:chgData name="Aryan Tah (MiddleEast)" userId="7f6066b6-35e9-4d47-9d15-8917e2720a06" providerId="ADAL" clId="{CB224072-EA94-4500-BB44-FA94C70FEF2B}" dt="2026-01-05T10:07:22.207" v="13888"/>
          <ac:spMkLst>
            <pc:docMk/>
            <pc:sldMk cId="1052203660" sldId="307"/>
            <ac:spMk id="229" creationId="{2BD2F52A-9672-F04B-DD4C-497A8358CC6B}"/>
          </ac:spMkLst>
        </pc:spChg>
        <pc:spChg chg="mod">
          <ac:chgData name="Aryan Tah (MiddleEast)" userId="7f6066b6-35e9-4d47-9d15-8917e2720a06" providerId="ADAL" clId="{CB224072-EA94-4500-BB44-FA94C70FEF2B}" dt="2026-01-05T10:07:22.211" v="13895"/>
          <ac:spMkLst>
            <pc:docMk/>
            <pc:sldMk cId="1052203660" sldId="307"/>
            <ac:spMk id="230" creationId="{8A118135-F530-69FB-FB93-BC992B5AA69D}"/>
          </ac:spMkLst>
        </pc:spChg>
        <pc:spChg chg="mod">
          <ac:chgData name="Aryan Tah (MiddleEast)" userId="7f6066b6-35e9-4d47-9d15-8917e2720a06" providerId="ADAL" clId="{CB224072-EA94-4500-BB44-FA94C70FEF2B}" dt="2026-01-05T10:07:25.251" v="14266"/>
          <ac:spMkLst>
            <pc:docMk/>
            <pc:sldMk cId="1052203660" sldId="307"/>
            <ac:spMk id="232" creationId="{8F04FDED-2B2F-5DA9-E130-C1F95F0ACD0C}"/>
          </ac:spMkLst>
        </pc:spChg>
        <pc:spChg chg="mod">
          <ac:chgData name="Aryan Tah (MiddleEast)" userId="7f6066b6-35e9-4d47-9d15-8917e2720a06" providerId="ADAL" clId="{CB224072-EA94-4500-BB44-FA94C70FEF2B}" dt="2026-01-05T10:07:22.209" v="13892"/>
          <ac:spMkLst>
            <pc:docMk/>
            <pc:sldMk cId="1052203660" sldId="307"/>
            <ac:spMk id="233" creationId="{9DA8E69C-F283-CCBE-F60E-52CA6C59C80A}"/>
          </ac:spMkLst>
        </pc:spChg>
        <pc:spChg chg="mod">
          <ac:chgData name="Aryan Tah (MiddleEast)" userId="7f6066b6-35e9-4d47-9d15-8917e2720a06" providerId="ADAL" clId="{CB224072-EA94-4500-BB44-FA94C70FEF2B}" dt="2026-01-05T10:07:25.251" v="14266"/>
          <ac:spMkLst>
            <pc:docMk/>
            <pc:sldMk cId="1052203660" sldId="307"/>
            <ac:spMk id="234" creationId="{D314626B-1334-8D7F-2087-5510314438B9}"/>
          </ac:spMkLst>
        </pc:spChg>
        <pc:spChg chg="mod">
          <ac:chgData name="Aryan Tah (MiddleEast)" userId="7f6066b6-35e9-4d47-9d15-8917e2720a06" providerId="ADAL" clId="{CB224072-EA94-4500-BB44-FA94C70FEF2B}" dt="2026-01-05T10:07:22.211" v="13894"/>
          <ac:spMkLst>
            <pc:docMk/>
            <pc:sldMk cId="1052203660" sldId="307"/>
            <ac:spMk id="242" creationId="{6E7BDDEB-4B78-1F2D-3F12-789FC75FEEB6}"/>
          </ac:spMkLst>
        </pc:spChg>
        <pc:spChg chg="mod">
          <ac:chgData name="Aryan Tah (MiddleEast)" userId="7f6066b6-35e9-4d47-9d15-8917e2720a06" providerId="ADAL" clId="{CB224072-EA94-4500-BB44-FA94C70FEF2B}" dt="2026-01-05T10:07:22.213" v="13897"/>
          <ac:spMkLst>
            <pc:docMk/>
            <pc:sldMk cId="1052203660" sldId="307"/>
            <ac:spMk id="243" creationId="{4388AACF-328C-9830-2759-F48568FE2B10}"/>
          </ac:spMkLst>
        </pc:spChg>
        <pc:spChg chg="mod">
          <ac:chgData name="Aryan Tah (MiddleEast)" userId="7f6066b6-35e9-4d47-9d15-8917e2720a06" providerId="ADAL" clId="{CB224072-EA94-4500-BB44-FA94C70FEF2B}" dt="2026-01-05T10:07:22.212" v="13896"/>
          <ac:spMkLst>
            <pc:docMk/>
            <pc:sldMk cId="1052203660" sldId="307"/>
            <ac:spMk id="244" creationId="{09CF612E-77D7-0732-4890-955BC13B8EBA}"/>
          </ac:spMkLst>
        </pc:spChg>
        <pc:spChg chg="mod">
          <ac:chgData name="Aryan Tah (MiddleEast)" userId="7f6066b6-35e9-4d47-9d15-8917e2720a06" providerId="ADAL" clId="{CB224072-EA94-4500-BB44-FA94C70FEF2B}" dt="2026-01-05T10:07:22.214" v="13900"/>
          <ac:spMkLst>
            <pc:docMk/>
            <pc:sldMk cId="1052203660" sldId="307"/>
            <ac:spMk id="258" creationId="{56FAC2E5-A6D7-E6F5-F008-D2BEDDB517CB}"/>
          </ac:spMkLst>
        </pc:spChg>
        <pc:spChg chg="mod ord">
          <ac:chgData name="Aryan Tah (MiddleEast)" userId="7f6066b6-35e9-4d47-9d15-8917e2720a06" providerId="ADAL" clId="{CB224072-EA94-4500-BB44-FA94C70FEF2B}" dt="2026-01-05T10:07:25.052" v="13968"/>
          <ac:spMkLst>
            <pc:docMk/>
            <pc:sldMk cId="1052203660" sldId="307"/>
            <ac:spMk id="262" creationId="{5808C7D3-4FF0-EFF1-C582-2039949963C3}"/>
          </ac:spMkLst>
        </pc:spChg>
        <pc:spChg chg="mod ord">
          <ac:chgData name="Aryan Tah (MiddleEast)" userId="7f6066b6-35e9-4d47-9d15-8917e2720a06" providerId="ADAL" clId="{CB224072-EA94-4500-BB44-FA94C70FEF2B}" dt="2026-01-05T10:07:25.052" v="13967"/>
          <ac:spMkLst>
            <pc:docMk/>
            <pc:sldMk cId="1052203660" sldId="307"/>
            <ac:spMk id="263" creationId="{3084CD4C-57EA-1ACB-CC03-8101C44CDE98}"/>
          </ac:spMkLst>
        </pc:spChg>
        <pc:spChg chg="mod">
          <ac:chgData name="Aryan Tah (MiddleEast)" userId="7f6066b6-35e9-4d47-9d15-8917e2720a06" providerId="ADAL" clId="{CB224072-EA94-4500-BB44-FA94C70FEF2B}" dt="2026-01-05T10:07:22.216" v="13905"/>
          <ac:spMkLst>
            <pc:docMk/>
            <pc:sldMk cId="1052203660" sldId="307"/>
            <ac:spMk id="267" creationId="{2744B7C1-D6FB-5129-4313-0787B4847F54}"/>
          </ac:spMkLst>
        </pc:spChg>
        <pc:spChg chg="mod">
          <ac:chgData name="Aryan Tah (MiddleEast)" userId="7f6066b6-35e9-4d47-9d15-8917e2720a06" providerId="ADAL" clId="{CB224072-EA94-4500-BB44-FA94C70FEF2B}" dt="2026-01-05T10:07:22.217" v="13906"/>
          <ac:spMkLst>
            <pc:docMk/>
            <pc:sldMk cId="1052203660" sldId="307"/>
            <ac:spMk id="268" creationId="{55638273-5341-77F7-21A7-C03A01D4078B}"/>
          </ac:spMkLst>
        </pc:spChg>
        <pc:spChg chg="mod">
          <ac:chgData name="Aryan Tah (MiddleEast)" userId="7f6066b6-35e9-4d47-9d15-8917e2720a06" providerId="ADAL" clId="{CB224072-EA94-4500-BB44-FA94C70FEF2B}" dt="2026-01-05T10:07:22.217" v="13907"/>
          <ac:spMkLst>
            <pc:docMk/>
            <pc:sldMk cId="1052203660" sldId="307"/>
            <ac:spMk id="278" creationId="{EA117FC0-967D-AE84-2DD2-85983FE83D74}"/>
          </ac:spMkLst>
        </pc:spChg>
        <pc:spChg chg="mod">
          <ac:chgData name="Aryan Tah (MiddleEast)" userId="7f6066b6-35e9-4d47-9d15-8917e2720a06" providerId="ADAL" clId="{CB224072-EA94-4500-BB44-FA94C70FEF2B}" dt="2026-01-05T10:07:22.219" v="13908"/>
          <ac:spMkLst>
            <pc:docMk/>
            <pc:sldMk cId="1052203660" sldId="307"/>
            <ac:spMk id="280" creationId="{C1BF17E4-05AF-DA7B-1A4C-93BF4388562B}"/>
          </ac:spMkLst>
        </pc:spChg>
        <pc:spChg chg="mod">
          <ac:chgData name="Aryan Tah (MiddleEast)" userId="7f6066b6-35e9-4d47-9d15-8917e2720a06" providerId="ADAL" clId="{CB224072-EA94-4500-BB44-FA94C70FEF2B}" dt="2026-01-05T10:07:22.220" v="13909"/>
          <ac:spMkLst>
            <pc:docMk/>
            <pc:sldMk cId="1052203660" sldId="307"/>
            <ac:spMk id="281" creationId="{DEB54E65-DAF7-2B58-65FF-FDC660FAC2A8}"/>
          </ac:spMkLst>
        </pc:spChg>
        <pc:spChg chg="mod ord">
          <ac:chgData name="Aryan Tah (MiddleEast)" userId="7f6066b6-35e9-4d47-9d15-8917e2720a06" providerId="ADAL" clId="{CB224072-EA94-4500-BB44-FA94C70FEF2B}" dt="2026-01-05T10:07:25.057" v="13989"/>
          <ac:spMkLst>
            <pc:docMk/>
            <pc:sldMk cId="1052203660" sldId="307"/>
            <ac:spMk id="2080" creationId="{92789A03-B9CE-3D8F-CE35-ADF4476E09EB}"/>
          </ac:spMkLst>
        </pc:spChg>
        <pc:grpChg chg="mod ord">
          <ac:chgData name="Aryan Tah (MiddleEast)" userId="7f6066b6-35e9-4d47-9d15-8917e2720a06" providerId="ADAL" clId="{CB224072-EA94-4500-BB44-FA94C70FEF2B}" dt="2026-01-05T10:07:25.048" v="13951"/>
          <ac:grpSpMkLst>
            <pc:docMk/>
            <pc:sldMk cId="1052203660" sldId="307"/>
            <ac:grpSpMk id="42" creationId="{7B088550-E015-7E1D-44DA-92DAA7C9CFC3}"/>
          </ac:grpSpMkLst>
        </pc:grpChg>
        <pc:grpChg chg="mod ord">
          <ac:chgData name="Aryan Tah (MiddleEast)" userId="7f6066b6-35e9-4d47-9d15-8917e2720a06" providerId="ADAL" clId="{CB224072-EA94-4500-BB44-FA94C70FEF2B}" dt="2026-01-05T10:07:25.050" v="13960"/>
          <ac:grpSpMkLst>
            <pc:docMk/>
            <pc:sldMk cId="1052203660" sldId="307"/>
            <ac:grpSpMk id="2058" creationId="{AE777235-CFFC-B6BA-57DA-68EF3C730D07}"/>
          </ac:grpSpMkLst>
        </pc:grpChg>
        <pc:grpChg chg="mod ord">
          <ac:chgData name="Aryan Tah (MiddleEast)" userId="7f6066b6-35e9-4d47-9d15-8917e2720a06" providerId="ADAL" clId="{CB224072-EA94-4500-BB44-FA94C70FEF2B}" dt="2026-01-05T10:07:25.050" v="13959"/>
          <ac:grpSpMkLst>
            <pc:docMk/>
            <pc:sldMk cId="1052203660" sldId="307"/>
            <ac:grpSpMk id="2059" creationId="{9709CB02-428D-6EF3-6F13-BDB6844281BA}"/>
          </ac:grpSpMkLst>
        </pc:grpChg>
        <pc:grpChg chg="mod ord">
          <ac:chgData name="Aryan Tah (MiddleEast)" userId="7f6066b6-35e9-4d47-9d15-8917e2720a06" providerId="ADAL" clId="{CB224072-EA94-4500-BB44-FA94C70FEF2B}" dt="2026-01-05T10:07:25.050" v="13958"/>
          <ac:grpSpMkLst>
            <pc:docMk/>
            <pc:sldMk cId="1052203660" sldId="307"/>
            <ac:grpSpMk id="2062" creationId="{52C8B4BB-76A4-E2D2-2611-76F97A47DD0C}"/>
          </ac:grpSpMkLst>
        </pc:grpChg>
        <pc:grpChg chg="mod ord">
          <ac:chgData name="Aryan Tah (MiddleEast)" userId="7f6066b6-35e9-4d47-9d15-8917e2720a06" providerId="ADAL" clId="{CB224072-EA94-4500-BB44-FA94C70FEF2B}" dt="2026-01-05T10:07:25.050" v="13957"/>
          <ac:grpSpMkLst>
            <pc:docMk/>
            <pc:sldMk cId="1052203660" sldId="307"/>
            <ac:grpSpMk id="2065" creationId="{C8BBBC5C-7039-0329-BED1-782BE3B6CA88}"/>
          </ac:grpSpMkLst>
        </pc:grpChg>
        <pc:grpChg chg="mod ord">
          <ac:chgData name="Aryan Tah (MiddleEast)" userId="7f6066b6-35e9-4d47-9d15-8917e2720a06" providerId="ADAL" clId="{CB224072-EA94-4500-BB44-FA94C70FEF2B}" dt="2026-01-05T10:07:25.049" v="13956"/>
          <ac:grpSpMkLst>
            <pc:docMk/>
            <pc:sldMk cId="1052203660" sldId="307"/>
            <ac:grpSpMk id="2068" creationId="{BB9FE115-7941-B32D-C313-A5FAC6ECFED0}"/>
          </ac:grpSpMkLst>
        </pc:grpChg>
        <pc:grpChg chg="mod ord">
          <ac:chgData name="Aryan Tah (MiddleEast)" userId="7f6066b6-35e9-4d47-9d15-8917e2720a06" providerId="ADAL" clId="{CB224072-EA94-4500-BB44-FA94C70FEF2B}" dt="2026-01-05T10:07:25.049" v="13955"/>
          <ac:grpSpMkLst>
            <pc:docMk/>
            <pc:sldMk cId="1052203660" sldId="307"/>
            <ac:grpSpMk id="2071" creationId="{0CA7AEC0-10B1-481B-A06C-7FD6A70ACB79}"/>
          </ac:grpSpMkLst>
        </pc:grpChg>
        <pc:grpChg chg="mod ord">
          <ac:chgData name="Aryan Tah (MiddleEast)" userId="7f6066b6-35e9-4d47-9d15-8917e2720a06" providerId="ADAL" clId="{CB224072-EA94-4500-BB44-FA94C70FEF2B}" dt="2026-01-05T10:07:25.049" v="13954"/>
          <ac:grpSpMkLst>
            <pc:docMk/>
            <pc:sldMk cId="1052203660" sldId="307"/>
            <ac:grpSpMk id="2075" creationId="{CDED8EEF-CF2F-78D1-5B55-DB5B2FFE9FD5}"/>
          </ac:grpSpMkLst>
        </pc:grpChg>
        <pc:graphicFrameChg chg="add mod ord">
          <ac:chgData name="Aryan Tah (MiddleEast)" userId="7f6066b6-35e9-4d47-9d15-8917e2720a06" providerId="ADAL" clId="{CB224072-EA94-4500-BB44-FA94C70FEF2B}" dt="2026-01-05T10:07:25.060" v="13991" actId="1076"/>
          <ac:graphicFrameMkLst>
            <pc:docMk/>
            <pc:sldMk cId="1052203660" sldId="307"/>
            <ac:graphicFrameMk id="7" creationId="{B9D44E27-4F9C-84ED-B81D-05D3AB48D0CA}"/>
          </ac:graphicFrameMkLst>
        </pc:graphicFrameChg>
        <pc:graphicFrameChg chg="add del">
          <ac:chgData name="Aryan Tah (MiddleEast)" userId="7f6066b6-35e9-4d47-9d15-8917e2720a06" providerId="ADAL" clId="{CB224072-EA94-4500-BB44-FA94C70FEF2B}" dt="2026-01-05T10:07:25.076" v="14001" actId="478"/>
          <ac:graphicFrameMkLst>
            <pc:docMk/>
            <pc:sldMk cId="1052203660" sldId="307"/>
            <ac:graphicFrameMk id="14" creationId="{7F189E03-B988-AE24-E986-E42FC9D00D46}"/>
          </ac:graphicFrameMkLst>
        </pc:graphicFrameChg>
        <pc:graphicFrameChg chg="mod">
          <ac:chgData name="Aryan Tah (MiddleEast)" userId="7f6066b6-35e9-4d47-9d15-8917e2720a06" providerId="ADAL" clId="{CB224072-EA94-4500-BB44-FA94C70FEF2B}" dt="2026-01-05T10:07:25.276" v="14268"/>
          <ac:graphicFrameMkLst>
            <pc:docMk/>
            <pc:sldMk cId="1052203660" sldId="307"/>
            <ac:graphicFrameMk id="19" creationId="{E1C74B4F-C0D5-A25B-81A6-16B880CF7BDF}"/>
          </ac:graphicFrameMkLst>
        </pc:graphicFrameChg>
        <pc:cxnChg chg="mod ord">
          <ac:chgData name="Aryan Tah (MiddleEast)" userId="7f6066b6-35e9-4d47-9d15-8917e2720a06" providerId="ADAL" clId="{CB224072-EA94-4500-BB44-FA94C70FEF2B}" dt="2026-01-05T10:07:25.111" v="14117" actId="1076"/>
          <ac:cxnSpMkLst>
            <pc:docMk/>
            <pc:sldMk cId="1052203660" sldId="307"/>
            <ac:cxnSpMk id="198" creationId="{E01873E8-D3CE-ABC6-A730-C09D17A05340}"/>
          </ac:cxnSpMkLst>
        </pc:cxnChg>
        <pc:cxnChg chg="mod ord">
          <ac:chgData name="Aryan Tah (MiddleEast)" userId="7f6066b6-35e9-4d47-9d15-8917e2720a06" providerId="ADAL" clId="{CB224072-EA94-4500-BB44-FA94C70FEF2B}" dt="2026-01-05T10:07:25.109" v="14109" actId="1076"/>
          <ac:cxnSpMkLst>
            <pc:docMk/>
            <pc:sldMk cId="1052203660" sldId="307"/>
            <ac:cxnSpMk id="199" creationId="{E2E61726-B0F9-6F2A-FECA-C57DCE9A9C26}"/>
          </ac:cxnSpMkLst>
        </pc:cxnChg>
        <pc:cxnChg chg="mod ord">
          <ac:chgData name="Aryan Tah (MiddleEast)" userId="7f6066b6-35e9-4d47-9d15-8917e2720a06" providerId="ADAL" clId="{CB224072-EA94-4500-BB44-FA94C70FEF2B}" dt="2026-01-05T10:07:25.107" v="14101" actId="1076"/>
          <ac:cxnSpMkLst>
            <pc:docMk/>
            <pc:sldMk cId="1052203660" sldId="307"/>
            <ac:cxnSpMk id="200" creationId="{20CFB7E9-A6D1-59B2-5642-2A713346DD4C}"/>
          </ac:cxnSpMkLst>
        </pc:cxnChg>
        <pc:cxnChg chg="mod ord">
          <ac:chgData name="Aryan Tah (MiddleEast)" userId="7f6066b6-35e9-4d47-9d15-8917e2720a06" providerId="ADAL" clId="{CB224072-EA94-4500-BB44-FA94C70FEF2B}" dt="2026-01-05T10:07:25.105" v="14093" actId="1076"/>
          <ac:cxnSpMkLst>
            <pc:docMk/>
            <pc:sldMk cId="1052203660" sldId="307"/>
            <ac:cxnSpMk id="201" creationId="{D0918A41-2E61-BA16-CA4C-5D120692C2B1}"/>
          </ac:cxnSpMkLst>
        </pc:cxnChg>
        <pc:cxnChg chg="mod ord">
          <ac:chgData name="Aryan Tah (MiddleEast)" userId="7f6066b6-35e9-4d47-9d15-8917e2720a06" providerId="ADAL" clId="{CB224072-EA94-4500-BB44-FA94C70FEF2B}" dt="2026-01-05T10:07:25.103" v="14085" actId="1076"/>
          <ac:cxnSpMkLst>
            <pc:docMk/>
            <pc:sldMk cId="1052203660" sldId="307"/>
            <ac:cxnSpMk id="202" creationId="{6C96B5B1-6D39-16C5-3D9C-B0EAC6464BB2}"/>
          </ac:cxnSpMkLst>
        </pc:cxnChg>
        <pc:cxnChg chg="mod ord">
          <ac:chgData name="Aryan Tah (MiddleEast)" userId="7f6066b6-35e9-4d47-9d15-8917e2720a06" providerId="ADAL" clId="{CB224072-EA94-4500-BB44-FA94C70FEF2B}" dt="2026-01-05T10:07:25.101" v="14077" actId="1076"/>
          <ac:cxnSpMkLst>
            <pc:docMk/>
            <pc:sldMk cId="1052203660" sldId="307"/>
            <ac:cxnSpMk id="203" creationId="{B3EA9DBE-78A9-9354-081D-CB3610E1FF17}"/>
          </ac:cxnSpMkLst>
        </pc:cxnChg>
        <pc:cxnChg chg="mod ord">
          <ac:chgData name="Aryan Tah (MiddleEast)" userId="7f6066b6-35e9-4d47-9d15-8917e2720a06" providerId="ADAL" clId="{CB224072-EA94-4500-BB44-FA94C70FEF2B}" dt="2026-01-05T10:07:25.098" v="14069" actId="1076"/>
          <ac:cxnSpMkLst>
            <pc:docMk/>
            <pc:sldMk cId="1052203660" sldId="307"/>
            <ac:cxnSpMk id="204" creationId="{A0390EA7-C32E-AB17-118D-3C56B25A8662}"/>
          </ac:cxnSpMkLst>
        </pc:cxnChg>
        <pc:cxnChg chg="mod ord">
          <ac:chgData name="Aryan Tah (MiddleEast)" userId="7f6066b6-35e9-4d47-9d15-8917e2720a06" providerId="ADAL" clId="{CB224072-EA94-4500-BB44-FA94C70FEF2B}" dt="2026-01-05T10:07:25.096" v="14061" actId="1076"/>
          <ac:cxnSpMkLst>
            <pc:docMk/>
            <pc:sldMk cId="1052203660" sldId="307"/>
            <ac:cxnSpMk id="205" creationId="{0610F98C-47AE-27D9-BBEF-199321DF06E2}"/>
          </ac:cxnSpMkLst>
        </pc:cxnChg>
        <pc:cxnChg chg="mod ord">
          <ac:chgData name="Aryan Tah (MiddleEast)" userId="7f6066b6-35e9-4d47-9d15-8917e2720a06" providerId="ADAL" clId="{CB224072-EA94-4500-BB44-FA94C70FEF2B}" dt="2026-01-05T10:07:25.094" v="14053" actId="1076"/>
          <ac:cxnSpMkLst>
            <pc:docMk/>
            <pc:sldMk cId="1052203660" sldId="307"/>
            <ac:cxnSpMk id="206" creationId="{B35B2D3F-B98E-66A5-DE6F-40CA9F609767}"/>
          </ac:cxnSpMkLst>
        </pc:cxnChg>
        <pc:cxnChg chg="mod ord">
          <ac:chgData name="Aryan Tah (MiddleEast)" userId="7f6066b6-35e9-4d47-9d15-8917e2720a06" providerId="ADAL" clId="{CB224072-EA94-4500-BB44-FA94C70FEF2B}" dt="2026-01-05T10:07:25.092" v="14045" actId="1076"/>
          <ac:cxnSpMkLst>
            <pc:docMk/>
            <pc:sldMk cId="1052203660" sldId="307"/>
            <ac:cxnSpMk id="207" creationId="{77DC4E18-59A9-5E7F-DFB3-0B9E60D5152C}"/>
          </ac:cxnSpMkLst>
        </pc:cxnChg>
        <pc:cxnChg chg="mod ord">
          <ac:chgData name="Aryan Tah (MiddleEast)" userId="7f6066b6-35e9-4d47-9d15-8917e2720a06" providerId="ADAL" clId="{CB224072-EA94-4500-BB44-FA94C70FEF2B}" dt="2026-01-05T10:07:25.090" v="14037" actId="1076"/>
          <ac:cxnSpMkLst>
            <pc:docMk/>
            <pc:sldMk cId="1052203660" sldId="307"/>
            <ac:cxnSpMk id="208" creationId="{E546E04A-FA30-749D-B3C1-5AA4E2E9FE94}"/>
          </ac:cxnSpMkLst>
        </pc:cxnChg>
        <pc:cxnChg chg="mod ord">
          <ac:chgData name="Aryan Tah (MiddleEast)" userId="7f6066b6-35e9-4d47-9d15-8917e2720a06" providerId="ADAL" clId="{CB224072-EA94-4500-BB44-FA94C70FEF2B}" dt="2026-01-05T10:07:25.088" v="14029" actId="1076"/>
          <ac:cxnSpMkLst>
            <pc:docMk/>
            <pc:sldMk cId="1052203660" sldId="307"/>
            <ac:cxnSpMk id="209" creationId="{7A5F33A0-179A-548E-4DBC-FCE3D3435248}"/>
          </ac:cxnSpMkLst>
        </pc:cxnChg>
        <pc:cxnChg chg="mod ord">
          <ac:chgData name="Aryan Tah (MiddleEast)" userId="7f6066b6-35e9-4d47-9d15-8917e2720a06" providerId="ADAL" clId="{CB224072-EA94-4500-BB44-FA94C70FEF2B}" dt="2026-01-05T10:07:25.086" v="14021" actId="1076"/>
          <ac:cxnSpMkLst>
            <pc:docMk/>
            <pc:sldMk cId="1052203660" sldId="307"/>
            <ac:cxnSpMk id="210" creationId="{ED0DC091-0AB5-08DD-3343-8C0A271F1BA3}"/>
          </ac:cxnSpMkLst>
        </pc:cxnChg>
        <pc:cxnChg chg="mod ord">
          <ac:chgData name="Aryan Tah (MiddleEast)" userId="7f6066b6-35e9-4d47-9d15-8917e2720a06" providerId="ADAL" clId="{CB224072-EA94-4500-BB44-FA94C70FEF2B}" dt="2026-01-05T10:07:25.083" v="14013" actId="1076"/>
          <ac:cxnSpMkLst>
            <pc:docMk/>
            <pc:sldMk cId="1052203660" sldId="307"/>
            <ac:cxnSpMk id="211" creationId="{FC69DD0D-ABC8-F7A2-F6DB-1F773A863C13}"/>
          </ac:cxnSpMkLst>
        </pc:cxnChg>
        <pc:cxnChg chg="mod ord">
          <ac:chgData name="Aryan Tah (MiddleEast)" userId="7f6066b6-35e9-4d47-9d15-8917e2720a06" providerId="ADAL" clId="{CB224072-EA94-4500-BB44-FA94C70FEF2B}" dt="2026-01-05T10:07:25.050" v="13961"/>
          <ac:cxnSpMkLst>
            <pc:docMk/>
            <pc:sldMk cId="1052203660" sldId="307"/>
            <ac:cxnSpMk id="301" creationId="{53EE79F9-794B-FED7-9826-800879AFFB5C}"/>
          </ac:cxnSpMkLst>
        </pc:cxnChg>
        <pc:cxnChg chg="mod ord">
          <ac:chgData name="Aryan Tah (MiddleEast)" userId="7f6066b6-35e9-4d47-9d15-8917e2720a06" providerId="ADAL" clId="{CB224072-EA94-4500-BB44-FA94C70FEF2B}" dt="2026-01-05T10:07:25.051" v="13966"/>
          <ac:cxnSpMkLst>
            <pc:docMk/>
            <pc:sldMk cId="1052203660" sldId="307"/>
            <ac:cxnSpMk id="304" creationId="{4FA7FB9B-827B-99AC-92EF-AC966BB7C56D}"/>
          </ac:cxnSpMkLst>
        </pc:cxnChg>
        <pc:cxnChg chg="mod ord">
          <ac:chgData name="Aryan Tah (MiddleEast)" userId="7f6066b6-35e9-4d47-9d15-8917e2720a06" providerId="ADAL" clId="{CB224072-EA94-4500-BB44-FA94C70FEF2B}" dt="2026-01-05T10:07:25.051" v="13965"/>
          <ac:cxnSpMkLst>
            <pc:docMk/>
            <pc:sldMk cId="1052203660" sldId="307"/>
            <ac:cxnSpMk id="305" creationId="{04887B95-B329-8B3A-E18F-E12404D53CDB}"/>
          </ac:cxnSpMkLst>
        </pc:cxnChg>
        <pc:cxnChg chg="mod ord">
          <ac:chgData name="Aryan Tah (MiddleEast)" userId="7f6066b6-35e9-4d47-9d15-8917e2720a06" providerId="ADAL" clId="{CB224072-EA94-4500-BB44-FA94C70FEF2B}" dt="2026-01-05T10:07:25.051" v="13964"/>
          <ac:cxnSpMkLst>
            <pc:docMk/>
            <pc:sldMk cId="1052203660" sldId="307"/>
            <ac:cxnSpMk id="307" creationId="{E23F3DBF-E5EE-3D82-48FA-117AE28E5B19}"/>
          </ac:cxnSpMkLst>
        </pc:cxnChg>
        <pc:cxnChg chg="mod ord">
          <ac:chgData name="Aryan Tah (MiddleEast)" userId="7f6066b6-35e9-4d47-9d15-8917e2720a06" providerId="ADAL" clId="{CB224072-EA94-4500-BB44-FA94C70FEF2B}" dt="2026-01-05T10:07:25.051" v="13963"/>
          <ac:cxnSpMkLst>
            <pc:docMk/>
            <pc:sldMk cId="1052203660" sldId="307"/>
            <ac:cxnSpMk id="309" creationId="{54D61018-9FD3-DDBB-3107-3AE81E9A8CF4}"/>
          </ac:cxnSpMkLst>
        </pc:cxnChg>
        <pc:cxnChg chg="mod ord">
          <ac:chgData name="Aryan Tah (MiddleEast)" userId="7f6066b6-35e9-4d47-9d15-8917e2720a06" providerId="ADAL" clId="{CB224072-EA94-4500-BB44-FA94C70FEF2B}" dt="2026-01-05T10:07:25.050" v="13962"/>
          <ac:cxnSpMkLst>
            <pc:docMk/>
            <pc:sldMk cId="1052203660" sldId="307"/>
            <ac:cxnSpMk id="312" creationId="{8AA21970-0F83-D07C-89B4-25BD2737136F}"/>
          </ac:cxnSpMkLst>
        </pc:cxnChg>
      </pc:sldChg>
      <pc:sldChg chg="delSp modSp add mod">
        <pc:chgData name="Aryan Tah (MiddleEast)" userId="7f6066b6-35e9-4d47-9d15-8917e2720a06" providerId="ADAL" clId="{CB224072-EA94-4500-BB44-FA94C70FEF2B}" dt="2026-01-05T11:33:44.089" v="20864" actId="20577"/>
        <pc:sldMkLst>
          <pc:docMk/>
          <pc:sldMk cId="3683836732" sldId="308"/>
        </pc:sldMkLst>
        <pc:spChg chg="mod">
          <ac:chgData name="Aryan Tah (MiddleEast)" userId="7f6066b6-35e9-4d47-9d15-8917e2720a06" providerId="ADAL" clId="{CB224072-EA94-4500-BB44-FA94C70FEF2B}" dt="2026-01-05T10:24:12.963" v="19835" actId="20577"/>
          <ac:spMkLst>
            <pc:docMk/>
            <pc:sldMk cId="3683836732" sldId="308"/>
            <ac:spMk id="26" creationId="{032D34D1-FEA0-9D2E-235F-6B159DE6B394}"/>
          </ac:spMkLst>
        </pc:spChg>
        <pc:spChg chg="mod">
          <ac:chgData name="Aryan Tah (MiddleEast)" userId="7f6066b6-35e9-4d47-9d15-8917e2720a06" providerId="ADAL" clId="{CB224072-EA94-4500-BB44-FA94C70FEF2B}" dt="2026-01-05T10:23:07.172" v="19826" actId="207"/>
          <ac:spMkLst>
            <pc:docMk/>
            <pc:sldMk cId="3683836732" sldId="308"/>
            <ac:spMk id="40" creationId="{A1E4F331-A64B-AE97-FE96-874E8E89D3D4}"/>
          </ac:spMkLst>
        </pc:spChg>
        <pc:spChg chg="mod">
          <ac:chgData name="Aryan Tah (MiddleEast)" userId="7f6066b6-35e9-4d47-9d15-8917e2720a06" providerId="ADAL" clId="{CB224072-EA94-4500-BB44-FA94C70FEF2B}" dt="2026-01-05T10:23:07.172" v="19826" actId="207"/>
          <ac:spMkLst>
            <pc:docMk/>
            <pc:sldMk cId="3683836732" sldId="308"/>
            <ac:spMk id="41" creationId="{32BECB16-CD36-9CBC-9A82-BF801A24BBD8}"/>
          </ac:spMkLst>
        </pc:spChg>
        <pc:spChg chg="mod">
          <ac:chgData name="Aryan Tah (MiddleEast)" userId="7f6066b6-35e9-4d47-9d15-8917e2720a06" providerId="ADAL" clId="{CB224072-EA94-4500-BB44-FA94C70FEF2B}" dt="2026-01-05T11:33:44.089" v="20864" actId="20577"/>
          <ac:spMkLst>
            <pc:docMk/>
            <pc:sldMk cId="3683836732" sldId="308"/>
            <ac:spMk id="61" creationId="{C9AD490F-4A82-F60E-83EC-7739E72246EC}"/>
          </ac:spMkLst>
        </pc:spChg>
        <pc:spChg chg="del">
          <ac:chgData name="Aryan Tah (MiddleEast)" userId="7f6066b6-35e9-4d47-9d15-8917e2720a06" providerId="ADAL" clId="{CB224072-EA94-4500-BB44-FA94C70FEF2B}" dt="2026-01-05T11:31:45.237" v="20836" actId="478"/>
          <ac:spMkLst>
            <pc:docMk/>
            <pc:sldMk cId="3683836732" sldId="308"/>
            <ac:spMk id="67" creationId="{178853CF-DDF6-3026-13C3-E3886B683C54}"/>
          </ac:spMkLst>
        </pc:spChg>
        <pc:grpChg chg="mod">
          <ac:chgData name="Aryan Tah (MiddleEast)" userId="7f6066b6-35e9-4d47-9d15-8917e2720a06" providerId="ADAL" clId="{CB224072-EA94-4500-BB44-FA94C70FEF2B}" dt="2026-01-05T10:23:03.473" v="19825" actId="1076"/>
          <ac:grpSpMkLst>
            <pc:docMk/>
            <pc:sldMk cId="3683836732" sldId="308"/>
            <ac:grpSpMk id="33" creationId="{BB13EBEA-16CE-4517-5029-3E911D8F7CDD}"/>
          </ac:grpSpMkLst>
        </pc:grpChg>
        <pc:cxnChg chg="mod">
          <ac:chgData name="Aryan Tah (MiddleEast)" userId="7f6066b6-35e9-4d47-9d15-8917e2720a06" providerId="ADAL" clId="{CB224072-EA94-4500-BB44-FA94C70FEF2B}" dt="2026-01-05T10:23:03.473" v="19825" actId="1076"/>
          <ac:cxnSpMkLst>
            <pc:docMk/>
            <pc:sldMk cId="3683836732" sldId="308"/>
            <ac:cxnSpMk id="45" creationId="{51054180-3655-5A90-F86A-AAAB30668A25}"/>
          </ac:cxnSpMkLst>
        </pc:cxnChg>
        <pc:cxnChg chg="mod">
          <ac:chgData name="Aryan Tah (MiddleEast)" userId="7f6066b6-35e9-4d47-9d15-8917e2720a06" providerId="ADAL" clId="{CB224072-EA94-4500-BB44-FA94C70FEF2B}" dt="2026-01-05T10:23:03.473" v="19825" actId="1076"/>
          <ac:cxnSpMkLst>
            <pc:docMk/>
            <pc:sldMk cId="3683836732" sldId="308"/>
            <ac:cxnSpMk id="46" creationId="{0717427D-F2D3-6732-C0E9-168960486519}"/>
          </ac:cxnSpMkLst>
        </pc:cxnChg>
      </pc:sldChg>
      <pc:sldChg chg="ord">
        <pc:chgData name="Aryan Tah (MiddleEast)" userId="7f6066b6-35e9-4d47-9d15-8917e2720a06" providerId="ADAL" clId="{CB224072-EA94-4500-BB44-FA94C70FEF2B}" dt="2026-01-05T13:53:24.346" v="20891"/>
        <pc:sldMkLst>
          <pc:docMk/>
          <pc:sldMk cId="2193340535" sldId="310"/>
        </pc:sldMkLst>
      </pc:sldChg>
      <pc:sldChg chg="delSp modSp">
        <pc:chgData name="Aryan Tah (MiddleEast)" userId="7f6066b6-35e9-4d47-9d15-8917e2720a06" providerId="ADAL" clId="{CB224072-EA94-4500-BB44-FA94C70FEF2B}" dt="2026-01-02T08:51:02.954" v="6459" actId="165"/>
        <pc:sldMkLst>
          <pc:docMk/>
          <pc:sldMk cId="2550529435" sldId="332"/>
        </pc:sldMkLst>
        <pc:spChg chg="mod topLvl">
          <ac:chgData name="Aryan Tah (MiddleEast)" userId="7f6066b6-35e9-4d47-9d15-8917e2720a06" providerId="ADAL" clId="{CB224072-EA94-4500-BB44-FA94C70FEF2B}" dt="2026-01-02T08:51:02.359" v="6458" actId="165"/>
          <ac:spMkLst>
            <pc:docMk/>
            <pc:sldMk cId="2550529435" sldId="332"/>
            <ac:spMk id="9" creationId="{8EBDD10E-1D0A-7065-95CD-906A9964B34B}"/>
          </ac:spMkLst>
        </pc:spChg>
        <pc:spChg chg="mod topLvl">
          <ac:chgData name="Aryan Tah (MiddleEast)" userId="7f6066b6-35e9-4d47-9d15-8917e2720a06" providerId="ADAL" clId="{CB224072-EA94-4500-BB44-FA94C70FEF2B}" dt="2026-01-02T08:51:02.359" v="6458" actId="165"/>
          <ac:spMkLst>
            <pc:docMk/>
            <pc:sldMk cId="2550529435" sldId="332"/>
            <ac:spMk id="14" creationId="{15C80764-1FBC-1AD9-52BF-EB1B78A7A4C0}"/>
          </ac:spMkLst>
        </pc:spChg>
        <pc:spChg chg="mod topLvl">
          <ac:chgData name="Aryan Tah (MiddleEast)" userId="7f6066b6-35e9-4d47-9d15-8917e2720a06" providerId="ADAL" clId="{CB224072-EA94-4500-BB44-FA94C70FEF2B}" dt="2026-01-02T08:51:02.954" v="6459" actId="165"/>
          <ac:spMkLst>
            <pc:docMk/>
            <pc:sldMk cId="2550529435" sldId="332"/>
            <ac:spMk id="46" creationId="{D73A136A-4B13-24A2-D7FC-558489DFA4F2}"/>
          </ac:spMkLst>
        </pc:spChg>
        <pc:spChg chg="mod topLvl">
          <ac:chgData name="Aryan Tah (MiddleEast)" userId="7f6066b6-35e9-4d47-9d15-8917e2720a06" providerId="ADAL" clId="{CB224072-EA94-4500-BB44-FA94C70FEF2B}" dt="2026-01-02T08:51:02.954" v="6459" actId="165"/>
          <ac:spMkLst>
            <pc:docMk/>
            <pc:sldMk cId="2550529435" sldId="332"/>
            <ac:spMk id="47" creationId="{D2596ECA-6F09-C845-0123-6EBD03C5E7BD}"/>
          </ac:spMkLst>
        </pc:spChg>
        <pc:spChg chg="mod topLvl">
          <ac:chgData name="Aryan Tah (MiddleEast)" userId="7f6066b6-35e9-4d47-9d15-8917e2720a06" providerId="ADAL" clId="{CB224072-EA94-4500-BB44-FA94C70FEF2B}" dt="2026-01-02T08:51:02.359" v="6458" actId="165"/>
          <ac:spMkLst>
            <pc:docMk/>
            <pc:sldMk cId="2550529435" sldId="332"/>
            <ac:spMk id="49" creationId="{E8FA03B7-7516-F0A9-21EE-C259689C3838}"/>
          </ac:spMkLst>
        </pc:spChg>
        <pc:spChg chg="mod topLvl">
          <ac:chgData name="Aryan Tah (MiddleEast)" userId="7f6066b6-35e9-4d47-9d15-8917e2720a06" providerId="ADAL" clId="{CB224072-EA94-4500-BB44-FA94C70FEF2B}" dt="2026-01-02T08:51:02.359" v="6458" actId="165"/>
          <ac:spMkLst>
            <pc:docMk/>
            <pc:sldMk cId="2550529435" sldId="332"/>
            <ac:spMk id="54" creationId="{5AFA7BE6-A262-6686-A231-05255FBA732E}"/>
          </ac:spMkLst>
        </pc:spChg>
        <pc:spChg chg="mod topLvl">
          <ac:chgData name="Aryan Tah (MiddleEast)" userId="7f6066b6-35e9-4d47-9d15-8917e2720a06" providerId="ADAL" clId="{CB224072-EA94-4500-BB44-FA94C70FEF2B}" dt="2026-01-02T08:51:02.359" v="6458" actId="165"/>
          <ac:spMkLst>
            <pc:docMk/>
            <pc:sldMk cId="2550529435" sldId="332"/>
            <ac:spMk id="62" creationId="{370CE152-96FD-1061-FD0B-8ABB6603277A}"/>
          </ac:spMkLst>
        </pc:spChg>
        <pc:spChg chg="mod topLvl">
          <ac:chgData name="Aryan Tah (MiddleEast)" userId="7f6066b6-35e9-4d47-9d15-8917e2720a06" providerId="ADAL" clId="{CB224072-EA94-4500-BB44-FA94C70FEF2B}" dt="2026-01-02T08:51:02.359" v="6458" actId="165"/>
          <ac:spMkLst>
            <pc:docMk/>
            <pc:sldMk cId="2550529435" sldId="332"/>
            <ac:spMk id="84" creationId="{A42FBE53-A187-939F-670E-697E98034F4E}"/>
          </ac:spMkLst>
        </pc:spChg>
        <pc:spChg chg="mod topLvl">
          <ac:chgData name="Aryan Tah (MiddleEast)" userId="7f6066b6-35e9-4d47-9d15-8917e2720a06" providerId="ADAL" clId="{CB224072-EA94-4500-BB44-FA94C70FEF2B}" dt="2026-01-02T08:51:02.359" v="6458" actId="165"/>
          <ac:spMkLst>
            <pc:docMk/>
            <pc:sldMk cId="2550529435" sldId="332"/>
            <ac:spMk id="136" creationId="{CAEAABCB-72AB-3026-ECDB-58AFA889FBF1}"/>
          </ac:spMkLst>
        </pc:spChg>
        <pc:spChg chg="mod topLvl">
          <ac:chgData name="Aryan Tah (MiddleEast)" userId="7f6066b6-35e9-4d47-9d15-8917e2720a06" providerId="ADAL" clId="{CB224072-EA94-4500-BB44-FA94C70FEF2B}" dt="2026-01-02T08:51:02.359" v="6458" actId="165"/>
          <ac:spMkLst>
            <pc:docMk/>
            <pc:sldMk cId="2550529435" sldId="332"/>
            <ac:spMk id="138" creationId="{0E071DE4-D860-4439-B526-FCFFA04F3479}"/>
          </ac:spMkLst>
        </pc:spChg>
        <pc:spChg chg="mod topLvl">
          <ac:chgData name="Aryan Tah (MiddleEast)" userId="7f6066b6-35e9-4d47-9d15-8917e2720a06" providerId="ADAL" clId="{CB224072-EA94-4500-BB44-FA94C70FEF2B}" dt="2026-01-02T08:51:02.359" v="6458" actId="165"/>
          <ac:spMkLst>
            <pc:docMk/>
            <pc:sldMk cId="2550529435" sldId="332"/>
            <ac:spMk id="139" creationId="{210936DE-EE1D-ABEF-22FA-79C09925D536}"/>
          </ac:spMkLst>
        </pc:spChg>
      </pc:sldChg>
      <pc:sldChg chg="addSp delSp modSp mod">
        <pc:chgData name="Aryan Tah (MiddleEast)" userId="7f6066b6-35e9-4d47-9d15-8917e2720a06" providerId="ADAL" clId="{CB224072-EA94-4500-BB44-FA94C70FEF2B}" dt="2026-01-02T09:49:53.302" v="7301" actId="478"/>
        <pc:sldMkLst>
          <pc:docMk/>
          <pc:sldMk cId="1026072536" sldId="358"/>
        </pc:sldMkLst>
      </pc:sldChg>
      <pc:sldChg chg="addSp delSp modSp mod">
        <pc:chgData name="Aryan Tah (MiddleEast)" userId="7f6066b6-35e9-4d47-9d15-8917e2720a06" providerId="ADAL" clId="{CB224072-EA94-4500-BB44-FA94C70FEF2B}" dt="2026-01-05T08:38:59.139" v="11653" actId="21"/>
        <pc:sldMkLst>
          <pc:docMk/>
          <pc:sldMk cId="319032815" sldId="360"/>
        </pc:sldMkLst>
        <pc:picChg chg="add del mod">
          <ac:chgData name="Aryan Tah (MiddleEast)" userId="7f6066b6-35e9-4d47-9d15-8917e2720a06" providerId="ADAL" clId="{CB224072-EA94-4500-BB44-FA94C70FEF2B}" dt="2026-01-05T08:38:59.139" v="11653" actId="21"/>
          <ac:picMkLst>
            <pc:docMk/>
            <pc:sldMk cId="319032815" sldId="360"/>
            <ac:picMk id="3" creationId="{2770E30C-CF5C-F39D-9E09-95B56E300E04}"/>
          </ac:picMkLst>
        </pc:picChg>
        <pc:picChg chg="add del mod">
          <ac:chgData name="Aryan Tah (MiddleEast)" userId="7f6066b6-35e9-4d47-9d15-8917e2720a06" providerId="ADAL" clId="{CB224072-EA94-4500-BB44-FA94C70FEF2B}" dt="2026-01-05T08:38:59.139" v="11653" actId="21"/>
          <ac:picMkLst>
            <pc:docMk/>
            <pc:sldMk cId="319032815" sldId="360"/>
            <ac:picMk id="5" creationId="{669E5E65-40D7-D1AC-006D-0620E22DFDCD}"/>
          </ac:picMkLst>
        </pc:picChg>
      </pc:sldChg>
      <pc:sldChg chg="delSp modSp">
        <pc:chgData name="Aryan Tah (MiddleEast)" userId="7f6066b6-35e9-4d47-9d15-8917e2720a06" providerId="ADAL" clId="{CB224072-EA94-4500-BB44-FA94C70FEF2B}" dt="2025-12-31T07:55:55.145" v="2115" actId="165"/>
        <pc:sldMkLst>
          <pc:docMk/>
          <pc:sldMk cId="2236138490" sldId="365"/>
        </pc:sldMkLst>
        <pc:spChg chg="mod topLvl">
          <ac:chgData name="Aryan Tah (MiddleEast)" userId="7f6066b6-35e9-4d47-9d15-8917e2720a06" providerId="ADAL" clId="{CB224072-EA94-4500-BB44-FA94C70FEF2B}" dt="2025-12-31T07:55:55.145" v="2115" actId="165"/>
          <ac:spMkLst>
            <pc:docMk/>
            <pc:sldMk cId="2236138490" sldId="365"/>
            <ac:spMk id="33" creationId="{EFF65675-2ADB-05D0-1A59-DE7E120E9159}"/>
          </ac:spMkLst>
        </pc:spChg>
        <pc:spChg chg="mod topLvl">
          <ac:chgData name="Aryan Tah (MiddleEast)" userId="7f6066b6-35e9-4d47-9d15-8917e2720a06" providerId="ADAL" clId="{CB224072-EA94-4500-BB44-FA94C70FEF2B}" dt="2025-12-31T07:55:55.145" v="2115" actId="165"/>
          <ac:spMkLst>
            <pc:docMk/>
            <pc:sldMk cId="2236138490" sldId="365"/>
            <ac:spMk id="35" creationId="{B3295181-4261-F95C-9AD4-323A7276F807}"/>
          </ac:spMkLst>
        </pc:spChg>
        <pc:spChg chg="mod topLvl">
          <ac:chgData name="Aryan Tah (MiddleEast)" userId="7f6066b6-35e9-4d47-9d15-8917e2720a06" providerId="ADAL" clId="{CB224072-EA94-4500-BB44-FA94C70FEF2B}" dt="2025-12-31T07:55:55.145" v="2115" actId="165"/>
          <ac:spMkLst>
            <pc:docMk/>
            <pc:sldMk cId="2236138490" sldId="365"/>
            <ac:spMk id="37" creationId="{3F7EAF68-C0EC-68C0-E1F4-53AC7F0EE918}"/>
          </ac:spMkLst>
        </pc:spChg>
        <pc:spChg chg="mod topLvl">
          <ac:chgData name="Aryan Tah (MiddleEast)" userId="7f6066b6-35e9-4d47-9d15-8917e2720a06" providerId="ADAL" clId="{CB224072-EA94-4500-BB44-FA94C70FEF2B}" dt="2025-12-31T07:55:55.145" v="2115" actId="165"/>
          <ac:spMkLst>
            <pc:docMk/>
            <pc:sldMk cId="2236138490" sldId="365"/>
            <ac:spMk id="38" creationId="{7FFEB9CE-EA1D-4B70-8065-C8B0961BD81C}"/>
          </ac:spMkLst>
        </pc:spChg>
        <pc:spChg chg="mod topLvl">
          <ac:chgData name="Aryan Tah (MiddleEast)" userId="7f6066b6-35e9-4d47-9d15-8917e2720a06" providerId="ADAL" clId="{CB224072-EA94-4500-BB44-FA94C70FEF2B}" dt="2025-12-31T07:55:55.145" v="2115" actId="165"/>
          <ac:spMkLst>
            <pc:docMk/>
            <pc:sldMk cId="2236138490" sldId="365"/>
            <ac:spMk id="39" creationId="{CD4A7161-72EA-EA92-B5B4-F00BC9FE051E}"/>
          </ac:spMkLst>
        </pc:spChg>
        <pc:spChg chg="mod topLvl">
          <ac:chgData name="Aryan Tah (MiddleEast)" userId="7f6066b6-35e9-4d47-9d15-8917e2720a06" providerId="ADAL" clId="{CB224072-EA94-4500-BB44-FA94C70FEF2B}" dt="2025-12-31T07:55:55.145" v="2115" actId="165"/>
          <ac:spMkLst>
            <pc:docMk/>
            <pc:sldMk cId="2236138490" sldId="365"/>
            <ac:spMk id="40" creationId="{A3E36DDF-6A7B-1115-B691-8C6CF7C4D1A7}"/>
          </ac:spMkLst>
        </pc:spChg>
        <pc:spChg chg="mod topLvl">
          <ac:chgData name="Aryan Tah (MiddleEast)" userId="7f6066b6-35e9-4d47-9d15-8917e2720a06" providerId="ADAL" clId="{CB224072-EA94-4500-BB44-FA94C70FEF2B}" dt="2025-12-31T07:55:55.145" v="2115" actId="165"/>
          <ac:spMkLst>
            <pc:docMk/>
            <pc:sldMk cId="2236138490" sldId="365"/>
            <ac:spMk id="41" creationId="{E49B7AAC-91E3-6C10-94F9-F88172B49652}"/>
          </ac:spMkLst>
        </pc:spChg>
        <pc:spChg chg="mod topLvl">
          <ac:chgData name="Aryan Tah (MiddleEast)" userId="7f6066b6-35e9-4d47-9d15-8917e2720a06" providerId="ADAL" clId="{CB224072-EA94-4500-BB44-FA94C70FEF2B}" dt="2025-12-31T07:55:55.145" v="2115" actId="165"/>
          <ac:spMkLst>
            <pc:docMk/>
            <pc:sldMk cId="2236138490" sldId="365"/>
            <ac:spMk id="42" creationId="{235A66E4-A719-C3B3-5DCA-B79F6BAE7D6D}"/>
          </ac:spMkLst>
        </pc:spChg>
        <pc:spChg chg="mod topLvl">
          <ac:chgData name="Aryan Tah (MiddleEast)" userId="7f6066b6-35e9-4d47-9d15-8917e2720a06" providerId="ADAL" clId="{CB224072-EA94-4500-BB44-FA94C70FEF2B}" dt="2025-12-31T07:55:55.145" v="2115" actId="165"/>
          <ac:spMkLst>
            <pc:docMk/>
            <pc:sldMk cId="2236138490" sldId="365"/>
            <ac:spMk id="43" creationId="{0B8EB239-DC61-1E97-42F6-695EFE878BFD}"/>
          </ac:spMkLst>
        </pc:spChg>
        <pc:spChg chg="mod topLvl">
          <ac:chgData name="Aryan Tah (MiddleEast)" userId="7f6066b6-35e9-4d47-9d15-8917e2720a06" providerId="ADAL" clId="{CB224072-EA94-4500-BB44-FA94C70FEF2B}" dt="2025-12-31T07:55:55.145" v="2115" actId="165"/>
          <ac:spMkLst>
            <pc:docMk/>
            <pc:sldMk cId="2236138490" sldId="365"/>
            <ac:spMk id="48" creationId="{FED1B23C-70C0-B936-238E-8E2E28F1DFEF}"/>
          </ac:spMkLst>
        </pc:spChg>
      </pc:sldChg>
      <pc:sldChg chg="addSp delSp modSp add mod modShow">
        <pc:chgData name="Aryan Tah (MiddleEast)" userId="7f6066b6-35e9-4d47-9d15-8917e2720a06" providerId="ADAL" clId="{CB224072-EA94-4500-BB44-FA94C70FEF2B}" dt="2025-12-30T16:53:17.122" v="1236"/>
        <pc:sldMkLst>
          <pc:docMk/>
          <pc:sldMk cId="357985631" sldId="389"/>
        </pc:sldMkLst>
        <pc:spChg chg="mod">
          <ac:chgData name="Aryan Tah (MiddleEast)" userId="7f6066b6-35e9-4d47-9d15-8917e2720a06" providerId="ADAL" clId="{CB224072-EA94-4500-BB44-FA94C70FEF2B}" dt="2025-12-30T16:53:17.106" v="1212" actId="948"/>
          <ac:spMkLst>
            <pc:docMk/>
            <pc:sldMk cId="357985631" sldId="389"/>
            <ac:spMk id="4" creationId="{7829579F-4C0F-69F7-DE08-032125CAC99F}"/>
          </ac:spMkLst>
        </pc:spChg>
        <pc:graphicFrameChg chg="mod">
          <ac:chgData name="Aryan Tah (MiddleEast)" userId="7f6066b6-35e9-4d47-9d15-8917e2720a06" providerId="ADAL" clId="{CB224072-EA94-4500-BB44-FA94C70FEF2B}" dt="2025-12-30T16:53:17.122" v="1236"/>
          <ac:graphicFrameMkLst>
            <pc:docMk/>
            <pc:sldMk cId="357985631" sldId="389"/>
            <ac:graphicFrameMk id="3" creationId="{22D5DB78-5D8C-EEA9-A9EA-D2398FE433DC}"/>
          </ac:graphicFrameMkLst>
        </pc:graphicFrameChg>
      </pc:sldChg>
      <pc:sldChg chg="addSp delSp modSp add del mod">
        <pc:chgData name="Aryan Tah (MiddleEast)" userId="7f6066b6-35e9-4d47-9d15-8917e2720a06" providerId="ADAL" clId="{CB224072-EA94-4500-BB44-FA94C70FEF2B}" dt="2026-01-05T09:08:53.980" v="12066" actId="47"/>
        <pc:sldMkLst>
          <pc:docMk/>
          <pc:sldMk cId="0" sldId="441"/>
        </pc:sldMkLst>
        <pc:spChg chg="add mod">
          <ac:chgData name="Aryan Tah (MiddleEast)" userId="7f6066b6-35e9-4d47-9d15-8917e2720a06" providerId="ADAL" clId="{CB224072-EA94-4500-BB44-FA94C70FEF2B}" dt="2026-01-05T09:03:42.478" v="12006" actId="571"/>
          <ac:spMkLst>
            <pc:docMk/>
            <pc:sldMk cId="0" sldId="441"/>
            <ac:spMk id="2" creationId="{86D9BFC6-2A4A-C4A6-08E8-FC1C84234162}"/>
          </ac:spMkLst>
        </pc:spChg>
        <pc:spChg chg="add mod">
          <ac:chgData name="Aryan Tah (MiddleEast)" userId="7f6066b6-35e9-4d47-9d15-8917e2720a06" providerId="ADAL" clId="{CB224072-EA94-4500-BB44-FA94C70FEF2B}" dt="2026-01-05T09:03:50.518" v="12008" actId="164"/>
          <ac:spMkLst>
            <pc:docMk/>
            <pc:sldMk cId="0" sldId="441"/>
            <ac:spMk id="3" creationId="{992FC123-5027-20D3-177D-26552CE807DD}"/>
          </ac:spMkLst>
        </pc:spChg>
        <pc:spChg chg="add mod">
          <ac:chgData name="Aryan Tah (MiddleEast)" userId="7f6066b6-35e9-4d47-9d15-8917e2720a06" providerId="ADAL" clId="{CB224072-EA94-4500-BB44-FA94C70FEF2B}" dt="2026-01-05T09:03:42.478" v="12006" actId="571"/>
          <ac:spMkLst>
            <pc:docMk/>
            <pc:sldMk cId="0" sldId="441"/>
            <ac:spMk id="4" creationId="{EC8B9580-DEF5-9FA9-199B-C4431BF1FB94}"/>
          </ac:spMkLst>
        </pc:spChg>
        <pc:spChg chg="add mod">
          <ac:chgData name="Aryan Tah (MiddleEast)" userId="7f6066b6-35e9-4d47-9d15-8917e2720a06" providerId="ADAL" clId="{CB224072-EA94-4500-BB44-FA94C70FEF2B}" dt="2026-01-05T09:03:42.478" v="12006" actId="571"/>
          <ac:spMkLst>
            <pc:docMk/>
            <pc:sldMk cId="0" sldId="441"/>
            <ac:spMk id="5" creationId="{D31981B3-AB11-3CE0-C383-547D594BABD2}"/>
          </ac:spMkLst>
        </pc:spChg>
        <pc:spChg chg="add mod">
          <ac:chgData name="Aryan Tah (MiddleEast)" userId="7f6066b6-35e9-4d47-9d15-8917e2720a06" providerId="ADAL" clId="{CB224072-EA94-4500-BB44-FA94C70FEF2B}" dt="2026-01-05T09:03:50.518" v="12008" actId="164"/>
          <ac:spMkLst>
            <pc:docMk/>
            <pc:sldMk cId="0" sldId="441"/>
            <ac:spMk id="6" creationId="{5EA11995-0214-ECCF-A4B1-13224615897C}"/>
          </ac:spMkLst>
        </pc:spChg>
        <pc:spChg chg="add mod">
          <ac:chgData name="Aryan Tah (MiddleEast)" userId="7f6066b6-35e9-4d47-9d15-8917e2720a06" providerId="ADAL" clId="{CB224072-EA94-4500-BB44-FA94C70FEF2B}" dt="2026-01-05T09:03:50.518" v="12008" actId="164"/>
          <ac:spMkLst>
            <pc:docMk/>
            <pc:sldMk cId="0" sldId="441"/>
            <ac:spMk id="7" creationId="{DA6F01E1-9895-9827-B2C3-0C0A0C8B6655}"/>
          </ac:spMkLst>
        </pc:spChg>
        <pc:spChg chg="add mod">
          <ac:chgData name="Aryan Tah (MiddleEast)" userId="7f6066b6-35e9-4d47-9d15-8917e2720a06" providerId="ADAL" clId="{CB224072-EA94-4500-BB44-FA94C70FEF2B}" dt="2026-01-05T09:03:45.831" v="12007" actId="571"/>
          <ac:spMkLst>
            <pc:docMk/>
            <pc:sldMk cId="0" sldId="441"/>
            <ac:spMk id="8" creationId="{6BE757FA-2ED4-92E5-B0D7-BC14FFDB7803}"/>
          </ac:spMkLst>
        </pc:spChg>
        <pc:spChg chg="add mod">
          <ac:chgData name="Aryan Tah (MiddleEast)" userId="7f6066b6-35e9-4d47-9d15-8917e2720a06" providerId="ADAL" clId="{CB224072-EA94-4500-BB44-FA94C70FEF2B}" dt="2026-01-05T09:03:45.831" v="12007" actId="571"/>
          <ac:spMkLst>
            <pc:docMk/>
            <pc:sldMk cId="0" sldId="441"/>
            <ac:spMk id="9" creationId="{7C26BFC7-2B9C-1ED4-230C-15398003BD79}"/>
          </ac:spMkLst>
        </pc:spChg>
        <pc:spChg chg="add mod">
          <ac:chgData name="Aryan Tah (MiddleEast)" userId="7f6066b6-35e9-4d47-9d15-8917e2720a06" providerId="ADAL" clId="{CB224072-EA94-4500-BB44-FA94C70FEF2B}" dt="2026-01-05T09:03:50.518" v="12008" actId="164"/>
          <ac:spMkLst>
            <pc:docMk/>
            <pc:sldMk cId="0" sldId="441"/>
            <ac:spMk id="10" creationId="{4EE80E36-0005-E33A-6E2C-611462D4ABE5}"/>
          </ac:spMkLst>
        </pc:spChg>
        <pc:spChg chg="add mod">
          <ac:chgData name="Aryan Tah (MiddleEast)" userId="7f6066b6-35e9-4d47-9d15-8917e2720a06" providerId="ADAL" clId="{CB224072-EA94-4500-BB44-FA94C70FEF2B}" dt="2026-01-05T09:03:50.518" v="12008" actId="164"/>
          <ac:spMkLst>
            <pc:docMk/>
            <pc:sldMk cId="0" sldId="441"/>
            <ac:spMk id="11" creationId="{D5018D5E-BAEC-AEF0-2C32-BE0D8A3C53EA}"/>
          </ac:spMkLst>
        </pc:spChg>
        <pc:spChg chg="add del mod">
          <ac:chgData name="Aryan Tah (MiddleEast)" userId="7f6066b6-35e9-4d47-9d15-8917e2720a06" providerId="ADAL" clId="{CB224072-EA94-4500-BB44-FA94C70FEF2B}" dt="2026-01-05T09:04:05.170" v="12015" actId="478"/>
          <ac:spMkLst>
            <pc:docMk/>
            <pc:sldMk cId="0" sldId="441"/>
            <ac:spMk id="13" creationId="{EC05B60C-0AF1-E56A-B65B-402BAD6FFB2B}"/>
          </ac:spMkLst>
        </pc:spChg>
        <pc:spChg chg="add mod">
          <ac:chgData name="Aryan Tah (MiddleEast)" userId="7f6066b6-35e9-4d47-9d15-8917e2720a06" providerId="ADAL" clId="{CB224072-EA94-4500-BB44-FA94C70FEF2B}" dt="2026-01-05T09:04:05.170" v="12015" actId="478"/>
          <ac:spMkLst>
            <pc:docMk/>
            <pc:sldMk cId="0" sldId="441"/>
            <ac:spMk id="15" creationId="{A1C3CF48-D668-0F4C-6D31-B62E7399E3E2}"/>
          </ac:spMkLst>
        </pc:spChg>
        <pc:spChg chg="mod">
          <ac:chgData name="Aryan Tah (MiddleEast)" userId="7f6066b6-35e9-4d47-9d15-8917e2720a06" providerId="ADAL" clId="{CB224072-EA94-4500-BB44-FA94C70FEF2B}" dt="2026-01-05T09:03:50.518" v="12008" actId="164"/>
          <ac:spMkLst>
            <pc:docMk/>
            <pc:sldMk cId="0" sldId="441"/>
            <ac:spMk id="24296" creationId="{00000000-0000-0000-0000-000000000000}"/>
          </ac:spMkLst>
        </pc:spChg>
        <pc:spChg chg="mod">
          <ac:chgData name="Aryan Tah (MiddleEast)" userId="7f6066b6-35e9-4d47-9d15-8917e2720a06" providerId="ADAL" clId="{CB224072-EA94-4500-BB44-FA94C70FEF2B}" dt="2026-01-05T09:03:50.518" v="12008" actId="164"/>
          <ac:spMkLst>
            <pc:docMk/>
            <pc:sldMk cId="0" sldId="441"/>
            <ac:spMk id="24297" creationId="{00000000-0000-0000-0000-000000000000}"/>
          </ac:spMkLst>
        </pc:spChg>
        <pc:spChg chg="mod topLvl">
          <ac:chgData name="Aryan Tah (MiddleEast)" userId="7f6066b6-35e9-4d47-9d15-8917e2720a06" providerId="ADAL" clId="{CB224072-EA94-4500-BB44-FA94C70FEF2B}" dt="2026-01-05T09:03:50.518" v="12008" actId="164"/>
          <ac:spMkLst>
            <pc:docMk/>
            <pc:sldMk cId="0" sldId="441"/>
            <ac:spMk id="24305" creationId="{00000000-0000-0000-0000-000000000000}"/>
          </ac:spMkLst>
        </pc:spChg>
        <pc:spChg chg="mod topLvl">
          <ac:chgData name="Aryan Tah (MiddleEast)" userId="7f6066b6-35e9-4d47-9d15-8917e2720a06" providerId="ADAL" clId="{CB224072-EA94-4500-BB44-FA94C70FEF2B}" dt="2026-01-05T09:03:50.518" v="12008" actId="164"/>
          <ac:spMkLst>
            <pc:docMk/>
            <pc:sldMk cId="0" sldId="441"/>
            <ac:spMk id="24306" creationId="{00000000-0000-0000-0000-000000000000}"/>
          </ac:spMkLst>
        </pc:spChg>
        <pc:spChg chg="mod">
          <ac:chgData name="Aryan Tah (MiddleEast)" userId="7f6066b6-35e9-4d47-9d15-8917e2720a06" providerId="ADAL" clId="{CB224072-EA94-4500-BB44-FA94C70FEF2B}" dt="2026-01-05T09:01:50.496" v="11987" actId="207"/>
          <ac:spMkLst>
            <pc:docMk/>
            <pc:sldMk cId="0" sldId="441"/>
            <ac:spMk id="24308" creationId="{00000000-0000-0000-0000-000000000000}"/>
          </ac:spMkLst>
        </pc:spChg>
        <pc:spChg chg="mod">
          <ac:chgData name="Aryan Tah (MiddleEast)" userId="7f6066b6-35e9-4d47-9d15-8917e2720a06" providerId="ADAL" clId="{CB224072-EA94-4500-BB44-FA94C70FEF2B}" dt="2026-01-05T09:01:50.496" v="11987" actId="207"/>
          <ac:spMkLst>
            <pc:docMk/>
            <pc:sldMk cId="0" sldId="441"/>
            <ac:spMk id="24309" creationId="{00000000-0000-0000-0000-000000000000}"/>
          </ac:spMkLst>
        </pc:spChg>
        <pc:spChg chg="mod">
          <ac:chgData name="Aryan Tah (MiddleEast)" userId="7f6066b6-35e9-4d47-9d15-8917e2720a06" providerId="ADAL" clId="{CB224072-EA94-4500-BB44-FA94C70FEF2B}" dt="2026-01-05T09:01:50.496" v="11987" actId="207"/>
          <ac:spMkLst>
            <pc:docMk/>
            <pc:sldMk cId="0" sldId="441"/>
            <ac:spMk id="24311" creationId="{00000000-0000-0000-0000-000000000000}"/>
          </ac:spMkLst>
        </pc:spChg>
        <pc:spChg chg="mod">
          <ac:chgData name="Aryan Tah (MiddleEast)" userId="7f6066b6-35e9-4d47-9d15-8917e2720a06" providerId="ADAL" clId="{CB224072-EA94-4500-BB44-FA94C70FEF2B}" dt="2026-01-05T09:01:50.496" v="11987" actId="207"/>
          <ac:spMkLst>
            <pc:docMk/>
            <pc:sldMk cId="0" sldId="441"/>
            <ac:spMk id="24312" creationId="{00000000-0000-0000-0000-000000000000}"/>
          </ac:spMkLst>
        </pc:spChg>
        <pc:spChg chg="del">
          <ac:chgData name="Aryan Tah (MiddleEast)" userId="7f6066b6-35e9-4d47-9d15-8917e2720a06" providerId="ADAL" clId="{CB224072-EA94-4500-BB44-FA94C70FEF2B}" dt="2026-01-05T09:03:28.285" v="12004" actId="478"/>
          <ac:spMkLst>
            <pc:docMk/>
            <pc:sldMk cId="0" sldId="441"/>
            <ac:spMk id="24313" creationId="{00000000-0000-0000-0000-000000000000}"/>
          </ac:spMkLst>
        </pc:spChg>
        <pc:spChg chg="mod">
          <ac:chgData name="Aryan Tah (MiddleEast)" userId="7f6066b6-35e9-4d47-9d15-8917e2720a06" providerId="ADAL" clId="{CB224072-EA94-4500-BB44-FA94C70FEF2B}" dt="2026-01-05T09:03:50.518" v="12008" actId="164"/>
          <ac:spMkLst>
            <pc:docMk/>
            <pc:sldMk cId="0" sldId="441"/>
            <ac:spMk id="24314" creationId="{00000000-0000-0000-0000-000000000000}"/>
          </ac:spMkLst>
        </pc:spChg>
        <pc:spChg chg="del">
          <ac:chgData name="Aryan Tah (MiddleEast)" userId="7f6066b6-35e9-4d47-9d15-8917e2720a06" providerId="ADAL" clId="{CB224072-EA94-4500-BB44-FA94C70FEF2B}" dt="2026-01-05T09:02:57.813" v="11999" actId="478"/>
          <ac:spMkLst>
            <pc:docMk/>
            <pc:sldMk cId="0" sldId="441"/>
            <ac:spMk id="24334" creationId="{00000000-0000-0000-0000-000000000000}"/>
          </ac:spMkLst>
        </pc:spChg>
        <pc:spChg chg="del">
          <ac:chgData name="Aryan Tah (MiddleEast)" userId="7f6066b6-35e9-4d47-9d15-8917e2720a06" providerId="ADAL" clId="{CB224072-EA94-4500-BB44-FA94C70FEF2B}" dt="2026-01-05T09:02:57.813" v="11999" actId="478"/>
          <ac:spMkLst>
            <pc:docMk/>
            <pc:sldMk cId="0" sldId="441"/>
            <ac:spMk id="24335" creationId="{00000000-0000-0000-0000-000000000000}"/>
          </ac:spMkLst>
        </pc:spChg>
        <pc:spChg chg="del">
          <ac:chgData name="Aryan Tah (MiddleEast)" userId="7f6066b6-35e9-4d47-9d15-8917e2720a06" providerId="ADAL" clId="{CB224072-EA94-4500-BB44-FA94C70FEF2B}" dt="2026-01-05T09:02:57.813" v="11999" actId="478"/>
          <ac:spMkLst>
            <pc:docMk/>
            <pc:sldMk cId="0" sldId="441"/>
            <ac:spMk id="24336" creationId="{00000000-0000-0000-0000-000000000000}"/>
          </ac:spMkLst>
        </pc:spChg>
        <pc:spChg chg="del">
          <ac:chgData name="Aryan Tah (MiddleEast)" userId="7f6066b6-35e9-4d47-9d15-8917e2720a06" providerId="ADAL" clId="{CB224072-EA94-4500-BB44-FA94C70FEF2B}" dt="2026-01-05T09:02:57.813" v="11999" actId="478"/>
          <ac:spMkLst>
            <pc:docMk/>
            <pc:sldMk cId="0" sldId="441"/>
            <ac:spMk id="24337" creationId="{00000000-0000-0000-0000-000000000000}"/>
          </ac:spMkLst>
        </pc:spChg>
        <pc:spChg chg="del">
          <ac:chgData name="Aryan Tah (MiddleEast)" userId="7f6066b6-35e9-4d47-9d15-8917e2720a06" providerId="ADAL" clId="{CB224072-EA94-4500-BB44-FA94C70FEF2B}" dt="2026-01-05T09:02:57.813" v="11999" actId="478"/>
          <ac:spMkLst>
            <pc:docMk/>
            <pc:sldMk cId="0" sldId="441"/>
            <ac:spMk id="24338" creationId="{00000000-0000-0000-0000-000000000000}"/>
          </ac:spMkLst>
        </pc:spChg>
        <pc:spChg chg="del">
          <ac:chgData name="Aryan Tah (MiddleEast)" userId="7f6066b6-35e9-4d47-9d15-8917e2720a06" providerId="ADAL" clId="{CB224072-EA94-4500-BB44-FA94C70FEF2B}" dt="2026-01-05T09:02:57.813" v="11999" actId="478"/>
          <ac:spMkLst>
            <pc:docMk/>
            <pc:sldMk cId="0" sldId="441"/>
            <ac:spMk id="24339" creationId="{00000000-0000-0000-0000-000000000000}"/>
          </ac:spMkLst>
        </pc:spChg>
        <pc:spChg chg="del">
          <ac:chgData name="Aryan Tah (MiddleEast)" userId="7f6066b6-35e9-4d47-9d15-8917e2720a06" providerId="ADAL" clId="{CB224072-EA94-4500-BB44-FA94C70FEF2B}" dt="2026-01-05T09:02:57.813" v="11999" actId="478"/>
          <ac:spMkLst>
            <pc:docMk/>
            <pc:sldMk cId="0" sldId="441"/>
            <ac:spMk id="24340" creationId="{00000000-0000-0000-0000-000000000000}"/>
          </ac:spMkLst>
        </pc:spChg>
        <pc:spChg chg="del">
          <ac:chgData name="Aryan Tah (MiddleEast)" userId="7f6066b6-35e9-4d47-9d15-8917e2720a06" providerId="ADAL" clId="{CB224072-EA94-4500-BB44-FA94C70FEF2B}" dt="2026-01-05T09:03:02.173" v="12000" actId="478"/>
          <ac:spMkLst>
            <pc:docMk/>
            <pc:sldMk cId="0" sldId="441"/>
            <ac:spMk id="24345" creationId="{00000000-0000-0000-0000-000000000000}"/>
          </ac:spMkLst>
        </pc:spChg>
        <pc:spChg chg="del">
          <ac:chgData name="Aryan Tah (MiddleEast)" userId="7f6066b6-35e9-4d47-9d15-8917e2720a06" providerId="ADAL" clId="{CB224072-EA94-4500-BB44-FA94C70FEF2B}" dt="2026-01-05T09:03:02.173" v="12000" actId="478"/>
          <ac:spMkLst>
            <pc:docMk/>
            <pc:sldMk cId="0" sldId="441"/>
            <ac:spMk id="24346" creationId="{00000000-0000-0000-0000-000000000000}"/>
          </ac:spMkLst>
        </pc:spChg>
        <pc:spChg chg="del">
          <ac:chgData name="Aryan Tah (MiddleEast)" userId="7f6066b6-35e9-4d47-9d15-8917e2720a06" providerId="ADAL" clId="{CB224072-EA94-4500-BB44-FA94C70FEF2B}" dt="2026-01-05T09:03:02.173" v="12000" actId="478"/>
          <ac:spMkLst>
            <pc:docMk/>
            <pc:sldMk cId="0" sldId="441"/>
            <ac:spMk id="24347" creationId="{00000000-0000-0000-0000-000000000000}"/>
          </ac:spMkLst>
        </pc:spChg>
        <pc:spChg chg="del">
          <ac:chgData name="Aryan Tah (MiddleEast)" userId="7f6066b6-35e9-4d47-9d15-8917e2720a06" providerId="ADAL" clId="{CB224072-EA94-4500-BB44-FA94C70FEF2B}" dt="2026-01-05T09:03:02.173" v="12000" actId="478"/>
          <ac:spMkLst>
            <pc:docMk/>
            <pc:sldMk cId="0" sldId="441"/>
            <ac:spMk id="24348" creationId="{00000000-0000-0000-0000-000000000000}"/>
          </ac:spMkLst>
        </pc:spChg>
        <pc:spChg chg="del">
          <ac:chgData name="Aryan Tah (MiddleEast)" userId="7f6066b6-35e9-4d47-9d15-8917e2720a06" providerId="ADAL" clId="{CB224072-EA94-4500-BB44-FA94C70FEF2B}" dt="2026-01-05T09:03:02.173" v="12000" actId="478"/>
          <ac:spMkLst>
            <pc:docMk/>
            <pc:sldMk cId="0" sldId="441"/>
            <ac:spMk id="24349" creationId="{00000000-0000-0000-0000-000000000000}"/>
          </ac:spMkLst>
        </pc:spChg>
        <pc:spChg chg="del">
          <ac:chgData name="Aryan Tah (MiddleEast)" userId="7f6066b6-35e9-4d47-9d15-8917e2720a06" providerId="ADAL" clId="{CB224072-EA94-4500-BB44-FA94C70FEF2B}" dt="2026-01-05T09:03:02.173" v="12000" actId="478"/>
          <ac:spMkLst>
            <pc:docMk/>
            <pc:sldMk cId="0" sldId="441"/>
            <ac:spMk id="24350" creationId="{00000000-0000-0000-0000-000000000000}"/>
          </ac:spMkLst>
        </pc:spChg>
        <pc:spChg chg="del">
          <ac:chgData name="Aryan Tah (MiddleEast)" userId="7f6066b6-35e9-4d47-9d15-8917e2720a06" providerId="ADAL" clId="{CB224072-EA94-4500-BB44-FA94C70FEF2B}" dt="2026-01-05T09:03:02.173" v="12000" actId="478"/>
          <ac:spMkLst>
            <pc:docMk/>
            <pc:sldMk cId="0" sldId="441"/>
            <ac:spMk id="24352" creationId="{00000000-0000-0000-0000-000000000000}"/>
          </ac:spMkLst>
        </pc:spChg>
        <pc:spChg chg="del">
          <ac:chgData name="Aryan Tah (MiddleEast)" userId="7f6066b6-35e9-4d47-9d15-8917e2720a06" providerId="ADAL" clId="{CB224072-EA94-4500-BB44-FA94C70FEF2B}" dt="2026-01-05T09:03:02.173" v="12000" actId="478"/>
          <ac:spMkLst>
            <pc:docMk/>
            <pc:sldMk cId="0" sldId="441"/>
            <ac:spMk id="24354" creationId="{00000000-0000-0000-0000-000000000000}"/>
          </ac:spMkLst>
        </pc:spChg>
        <pc:spChg chg="del">
          <ac:chgData name="Aryan Tah (MiddleEast)" userId="7f6066b6-35e9-4d47-9d15-8917e2720a06" providerId="ADAL" clId="{CB224072-EA94-4500-BB44-FA94C70FEF2B}" dt="2026-01-05T09:03:02.173" v="12000" actId="478"/>
          <ac:spMkLst>
            <pc:docMk/>
            <pc:sldMk cId="0" sldId="441"/>
            <ac:spMk id="24358" creationId="{00000000-0000-0000-0000-000000000000}"/>
          </ac:spMkLst>
        </pc:spChg>
        <pc:spChg chg="del">
          <ac:chgData name="Aryan Tah (MiddleEast)" userId="7f6066b6-35e9-4d47-9d15-8917e2720a06" providerId="ADAL" clId="{CB224072-EA94-4500-BB44-FA94C70FEF2B}" dt="2026-01-05T09:03:02.173" v="12000" actId="478"/>
          <ac:spMkLst>
            <pc:docMk/>
            <pc:sldMk cId="0" sldId="441"/>
            <ac:spMk id="24360" creationId="{00000000-0000-0000-0000-000000000000}"/>
          </ac:spMkLst>
        </pc:spChg>
        <pc:spChg chg="del">
          <ac:chgData name="Aryan Tah (MiddleEast)" userId="7f6066b6-35e9-4d47-9d15-8917e2720a06" providerId="ADAL" clId="{CB224072-EA94-4500-BB44-FA94C70FEF2B}" dt="2026-01-05T09:02:44.429" v="11998" actId="478"/>
          <ac:spMkLst>
            <pc:docMk/>
            <pc:sldMk cId="0" sldId="441"/>
            <ac:spMk id="24362" creationId="{00000000-0000-0000-0000-000000000000}"/>
          </ac:spMkLst>
        </pc:spChg>
        <pc:spChg chg="del">
          <ac:chgData name="Aryan Tah (MiddleEast)" userId="7f6066b6-35e9-4d47-9d15-8917e2720a06" providerId="ADAL" clId="{CB224072-EA94-4500-BB44-FA94C70FEF2B}" dt="2026-01-05T09:02:44.429" v="11998" actId="478"/>
          <ac:spMkLst>
            <pc:docMk/>
            <pc:sldMk cId="0" sldId="441"/>
            <ac:spMk id="24363" creationId="{00000000-0000-0000-0000-000000000000}"/>
          </ac:spMkLst>
        </pc:spChg>
        <pc:spChg chg="del">
          <ac:chgData name="Aryan Tah (MiddleEast)" userId="7f6066b6-35e9-4d47-9d15-8917e2720a06" providerId="ADAL" clId="{CB224072-EA94-4500-BB44-FA94C70FEF2B}" dt="2026-01-05T09:02:44.429" v="11998" actId="478"/>
          <ac:spMkLst>
            <pc:docMk/>
            <pc:sldMk cId="0" sldId="441"/>
            <ac:spMk id="24364" creationId="{00000000-0000-0000-0000-000000000000}"/>
          </ac:spMkLst>
        </pc:spChg>
        <pc:spChg chg="del">
          <ac:chgData name="Aryan Tah (MiddleEast)" userId="7f6066b6-35e9-4d47-9d15-8917e2720a06" providerId="ADAL" clId="{CB224072-EA94-4500-BB44-FA94C70FEF2B}" dt="2026-01-05T09:02:44.429" v="11998" actId="478"/>
          <ac:spMkLst>
            <pc:docMk/>
            <pc:sldMk cId="0" sldId="441"/>
            <ac:spMk id="24365" creationId="{00000000-0000-0000-0000-000000000000}"/>
          </ac:spMkLst>
        </pc:spChg>
        <pc:spChg chg="del">
          <ac:chgData name="Aryan Tah (MiddleEast)" userId="7f6066b6-35e9-4d47-9d15-8917e2720a06" providerId="ADAL" clId="{CB224072-EA94-4500-BB44-FA94C70FEF2B}" dt="2026-01-05T09:02:44.429" v="11998" actId="478"/>
          <ac:spMkLst>
            <pc:docMk/>
            <pc:sldMk cId="0" sldId="441"/>
            <ac:spMk id="24366" creationId="{00000000-0000-0000-0000-000000000000}"/>
          </ac:spMkLst>
        </pc:spChg>
        <pc:spChg chg="del">
          <ac:chgData name="Aryan Tah (MiddleEast)" userId="7f6066b6-35e9-4d47-9d15-8917e2720a06" providerId="ADAL" clId="{CB224072-EA94-4500-BB44-FA94C70FEF2B}" dt="2026-01-05T09:02:44.429" v="11998" actId="478"/>
          <ac:spMkLst>
            <pc:docMk/>
            <pc:sldMk cId="0" sldId="441"/>
            <ac:spMk id="24367" creationId="{00000000-0000-0000-0000-000000000000}"/>
          </ac:spMkLst>
        </pc:spChg>
        <pc:spChg chg="del">
          <ac:chgData name="Aryan Tah (MiddleEast)" userId="7f6066b6-35e9-4d47-9d15-8917e2720a06" providerId="ADAL" clId="{CB224072-EA94-4500-BB44-FA94C70FEF2B}" dt="2026-01-05T09:03:28.285" v="12004" actId="478"/>
          <ac:spMkLst>
            <pc:docMk/>
            <pc:sldMk cId="0" sldId="441"/>
            <ac:spMk id="24393" creationId="{00000000-0000-0000-0000-000000000000}"/>
          </ac:spMkLst>
        </pc:spChg>
        <pc:spChg chg="del">
          <ac:chgData name="Aryan Tah (MiddleEast)" userId="7f6066b6-35e9-4d47-9d15-8917e2720a06" providerId="ADAL" clId="{CB224072-EA94-4500-BB44-FA94C70FEF2B}" dt="2026-01-05T09:03:28.285" v="12004" actId="478"/>
          <ac:spMkLst>
            <pc:docMk/>
            <pc:sldMk cId="0" sldId="441"/>
            <ac:spMk id="24394" creationId="{00000000-0000-0000-0000-000000000000}"/>
          </ac:spMkLst>
        </pc:spChg>
        <pc:spChg chg="del">
          <ac:chgData name="Aryan Tah (MiddleEast)" userId="7f6066b6-35e9-4d47-9d15-8917e2720a06" providerId="ADAL" clId="{CB224072-EA94-4500-BB44-FA94C70FEF2B}" dt="2026-01-05T09:03:28.285" v="12004" actId="478"/>
          <ac:spMkLst>
            <pc:docMk/>
            <pc:sldMk cId="0" sldId="441"/>
            <ac:spMk id="24400" creationId="{00000000-0000-0000-0000-000000000000}"/>
          </ac:spMkLst>
        </pc:spChg>
        <pc:spChg chg="del">
          <ac:chgData name="Aryan Tah (MiddleEast)" userId="7f6066b6-35e9-4d47-9d15-8917e2720a06" providerId="ADAL" clId="{CB224072-EA94-4500-BB44-FA94C70FEF2B}" dt="2026-01-05T09:03:28.285" v="12004" actId="478"/>
          <ac:spMkLst>
            <pc:docMk/>
            <pc:sldMk cId="0" sldId="441"/>
            <ac:spMk id="24401" creationId="{00000000-0000-0000-0000-000000000000}"/>
          </ac:spMkLst>
        </pc:spChg>
        <pc:spChg chg="del">
          <ac:chgData name="Aryan Tah (MiddleEast)" userId="7f6066b6-35e9-4d47-9d15-8917e2720a06" providerId="ADAL" clId="{CB224072-EA94-4500-BB44-FA94C70FEF2B}" dt="2026-01-05T09:03:28.285" v="12004" actId="478"/>
          <ac:spMkLst>
            <pc:docMk/>
            <pc:sldMk cId="0" sldId="441"/>
            <ac:spMk id="24402" creationId="{00000000-0000-0000-0000-000000000000}"/>
          </ac:spMkLst>
        </pc:spChg>
        <pc:spChg chg="del">
          <ac:chgData name="Aryan Tah (MiddleEast)" userId="7f6066b6-35e9-4d47-9d15-8917e2720a06" providerId="ADAL" clId="{CB224072-EA94-4500-BB44-FA94C70FEF2B}" dt="2026-01-05T09:03:28.285" v="12004" actId="478"/>
          <ac:spMkLst>
            <pc:docMk/>
            <pc:sldMk cId="0" sldId="441"/>
            <ac:spMk id="24408" creationId="{00000000-0000-0000-0000-000000000000}"/>
          </ac:spMkLst>
        </pc:spChg>
        <pc:spChg chg="del">
          <ac:chgData name="Aryan Tah (MiddleEast)" userId="7f6066b6-35e9-4d47-9d15-8917e2720a06" providerId="ADAL" clId="{CB224072-EA94-4500-BB44-FA94C70FEF2B}" dt="2026-01-05T09:03:28.285" v="12004" actId="478"/>
          <ac:spMkLst>
            <pc:docMk/>
            <pc:sldMk cId="0" sldId="441"/>
            <ac:spMk id="24413" creationId="{00000000-0000-0000-0000-000000000000}"/>
          </ac:spMkLst>
        </pc:spChg>
        <pc:spChg chg="del">
          <ac:chgData name="Aryan Tah (MiddleEast)" userId="7f6066b6-35e9-4d47-9d15-8917e2720a06" providerId="ADAL" clId="{CB224072-EA94-4500-BB44-FA94C70FEF2B}" dt="2026-01-05T09:03:28.285" v="12004" actId="478"/>
          <ac:spMkLst>
            <pc:docMk/>
            <pc:sldMk cId="0" sldId="441"/>
            <ac:spMk id="24414" creationId="{00000000-0000-0000-0000-000000000000}"/>
          </ac:spMkLst>
        </pc:spChg>
        <pc:spChg chg="del">
          <ac:chgData name="Aryan Tah (MiddleEast)" userId="7f6066b6-35e9-4d47-9d15-8917e2720a06" providerId="ADAL" clId="{CB224072-EA94-4500-BB44-FA94C70FEF2B}" dt="2026-01-05T09:03:28.285" v="12004" actId="478"/>
          <ac:spMkLst>
            <pc:docMk/>
            <pc:sldMk cId="0" sldId="441"/>
            <ac:spMk id="24415" creationId="{00000000-0000-0000-0000-000000000000}"/>
          </ac:spMkLst>
        </pc:spChg>
        <pc:grpChg chg="mod">
          <ac:chgData name="Aryan Tah (MiddleEast)" userId="7f6066b6-35e9-4d47-9d15-8917e2720a06" providerId="ADAL" clId="{CB224072-EA94-4500-BB44-FA94C70FEF2B}" dt="2026-01-05T09:03:58.200" v="12013" actId="1076"/>
          <ac:grpSpMkLst>
            <pc:docMk/>
            <pc:sldMk cId="0" sldId="441"/>
            <ac:grpSpMk id="12" creationId="{89DCE881-40DE-1711-5CDA-0069650FB3E1}"/>
          </ac:grpSpMkLst>
        </pc:grpChg>
        <pc:grpChg chg="del mod">
          <ac:chgData name="Aryan Tah (MiddleEast)" userId="7f6066b6-35e9-4d47-9d15-8917e2720a06" providerId="ADAL" clId="{CB224072-EA94-4500-BB44-FA94C70FEF2B}" dt="2026-01-05T09:02:31.162" v="11996" actId="165"/>
          <ac:grpSpMkLst>
            <pc:docMk/>
            <pc:sldMk cId="0" sldId="441"/>
            <ac:grpSpMk id="24304" creationId="{00000000-0000-0000-0000-000000000000}"/>
          </ac:grpSpMkLst>
        </pc:grpChg>
        <pc:grpChg chg="mod">
          <ac:chgData name="Aryan Tah (MiddleEast)" userId="7f6066b6-35e9-4d47-9d15-8917e2720a06" providerId="ADAL" clId="{CB224072-EA94-4500-BB44-FA94C70FEF2B}" dt="2026-01-05T09:01:50.496" v="11987" actId="207"/>
          <ac:grpSpMkLst>
            <pc:docMk/>
            <pc:sldMk cId="0" sldId="441"/>
            <ac:grpSpMk id="24307" creationId="{00000000-0000-0000-0000-000000000000}"/>
          </ac:grpSpMkLst>
        </pc:grpChg>
        <pc:grpChg chg="mod">
          <ac:chgData name="Aryan Tah (MiddleEast)" userId="7f6066b6-35e9-4d47-9d15-8917e2720a06" providerId="ADAL" clId="{CB224072-EA94-4500-BB44-FA94C70FEF2B}" dt="2026-01-05T09:01:50.496" v="11987" actId="207"/>
          <ac:grpSpMkLst>
            <pc:docMk/>
            <pc:sldMk cId="0" sldId="441"/>
            <ac:grpSpMk id="24310" creationId="{00000000-0000-0000-0000-000000000000}"/>
          </ac:grpSpMkLst>
        </pc:grpChg>
        <pc:graphicFrameChg chg="add mod ord modVis">
          <ac:chgData name="Aryan Tah (MiddleEast)" userId="7f6066b6-35e9-4d47-9d15-8917e2720a06" providerId="ADAL" clId="{CB224072-EA94-4500-BB44-FA94C70FEF2B}" dt="2026-01-05T09:04:07.642" v="12029"/>
          <ac:graphicFrameMkLst>
            <pc:docMk/>
            <pc:sldMk cId="0" sldId="441"/>
            <ac:graphicFrameMk id="16" creationId="{1C39852A-5006-3CC0-12E4-A25680C48150}"/>
          </ac:graphicFrameMkLst>
        </pc:graphicFrameChg>
        <pc:picChg chg="del">
          <ac:chgData name="Aryan Tah (MiddleEast)" userId="7f6066b6-35e9-4d47-9d15-8917e2720a06" providerId="ADAL" clId="{CB224072-EA94-4500-BB44-FA94C70FEF2B}" dt="2026-01-05T09:02:57.813" v="11999" actId="478"/>
          <ac:picMkLst>
            <pc:docMk/>
            <pc:sldMk cId="0" sldId="441"/>
            <ac:picMk id="24341" creationId="{00000000-0000-0000-0000-000000000000}"/>
          </ac:picMkLst>
        </pc:picChg>
        <pc:picChg chg="del">
          <ac:chgData name="Aryan Tah (MiddleEast)" userId="7f6066b6-35e9-4d47-9d15-8917e2720a06" providerId="ADAL" clId="{CB224072-EA94-4500-BB44-FA94C70FEF2B}" dt="2026-01-05T09:02:44.429" v="11998" actId="478"/>
          <ac:picMkLst>
            <pc:docMk/>
            <pc:sldMk cId="0" sldId="441"/>
            <ac:picMk id="24351" creationId="{00000000-0000-0000-0000-000000000000}"/>
          </ac:picMkLst>
        </pc:picChg>
        <pc:picChg chg="del">
          <ac:chgData name="Aryan Tah (MiddleEast)" userId="7f6066b6-35e9-4d47-9d15-8917e2720a06" providerId="ADAL" clId="{CB224072-EA94-4500-BB44-FA94C70FEF2B}" dt="2026-01-05T09:02:44.429" v="11998" actId="478"/>
          <ac:picMkLst>
            <pc:docMk/>
            <pc:sldMk cId="0" sldId="441"/>
            <ac:picMk id="24353" creationId="{00000000-0000-0000-0000-000000000000}"/>
          </ac:picMkLst>
        </pc:picChg>
        <pc:picChg chg="del">
          <ac:chgData name="Aryan Tah (MiddleEast)" userId="7f6066b6-35e9-4d47-9d15-8917e2720a06" providerId="ADAL" clId="{CB224072-EA94-4500-BB44-FA94C70FEF2B}" dt="2026-01-05T09:02:44.429" v="11998" actId="478"/>
          <ac:picMkLst>
            <pc:docMk/>
            <pc:sldMk cId="0" sldId="441"/>
            <ac:picMk id="24361" creationId="{00000000-0000-0000-0000-000000000000}"/>
          </ac:picMkLst>
        </pc:picChg>
        <pc:cxnChg chg="del">
          <ac:chgData name="Aryan Tah (MiddleEast)" userId="7f6066b6-35e9-4d47-9d15-8917e2720a06" providerId="ADAL" clId="{CB224072-EA94-4500-BB44-FA94C70FEF2B}" dt="2026-01-05T09:03:06.946" v="12001" actId="478"/>
          <ac:cxnSpMkLst>
            <pc:docMk/>
            <pc:sldMk cId="0" sldId="441"/>
            <ac:cxnSpMk id="24298" creationId="{00000000-0000-0000-0000-000000000000}"/>
          </ac:cxnSpMkLst>
        </pc:cxnChg>
        <pc:cxnChg chg="del">
          <ac:chgData name="Aryan Tah (MiddleEast)" userId="7f6066b6-35e9-4d47-9d15-8917e2720a06" providerId="ADAL" clId="{CB224072-EA94-4500-BB44-FA94C70FEF2B}" dt="2026-01-05T09:03:06.946" v="12001" actId="478"/>
          <ac:cxnSpMkLst>
            <pc:docMk/>
            <pc:sldMk cId="0" sldId="441"/>
            <ac:cxnSpMk id="24299" creationId="{00000000-0000-0000-0000-000000000000}"/>
          </ac:cxnSpMkLst>
        </pc:cxnChg>
        <pc:cxnChg chg="del">
          <ac:chgData name="Aryan Tah (MiddleEast)" userId="7f6066b6-35e9-4d47-9d15-8917e2720a06" providerId="ADAL" clId="{CB224072-EA94-4500-BB44-FA94C70FEF2B}" dt="2026-01-05T09:03:06.946" v="12001" actId="478"/>
          <ac:cxnSpMkLst>
            <pc:docMk/>
            <pc:sldMk cId="0" sldId="441"/>
            <ac:cxnSpMk id="24300" creationId="{00000000-0000-0000-0000-000000000000}"/>
          </ac:cxnSpMkLst>
        </pc:cxnChg>
        <pc:cxnChg chg="del">
          <ac:chgData name="Aryan Tah (MiddleEast)" userId="7f6066b6-35e9-4d47-9d15-8917e2720a06" providerId="ADAL" clId="{CB224072-EA94-4500-BB44-FA94C70FEF2B}" dt="2026-01-05T09:03:06.946" v="12001" actId="478"/>
          <ac:cxnSpMkLst>
            <pc:docMk/>
            <pc:sldMk cId="0" sldId="441"/>
            <ac:cxnSpMk id="24301" creationId="{00000000-0000-0000-0000-000000000000}"/>
          </ac:cxnSpMkLst>
        </pc:cxnChg>
        <pc:cxnChg chg="del">
          <ac:chgData name="Aryan Tah (MiddleEast)" userId="7f6066b6-35e9-4d47-9d15-8917e2720a06" providerId="ADAL" clId="{CB224072-EA94-4500-BB44-FA94C70FEF2B}" dt="2026-01-05T09:03:06.946" v="12001" actId="478"/>
          <ac:cxnSpMkLst>
            <pc:docMk/>
            <pc:sldMk cId="0" sldId="441"/>
            <ac:cxnSpMk id="24359" creationId="{00000000-0000-0000-0000-000000000000}"/>
          </ac:cxnSpMkLst>
        </pc:cxnChg>
      </pc:sldChg>
      <pc:sldChg chg="addSp delSp modSp add mod ord modShow">
        <pc:chgData name="Aryan Tah (MiddleEast)" userId="7f6066b6-35e9-4d47-9d15-8917e2720a06" providerId="ADAL" clId="{CB224072-EA94-4500-BB44-FA94C70FEF2B}" dt="2026-01-03T21:36:03.534" v="10368"/>
        <pc:sldMkLst>
          <pc:docMk/>
          <pc:sldMk cId="1567854931" sldId="2147483646"/>
        </pc:sldMkLst>
        <pc:spChg chg="mod ord">
          <ac:chgData name="Aryan Tah (MiddleEast)" userId="7f6066b6-35e9-4d47-9d15-8917e2720a06" providerId="ADAL" clId="{CB224072-EA94-4500-BB44-FA94C70FEF2B}" dt="2026-01-03T21:36:03.505" v="10344" actId="948"/>
          <ac:spMkLst>
            <pc:docMk/>
            <pc:sldMk cId="1567854931" sldId="2147483646"/>
            <ac:spMk id="4" creationId="{4389BFFD-89A0-0107-B928-0385919A2020}"/>
          </ac:spMkLst>
        </pc:spChg>
        <pc:spChg chg="add mod ord">
          <ac:chgData name="Aryan Tah (MiddleEast)" userId="7f6066b6-35e9-4d47-9d15-8917e2720a06" providerId="ADAL" clId="{CB224072-EA94-4500-BB44-FA94C70FEF2B}" dt="2026-01-03T21:32:54.154" v="10203"/>
          <ac:spMkLst>
            <pc:docMk/>
            <pc:sldMk cId="1567854931" sldId="2147483646"/>
            <ac:spMk id="9" creationId="{6EFDD9A7-4150-F007-60E6-5E534187FE9B}"/>
          </ac:spMkLst>
        </pc:spChg>
        <pc:spChg chg="add mod ord topLvl">
          <ac:chgData name="Aryan Tah (MiddleEast)" userId="7f6066b6-35e9-4d47-9d15-8917e2720a06" providerId="ADAL" clId="{CB224072-EA94-4500-BB44-FA94C70FEF2B}" dt="2026-01-03T21:32:54.155" v="10205"/>
          <ac:spMkLst>
            <pc:docMk/>
            <pc:sldMk cId="1567854931" sldId="2147483646"/>
            <ac:spMk id="33" creationId="{69EAA001-A33C-963E-8C69-6DED31D7D997}"/>
          </ac:spMkLst>
        </pc:spChg>
        <pc:spChg chg="mod topLvl">
          <ac:chgData name="Aryan Tah (MiddleEast)" userId="7f6066b6-35e9-4d47-9d15-8917e2720a06" providerId="ADAL" clId="{CB224072-EA94-4500-BB44-FA94C70FEF2B}" dt="2026-01-03T21:32:55.419" v="10233" actId="165"/>
          <ac:spMkLst>
            <pc:docMk/>
            <pc:sldMk cId="1567854931" sldId="2147483646"/>
            <ac:spMk id="38" creationId="{B82166EE-169F-2979-BA9D-D85C01DF86AD}"/>
          </ac:spMkLst>
        </pc:spChg>
        <pc:spChg chg="mod topLvl">
          <ac:chgData name="Aryan Tah (MiddleEast)" userId="7f6066b6-35e9-4d47-9d15-8917e2720a06" providerId="ADAL" clId="{CB224072-EA94-4500-BB44-FA94C70FEF2B}" dt="2026-01-03T21:32:55.419" v="10233" actId="165"/>
          <ac:spMkLst>
            <pc:docMk/>
            <pc:sldMk cId="1567854931" sldId="2147483646"/>
            <ac:spMk id="39" creationId="{05B67241-A386-5C1C-9684-DC99DF7C463B}"/>
          </ac:spMkLst>
        </pc:spChg>
        <pc:spChg chg="mod topLvl">
          <ac:chgData name="Aryan Tah (MiddleEast)" userId="7f6066b6-35e9-4d47-9d15-8917e2720a06" providerId="ADAL" clId="{CB224072-EA94-4500-BB44-FA94C70FEF2B}" dt="2026-01-03T21:32:58.525" v="10234" actId="165"/>
          <ac:spMkLst>
            <pc:docMk/>
            <pc:sldMk cId="1567854931" sldId="2147483646"/>
            <ac:spMk id="41" creationId="{84B14826-8E74-7BB4-2D56-E0A85C3B2967}"/>
          </ac:spMkLst>
        </pc:spChg>
        <pc:spChg chg="mod topLvl">
          <ac:chgData name="Aryan Tah (MiddleEast)" userId="7f6066b6-35e9-4d47-9d15-8917e2720a06" providerId="ADAL" clId="{CB224072-EA94-4500-BB44-FA94C70FEF2B}" dt="2026-01-03T21:32:58.525" v="10234" actId="165"/>
          <ac:spMkLst>
            <pc:docMk/>
            <pc:sldMk cId="1567854931" sldId="2147483646"/>
            <ac:spMk id="42" creationId="{1E9AD120-7601-F84E-A68B-AE61874CEA20}"/>
          </ac:spMkLst>
        </pc:spChg>
        <pc:spChg chg="add mod ord">
          <ac:chgData name="Aryan Tah (MiddleEast)" userId="7f6066b6-35e9-4d47-9d15-8917e2720a06" providerId="ADAL" clId="{CB224072-EA94-4500-BB44-FA94C70FEF2B}" dt="2026-01-03T21:32:54.155" v="10207"/>
          <ac:spMkLst>
            <pc:docMk/>
            <pc:sldMk cId="1567854931" sldId="2147483646"/>
            <ac:spMk id="45" creationId="{3A1ADA6B-FD7F-62AD-03FC-41C06C48BD52}"/>
          </ac:spMkLst>
        </pc:spChg>
        <pc:spChg chg="mod">
          <ac:chgData name="Aryan Tah (MiddleEast)" userId="7f6066b6-35e9-4d47-9d15-8917e2720a06" providerId="ADAL" clId="{CB224072-EA94-4500-BB44-FA94C70FEF2B}" dt="2026-01-03T18:08:14.176" v="7781"/>
          <ac:spMkLst>
            <pc:docMk/>
            <pc:sldMk cId="1567854931" sldId="2147483646"/>
            <ac:spMk id="48" creationId="{17C6D470-D8BD-43BF-964E-92C2258F9F5E}"/>
          </ac:spMkLst>
        </pc:spChg>
        <pc:spChg chg="mod">
          <ac:chgData name="Aryan Tah (MiddleEast)" userId="7f6066b6-35e9-4d47-9d15-8917e2720a06" providerId="ADAL" clId="{CB224072-EA94-4500-BB44-FA94C70FEF2B}" dt="2026-01-03T18:08:14.176" v="7781"/>
          <ac:spMkLst>
            <pc:docMk/>
            <pc:sldMk cId="1567854931" sldId="2147483646"/>
            <ac:spMk id="49" creationId="{48BE45A5-98AF-EBED-8F4D-4C3B8514D48A}"/>
          </ac:spMkLst>
        </pc:spChg>
        <pc:spChg chg="mod">
          <ac:chgData name="Aryan Tah (MiddleEast)" userId="7f6066b6-35e9-4d47-9d15-8917e2720a06" providerId="ADAL" clId="{CB224072-EA94-4500-BB44-FA94C70FEF2B}" dt="2026-01-03T18:08:14.176" v="7781"/>
          <ac:spMkLst>
            <pc:docMk/>
            <pc:sldMk cId="1567854931" sldId="2147483646"/>
            <ac:spMk id="51" creationId="{73C90C05-823A-394D-0E20-4AE1AB8F62FC}"/>
          </ac:spMkLst>
        </pc:spChg>
        <pc:spChg chg="mod">
          <ac:chgData name="Aryan Tah (MiddleEast)" userId="7f6066b6-35e9-4d47-9d15-8917e2720a06" providerId="ADAL" clId="{CB224072-EA94-4500-BB44-FA94C70FEF2B}" dt="2026-01-03T18:08:14.176" v="7781"/>
          <ac:spMkLst>
            <pc:docMk/>
            <pc:sldMk cId="1567854931" sldId="2147483646"/>
            <ac:spMk id="52" creationId="{1F8A3D37-AF8A-4DA2-D05F-C4FBACFCBA3F}"/>
          </ac:spMkLst>
        </pc:spChg>
        <pc:spChg chg="add mod ord topLvl">
          <ac:chgData name="Aryan Tah (MiddleEast)" userId="7f6066b6-35e9-4d47-9d15-8917e2720a06" providerId="ADAL" clId="{CB224072-EA94-4500-BB44-FA94C70FEF2B}" dt="2026-01-03T21:32:54.156" v="10209"/>
          <ac:spMkLst>
            <pc:docMk/>
            <pc:sldMk cId="1567854931" sldId="2147483646"/>
            <ac:spMk id="54" creationId="{0157CF72-DAF3-4F3B-B78F-9585F8C41DE4}"/>
          </ac:spMkLst>
        </pc:spChg>
        <pc:spChg chg="mod">
          <ac:chgData name="Aryan Tah (MiddleEast)" userId="7f6066b6-35e9-4d47-9d15-8917e2720a06" providerId="ADAL" clId="{CB224072-EA94-4500-BB44-FA94C70FEF2B}" dt="2026-01-03T18:08:14.176" v="7779"/>
          <ac:spMkLst>
            <pc:docMk/>
            <pc:sldMk cId="1567854931" sldId="2147483646"/>
            <ac:spMk id="57" creationId="{6373E7A6-C9C2-F35F-64AB-EF5A307949DE}"/>
          </ac:spMkLst>
        </pc:spChg>
        <pc:spChg chg="mod">
          <ac:chgData name="Aryan Tah (MiddleEast)" userId="7f6066b6-35e9-4d47-9d15-8917e2720a06" providerId="ADAL" clId="{CB224072-EA94-4500-BB44-FA94C70FEF2B}" dt="2026-01-03T18:08:14.176" v="7779"/>
          <ac:spMkLst>
            <pc:docMk/>
            <pc:sldMk cId="1567854931" sldId="2147483646"/>
            <ac:spMk id="58" creationId="{0945C6AB-5900-6BBC-2346-B87C6EE9AC74}"/>
          </ac:spMkLst>
        </pc:spChg>
        <pc:spChg chg="mod">
          <ac:chgData name="Aryan Tah (MiddleEast)" userId="7f6066b6-35e9-4d47-9d15-8917e2720a06" providerId="ADAL" clId="{CB224072-EA94-4500-BB44-FA94C70FEF2B}" dt="2026-01-03T18:08:14.176" v="7779"/>
          <ac:spMkLst>
            <pc:docMk/>
            <pc:sldMk cId="1567854931" sldId="2147483646"/>
            <ac:spMk id="60" creationId="{D1DFFEFB-3856-AEE1-CE9C-A76508F3ED6B}"/>
          </ac:spMkLst>
        </pc:spChg>
        <pc:spChg chg="mod">
          <ac:chgData name="Aryan Tah (MiddleEast)" userId="7f6066b6-35e9-4d47-9d15-8917e2720a06" providerId="ADAL" clId="{CB224072-EA94-4500-BB44-FA94C70FEF2B}" dt="2026-01-03T18:08:14.176" v="7779"/>
          <ac:spMkLst>
            <pc:docMk/>
            <pc:sldMk cId="1567854931" sldId="2147483646"/>
            <ac:spMk id="61" creationId="{00A6D9D1-E937-9767-544D-433199AEBDBF}"/>
          </ac:spMkLst>
        </pc:spChg>
        <pc:spChg chg="add mod ord topLvl">
          <ac:chgData name="Aryan Tah (MiddleEast)" userId="7f6066b6-35e9-4d47-9d15-8917e2720a06" providerId="ADAL" clId="{CB224072-EA94-4500-BB44-FA94C70FEF2B}" dt="2026-01-03T21:32:54.157" v="10211"/>
          <ac:spMkLst>
            <pc:docMk/>
            <pc:sldMk cId="1567854931" sldId="2147483646"/>
            <ac:spMk id="63" creationId="{A6CF0F53-707F-E8BB-42AD-65448754DDE1}"/>
          </ac:spMkLst>
        </pc:spChg>
        <pc:spChg chg="mod">
          <ac:chgData name="Aryan Tah (MiddleEast)" userId="7f6066b6-35e9-4d47-9d15-8917e2720a06" providerId="ADAL" clId="{CB224072-EA94-4500-BB44-FA94C70FEF2B}" dt="2026-01-03T18:08:14.176" v="7777"/>
          <ac:spMkLst>
            <pc:docMk/>
            <pc:sldMk cId="1567854931" sldId="2147483646"/>
            <ac:spMk id="66" creationId="{BFF6C01B-BD3D-998C-B3F2-8DB71444D1E7}"/>
          </ac:spMkLst>
        </pc:spChg>
        <pc:spChg chg="mod">
          <ac:chgData name="Aryan Tah (MiddleEast)" userId="7f6066b6-35e9-4d47-9d15-8917e2720a06" providerId="ADAL" clId="{CB224072-EA94-4500-BB44-FA94C70FEF2B}" dt="2026-01-03T18:08:14.176" v="7777"/>
          <ac:spMkLst>
            <pc:docMk/>
            <pc:sldMk cId="1567854931" sldId="2147483646"/>
            <ac:spMk id="67" creationId="{810C239C-45B7-26BE-3FE5-E5612395C79E}"/>
          </ac:spMkLst>
        </pc:spChg>
        <pc:spChg chg="mod">
          <ac:chgData name="Aryan Tah (MiddleEast)" userId="7f6066b6-35e9-4d47-9d15-8917e2720a06" providerId="ADAL" clId="{CB224072-EA94-4500-BB44-FA94C70FEF2B}" dt="2026-01-03T18:08:14.176" v="7777"/>
          <ac:spMkLst>
            <pc:docMk/>
            <pc:sldMk cId="1567854931" sldId="2147483646"/>
            <ac:spMk id="69" creationId="{FA744CED-8ACE-AAB5-BBD9-8CAB6FCB6C28}"/>
          </ac:spMkLst>
        </pc:spChg>
        <pc:spChg chg="mod">
          <ac:chgData name="Aryan Tah (MiddleEast)" userId="7f6066b6-35e9-4d47-9d15-8917e2720a06" providerId="ADAL" clId="{CB224072-EA94-4500-BB44-FA94C70FEF2B}" dt="2026-01-03T18:08:14.176" v="7777"/>
          <ac:spMkLst>
            <pc:docMk/>
            <pc:sldMk cId="1567854931" sldId="2147483646"/>
            <ac:spMk id="70" creationId="{A441F69B-DD97-C5DC-135A-3D548971E398}"/>
          </ac:spMkLst>
        </pc:spChg>
        <pc:spChg chg="add mod ord topLvl">
          <ac:chgData name="Aryan Tah (MiddleEast)" userId="7f6066b6-35e9-4d47-9d15-8917e2720a06" providerId="ADAL" clId="{CB224072-EA94-4500-BB44-FA94C70FEF2B}" dt="2026-01-03T21:32:54.157" v="10213"/>
          <ac:spMkLst>
            <pc:docMk/>
            <pc:sldMk cId="1567854931" sldId="2147483646"/>
            <ac:spMk id="72" creationId="{7AB28DFA-446A-03E5-F7F7-9370CEEC5A58}"/>
          </ac:spMkLst>
        </pc:spChg>
        <pc:spChg chg="add mod ord">
          <ac:chgData name="Aryan Tah (MiddleEast)" userId="7f6066b6-35e9-4d47-9d15-8917e2720a06" providerId="ADAL" clId="{CB224072-EA94-4500-BB44-FA94C70FEF2B}" dt="2026-01-03T21:34:35.222" v="10257" actId="2085"/>
          <ac:spMkLst>
            <pc:docMk/>
            <pc:sldMk cId="1567854931" sldId="2147483646"/>
            <ac:spMk id="99" creationId="{B12918D5-66F2-8391-98DA-F97D22C86B80}"/>
          </ac:spMkLst>
        </pc:spChg>
        <pc:spChg chg="add mod ord">
          <ac:chgData name="Aryan Tah (MiddleEast)" userId="7f6066b6-35e9-4d47-9d15-8917e2720a06" providerId="ADAL" clId="{CB224072-EA94-4500-BB44-FA94C70FEF2B}" dt="2026-01-03T21:32:54.160" v="10220"/>
          <ac:spMkLst>
            <pc:docMk/>
            <pc:sldMk cId="1567854931" sldId="2147483646"/>
            <ac:spMk id="103" creationId="{A588D1D0-7166-F1FB-00D7-D5F8B8A8E772}"/>
          </ac:spMkLst>
        </pc:spChg>
        <pc:spChg chg="add mod ord">
          <ac:chgData name="Aryan Tah (MiddleEast)" userId="7f6066b6-35e9-4d47-9d15-8917e2720a06" providerId="ADAL" clId="{CB224072-EA94-4500-BB44-FA94C70FEF2B}" dt="2026-01-03T21:32:54.160" v="10222"/>
          <ac:spMkLst>
            <pc:docMk/>
            <pc:sldMk cId="1567854931" sldId="2147483646"/>
            <ac:spMk id="104" creationId="{BBAD0BDA-5373-06C8-D964-A9F239F9A77D}"/>
          </ac:spMkLst>
        </pc:spChg>
        <pc:spChg chg="add mod ord">
          <ac:chgData name="Aryan Tah (MiddleEast)" userId="7f6066b6-35e9-4d47-9d15-8917e2720a06" providerId="ADAL" clId="{CB224072-EA94-4500-BB44-FA94C70FEF2B}" dt="2026-01-03T21:32:54.161" v="10224"/>
          <ac:spMkLst>
            <pc:docMk/>
            <pc:sldMk cId="1567854931" sldId="2147483646"/>
            <ac:spMk id="105" creationId="{132E2898-AD4F-47CD-B04E-79219FDBF0D7}"/>
          </ac:spMkLst>
        </pc:spChg>
        <pc:spChg chg="add mod ord">
          <ac:chgData name="Aryan Tah (MiddleEast)" userId="7f6066b6-35e9-4d47-9d15-8917e2720a06" providerId="ADAL" clId="{CB224072-EA94-4500-BB44-FA94C70FEF2B}" dt="2026-01-03T21:32:54.161" v="10226"/>
          <ac:spMkLst>
            <pc:docMk/>
            <pc:sldMk cId="1567854931" sldId="2147483646"/>
            <ac:spMk id="106" creationId="{7802F5A8-75C8-64B5-5126-2ECB506D5C69}"/>
          </ac:spMkLst>
        </pc:spChg>
        <pc:spChg chg="add mod ord">
          <ac:chgData name="Aryan Tah (MiddleEast)" userId="7f6066b6-35e9-4d47-9d15-8917e2720a06" providerId="ADAL" clId="{CB224072-EA94-4500-BB44-FA94C70FEF2B}" dt="2026-01-03T21:32:54.162" v="10228"/>
          <ac:spMkLst>
            <pc:docMk/>
            <pc:sldMk cId="1567854931" sldId="2147483646"/>
            <ac:spMk id="107" creationId="{D1E9B424-F42F-8A81-4EFD-6C580902C058}"/>
          </ac:spMkLst>
        </pc:spChg>
        <pc:spChg chg="add mod topLvl">
          <ac:chgData name="Aryan Tah (MiddleEast)" userId="7f6066b6-35e9-4d47-9d15-8917e2720a06" providerId="ADAL" clId="{CB224072-EA94-4500-BB44-FA94C70FEF2B}" dt="2026-01-03T21:34:02.126" v="10255" actId="1035"/>
          <ac:spMkLst>
            <pc:docMk/>
            <pc:sldMk cId="1567854931" sldId="2147483646"/>
            <ac:spMk id="111" creationId="{DA867455-271A-E838-9FDC-15459637158C}"/>
          </ac:spMkLst>
        </pc:spChg>
        <pc:spChg chg="add mod">
          <ac:chgData name="Aryan Tah (MiddleEast)" userId="7f6066b6-35e9-4d47-9d15-8917e2720a06" providerId="ADAL" clId="{CB224072-EA94-4500-BB44-FA94C70FEF2B}" dt="2026-01-03T21:34:02.126" v="10255" actId="1035"/>
          <ac:spMkLst>
            <pc:docMk/>
            <pc:sldMk cId="1567854931" sldId="2147483646"/>
            <ac:spMk id="112" creationId="{EEB4E230-56C9-445C-0D0C-0E51113F52E8}"/>
          </ac:spMkLst>
        </pc:spChg>
        <pc:spChg chg="add mod">
          <ac:chgData name="Aryan Tah (MiddleEast)" userId="7f6066b6-35e9-4d47-9d15-8917e2720a06" providerId="ADAL" clId="{CB224072-EA94-4500-BB44-FA94C70FEF2B}" dt="2026-01-03T21:34:02.126" v="10255" actId="1035"/>
          <ac:spMkLst>
            <pc:docMk/>
            <pc:sldMk cId="1567854931" sldId="2147483646"/>
            <ac:spMk id="113" creationId="{75691235-48BC-F4B8-2F8F-4A46993EAD7A}"/>
          </ac:spMkLst>
        </pc:spChg>
        <pc:spChg chg="add mod">
          <ac:chgData name="Aryan Tah (MiddleEast)" userId="7f6066b6-35e9-4d47-9d15-8917e2720a06" providerId="ADAL" clId="{CB224072-EA94-4500-BB44-FA94C70FEF2B}" dt="2026-01-03T21:34:02.126" v="10255" actId="1035"/>
          <ac:spMkLst>
            <pc:docMk/>
            <pc:sldMk cId="1567854931" sldId="2147483646"/>
            <ac:spMk id="114" creationId="{33B71915-F783-CAAE-E06C-8A2912AF9980}"/>
          </ac:spMkLst>
        </pc:spChg>
        <pc:grpChg chg="add mod topLvl">
          <ac:chgData name="Aryan Tah (MiddleEast)" userId="7f6066b6-35e9-4d47-9d15-8917e2720a06" providerId="ADAL" clId="{CB224072-EA94-4500-BB44-FA94C70FEF2B}" dt="2026-01-03T18:08:14.176" v="7781"/>
          <ac:grpSpMkLst>
            <pc:docMk/>
            <pc:sldMk cId="1567854931" sldId="2147483646"/>
            <ac:grpSpMk id="46" creationId="{D035FAE3-D1FD-0BCD-117F-B6D044963D95}"/>
          </ac:grpSpMkLst>
        </pc:grpChg>
        <pc:grpChg chg="mod">
          <ac:chgData name="Aryan Tah (MiddleEast)" userId="7f6066b6-35e9-4d47-9d15-8917e2720a06" providerId="ADAL" clId="{CB224072-EA94-4500-BB44-FA94C70FEF2B}" dt="2026-01-03T18:08:14.176" v="7781"/>
          <ac:grpSpMkLst>
            <pc:docMk/>
            <pc:sldMk cId="1567854931" sldId="2147483646"/>
            <ac:grpSpMk id="47" creationId="{B56B44CB-604C-3EBA-8227-6B51137DA406}"/>
          </ac:grpSpMkLst>
        </pc:grpChg>
        <pc:grpChg chg="add mod topLvl">
          <ac:chgData name="Aryan Tah (MiddleEast)" userId="7f6066b6-35e9-4d47-9d15-8917e2720a06" providerId="ADAL" clId="{CB224072-EA94-4500-BB44-FA94C70FEF2B}" dt="2026-01-03T18:08:14.176" v="7779"/>
          <ac:grpSpMkLst>
            <pc:docMk/>
            <pc:sldMk cId="1567854931" sldId="2147483646"/>
            <ac:grpSpMk id="55" creationId="{8550E046-5553-095D-23FF-893A53C6549E}"/>
          </ac:grpSpMkLst>
        </pc:grpChg>
        <pc:grpChg chg="mod">
          <ac:chgData name="Aryan Tah (MiddleEast)" userId="7f6066b6-35e9-4d47-9d15-8917e2720a06" providerId="ADAL" clId="{CB224072-EA94-4500-BB44-FA94C70FEF2B}" dt="2026-01-03T18:08:14.176" v="7779"/>
          <ac:grpSpMkLst>
            <pc:docMk/>
            <pc:sldMk cId="1567854931" sldId="2147483646"/>
            <ac:grpSpMk id="56" creationId="{0AE9EE6E-F010-E82B-1DB9-12495F5D7259}"/>
          </ac:grpSpMkLst>
        </pc:grpChg>
        <pc:grpChg chg="add mod topLvl">
          <ac:chgData name="Aryan Tah (MiddleEast)" userId="7f6066b6-35e9-4d47-9d15-8917e2720a06" providerId="ADAL" clId="{CB224072-EA94-4500-BB44-FA94C70FEF2B}" dt="2026-01-03T18:08:14.176" v="7777"/>
          <ac:grpSpMkLst>
            <pc:docMk/>
            <pc:sldMk cId="1567854931" sldId="2147483646"/>
            <ac:grpSpMk id="64" creationId="{CA9010E2-9BD2-F95A-4DC4-14B56C906C19}"/>
          </ac:grpSpMkLst>
        </pc:grpChg>
        <pc:grpChg chg="mod">
          <ac:chgData name="Aryan Tah (MiddleEast)" userId="7f6066b6-35e9-4d47-9d15-8917e2720a06" providerId="ADAL" clId="{CB224072-EA94-4500-BB44-FA94C70FEF2B}" dt="2026-01-03T18:08:14.176" v="7777"/>
          <ac:grpSpMkLst>
            <pc:docMk/>
            <pc:sldMk cId="1567854931" sldId="2147483646"/>
            <ac:grpSpMk id="65" creationId="{986D8E21-EC6F-9F7E-32DE-CC3B23541266}"/>
          </ac:grpSpMkLst>
        </pc:grpChg>
        <pc:grpChg chg="add mod">
          <ac:chgData name="Aryan Tah (MiddleEast)" userId="7f6066b6-35e9-4d47-9d15-8917e2720a06" providerId="ADAL" clId="{CB224072-EA94-4500-BB44-FA94C70FEF2B}" dt="2026-01-03T21:32:54.158" v="10214"/>
          <ac:grpSpMkLst>
            <pc:docMk/>
            <pc:sldMk cId="1567854931" sldId="2147483646"/>
            <ac:grpSpMk id="100" creationId="{3B70F6DE-0CA6-834D-8ABB-1CAA22B9F49C}"/>
          </ac:grpSpMkLst>
        </pc:grpChg>
        <pc:grpChg chg="add mod">
          <ac:chgData name="Aryan Tah (MiddleEast)" userId="7f6066b6-35e9-4d47-9d15-8917e2720a06" providerId="ADAL" clId="{CB224072-EA94-4500-BB44-FA94C70FEF2B}" dt="2026-01-03T21:32:54.158" v="10215"/>
          <ac:grpSpMkLst>
            <pc:docMk/>
            <pc:sldMk cId="1567854931" sldId="2147483646"/>
            <ac:grpSpMk id="101" creationId="{F68A4675-23F1-89F1-BB43-AA938E41FE86}"/>
          </ac:grpSpMkLst>
        </pc:grpChg>
        <pc:grpChg chg="add mod">
          <ac:chgData name="Aryan Tah (MiddleEast)" userId="7f6066b6-35e9-4d47-9d15-8917e2720a06" providerId="ADAL" clId="{CB224072-EA94-4500-BB44-FA94C70FEF2B}" dt="2026-01-03T21:32:54.159" v="10216"/>
          <ac:grpSpMkLst>
            <pc:docMk/>
            <pc:sldMk cId="1567854931" sldId="2147483646"/>
            <ac:grpSpMk id="102" creationId="{D1037F54-05B3-DD7B-6E28-E602976DFDF3}"/>
          </ac:grpSpMkLst>
        </pc:grpChg>
        <pc:graphicFrameChg chg="mod">
          <ac:chgData name="Aryan Tah (MiddleEast)" userId="7f6066b6-35e9-4d47-9d15-8917e2720a06" providerId="ADAL" clId="{CB224072-EA94-4500-BB44-FA94C70FEF2B}" dt="2026-01-03T21:36:03.534" v="10368"/>
          <ac:graphicFrameMkLst>
            <pc:docMk/>
            <pc:sldMk cId="1567854931" sldId="2147483646"/>
            <ac:graphicFrameMk id="3" creationId="{6C60960E-736D-F6D5-48F8-9BED84BEAA45}"/>
          </ac:graphicFrameMkLst>
        </pc:graphicFrameChg>
        <pc:picChg chg="mod topLvl">
          <ac:chgData name="Aryan Tah (MiddleEast)" userId="7f6066b6-35e9-4d47-9d15-8917e2720a06" providerId="ADAL" clId="{CB224072-EA94-4500-BB44-FA94C70FEF2B}" dt="2026-01-03T21:32:55.419" v="10233" actId="165"/>
          <ac:picMkLst>
            <pc:docMk/>
            <pc:sldMk cId="1567854931" sldId="2147483646"/>
            <ac:picMk id="40" creationId="{0425BD68-255F-4302-C72E-33238E4DA30B}"/>
          </ac:picMkLst>
        </pc:picChg>
        <pc:picChg chg="add mod">
          <ac:chgData name="Aryan Tah (MiddleEast)" userId="7f6066b6-35e9-4d47-9d15-8917e2720a06" providerId="ADAL" clId="{CB224072-EA94-4500-BB44-FA94C70FEF2B}" dt="2026-01-03T18:08:14.176" v="7781"/>
          <ac:picMkLst>
            <pc:docMk/>
            <pc:sldMk cId="1567854931" sldId="2147483646"/>
            <ac:picMk id="1026" creationId="{00541A96-727F-1E77-F3E4-BB241257243D}"/>
          </ac:picMkLst>
        </pc:picChg>
        <pc:picChg chg="add mod">
          <ac:chgData name="Aryan Tah (MiddleEast)" userId="7f6066b6-35e9-4d47-9d15-8917e2720a06" providerId="ADAL" clId="{CB224072-EA94-4500-BB44-FA94C70FEF2B}" dt="2026-01-03T18:08:14.176" v="7779"/>
          <ac:picMkLst>
            <pc:docMk/>
            <pc:sldMk cId="1567854931" sldId="2147483646"/>
            <ac:picMk id="1028" creationId="{4EA39DED-2AD1-FC2A-6D6F-A3E08CC55E4F}"/>
          </ac:picMkLst>
        </pc:picChg>
        <pc:picChg chg="add mod">
          <ac:chgData name="Aryan Tah (MiddleEast)" userId="7f6066b6-35e9-4d47-9d15-8917e2720a06" providerId="ADAL" clId="{CB224072-EA94-4500-BB44-FA94C70FEF2B}" dt="2026-01-03T18:08:14.176" v="7777"/>
          <ac:picMkLst>
            <pc:docMk/>
            <pc:sldMk cId="1567854931" sldId="2147483646"/>
            <ac:picMk id="1030" creationId="{F1519790-CBD0-EE76-F5CF-AEB32B072A19}"/>
          </ac:picMkLst>
        </pc:picChg>
      </pc:sldChg>
      <pc:sldChg chg="mod ord modShow">
        <pc:chgData name="Aryan Tah (MiddleEast)" userId="7f6066b6-35e9-4d47-9d15-8917e2720a06" providerId="ADAL" clId="{CB224072-EA94-4500-BB44-FA94C70FEF2B}" dt="2025-12-31T09:27:30.734" v="4593" actId="729"/>
        <pc:sldMkLst>
          <pc:docMk/>
          <pc:sldMk cId="563237523" sldId="2147483647"/>
        </pc:sldMkLst>
      </pc:sldChg>
      <pc:sldMasterChg chg="delSldLayout">
        <pc:chgData name="Aryan Tah (MiddleEast)" userId="7f6066b6-35e9-4d47-9d15-8917e2720a06" providerId="ADAL" clId="{CB224072-EA94-4500-BB44-FA94C70FEF2B}" dt="2026-01-05T09:08:53.980" v="12066" actId="47"/>
        <pc:sldMasterMkLst>
          <pc:docMk/>
          <pc:sldMasterMk cId="28494593" sldId="2147485391"/>
        </pc:sldMasterMkLst>
        <pc:sldLayoutChg chg="del">
          <pc:chgData name="Aryan Tah (MiddleEast)" userId="7f6066b6-35e9-4d47-9d15-8917e2720a06" providerId="ADAL" clId="{CB224072-EA94-4500-BB44-FA94C70FEF2B}" dt="2026-01-05T09:08:53.980" v="12066" actId="47"/>
          <pc:sldLayoutMkLst>
            <pc:docMk/>
            <pc:sldMasterMk cId="28494593" sldId="2147485391"/>
            <pc:sldLayoutMk cId="3346320476" sldId="2147485482"/>
          </pc:sldLayoutMkLst>
        </pc:sldLayoutChg>
      </pc:sldMasterChg>
    </pc:docChg>
  </pc:docChgLst>
  <pc:docChgLst>
    <pc:chgData name="Jing Teow (MiddleEast)" userId="91952554-4437-4711-ad20-cb74acca64ec" providerId="ADAL" clId="{85BCF52B-E0D7-4C2F-9387-1132475081A9}"/>
    <pc:docChg chg="custSel addSld modSld sldOrd modSection">
      <pc:chgData name="Jing Teow (MiddleEast)" userId="91952554-4437-4711-ad20-cb74acca64ec" providerId="ADAL" clId="{85BCF52B-E0D7-4C2F-9387-1132475081A9}" dt="2026-01-04T07:47:12.513" v="1374" actId="20577"/>
      <pc:docMkLst>
        <pc:docMk/>
      </pc:docMkLst>
      <pc:sldChg chg="addSp modSp mod">
        <pc:chgData name="Jing Teow (MiddleEast)" userId="91952554-4437-4711-ad20-cb74acca64ec" providerId="ADAL" clId="{85BCF52B-E0D7-4C2F-9387-1132475081A9}" dt="2025-12-31T09:43:50.840" v="593" actId="20577"/>
        <pc:sldMkLst>
          <pc:docMk/>
          <pc:sldMk cId="2114789477" sldId="266"/>
        </pc:sldMkLst>
        <pc:spChg chg="add mod">
          <ac:chgData name="Jing Teow (MiddleEast)" userId="91952554-4437-4711-ad20-cb74acca64ec" providerId="ADAL" clId="{85BCF52B-E0D7-4C2F-9387-1132475081A9}" dt="2025-12-31T09:41:24.186" v="204" actId="20577"/>
          <ac:spMkLst>
            <pc:docMk/>
            <pc:sldMk cId="2114789477" sldId="266"/>
            <ac:spMk id="40" creationId="{38DD68A5-027C-EF03-18DA-86D8FB141C05}"/>
          </ac:spMkLst>
        </pc:spChg>
        <pc:spChg chg="add mod">
          <ac:chgData name="Jing Teow (MiddleEast)" userId="91952554-4437-4711-ad20-cb74acca64ec" providerId="ADAL" clId="{85BCF52B-E0D7-4C2F-9387-1132475081A9}" dt="2025-12-31T09:42:03.690" v="295" actId="20577"/>
          <ac:spMkLst>
            <pc:docMk/>
            <pc:sldMk cId="2114789477" sldId="266"/>
            <ac:spMk id="41" creationId="{3A8A1842-9DE1-50B2-34D3-362B8B928986}"/>
          </ac:spMkLst>
        </pc:spChg>
      </pc:sldChg>
      <pc:sldChg chg="delSp modSp mod">
        <pc:chgData name="Jing Teow (MiddleEast)" userId="91952554-4437-4711-ad20-cb74acca64ec" providerId="ADAL" clId="{85BCF52B-E0D7-4C2F-9387-1132475081A9}" dt="2025-12-31T12:04:54.564" v="928" actId="21"/>
        <pc:sldMkLst>
          <pc:docMk/>
          <pc:sldMk cId="1123256039" sldId="273"/>
        </pc:sldMkLst>
        <pc:spChg chg="mod">
          <ac:chgData name="Jing Teow (MiddleEast)" userId="91952554-4437-4711-ad20-cb74acca64ec" providerId="ADAL" clId="{85BCF52B-E0D7-4C2F-9387-1132475081A9}" dt="2025-12-31T11:20:36.659" v="603" actId="20577"/>
          <ac:spMkLst>
            <pc:docMk/>
            <pc:sldMk cId="1123256039" sldId="273"/>
            <ac:spMk id="21" creationId="{7D4141C9-4697-9114-5705-EFFF603DE1A1}"/>
          </ac:spMkLst>
        </pc:spChg>
        <pc:spChg chg="mod">
          <ac:chgData name="Jing Teow (MiddleEast)" userId="91952554-4437-4711-ad20-cb74acca64ec" providerId="ADAL" clId="{85BCF52B-E0D7-4C2F-9387-1132475081A9}" dt="2025-12-31T11:22:43.987" v="797" actId="20577"/>
          <ac:spMkLst>
            <pc:docMk/>
            <pc:sldMk cId="1123256039" sldId="273"/>
            <ac:spMk id="78" creationId="{C587244D-8DD9-DA1F-5E8D-A196718B7CFD}"/>
          </ac:spMkLst>
        </pc:spChg>
        <pc:spChg chg="mod">
          <ac:chgData name="Jing Teow (MiddleEast)" userId="91952554-4437-4711-ad20-cb74acca64ec" providerId="ADAL" clId="{85BCF52B-E0D7-4C2F-9387-1132475081A9}" dt="2025-12-31T11:19:19.408" v="602" actId="20577"/>
          <ac:spMkLst>
            <pc:docMk/>
            <pc:sldMk cId="1123256039" sldId="273"/>
            <ac:spMk id="80" creationId="{A83FBE93-8254-08C6-A70D-1B80400638E6}"/>
          </ac:spMkLst>
        </pc:spChg>
      </pc:sldChg>
      <pc:sldChg chg="addSp modSp new mod ord">
        <pc:chgData name="Jing Teow (MiddleEast)" userId="91952554-4437-4711-ad20-cb74acca64ec" providerId="ADAL" clId="{85BCF52B-E0D7-4C2F-9387-1132475081A9}" dt="2025-12-31T12:04:58.330" v="930" actId="1076"/>
        <pc:sldMkLst>
          <pc:docMk/>
          <pc:sldMk cId="3250220506" sldId="277"/>
        </pc:sldMkLst>
        <pc:spChg chg="add mod">
          <ac:chgData name="Jing Teow (MiddleEast)" userId="91952554-4437-4711-ad20-cb74acca64ec" providerId="ADAL" clId="{85BCF52B-E0D7-4C2F-9387-1132475081A9}" dt="2025-12-31T11:48:15.765" v="927" actId="20577"/>
          <ac:spMkLst>
            <pc:docMk/>
            <pc:sldMk cId="3250220506" sldId="277"/>
            <ac:spMk id="3" creationId="{BC5A8CE4-07F7-733B-6932-6E941213F16A}"/>
          </ac:spMkLst>
        </pc:spChg>
        <pc:spChg chg="add mod">
          <ac:chgData name="Jing Teow (MiddleEast)" userId="91952554-4437-4711-ad20-cb74acca64ec" providerId="ADAL" clId="{85BCF52B-E0D7-4C2F-9387-1132475081A9}" dt="2025-12-31T12:04:58.330" v="930" actId="1076"/>
          <ac:spMkLst>
            <pc:docMk/>
            <pc:sldMk cId="3250220506" sldId="277"/>
            <ac:spMk id="6" creationId="{27A5DE3B-A5B6-531F-F218-7846D03B09E3}"/>
          </ac:spMkLst>
        </pc:spChg>
        <pc:spChg chg="add mod">
          <ac:chgData name="Jing Teow (MiddleEast)" userId="91952554-4437-4711-ad20-cb74acca64ec" providerId="ADAL" clId="{85BCF52B-E0D7-4C2F-9387-1132475081A9}" dt="2025-12-31T12:04:58.330" v="930" actId="1076"/>
          <ac:spMkLst>
            <pc:docMk/>
            <pc:sldMk cId="3250220506" sldId="277"/>
            <ac:spMk id="47" creationId="{2B909A19-C94C-1B52-D082-D1D4DC5AA950}"/>
          </ac:spMkLst>
        </pc:spChg>
        <pc:spChg chg="add mod">
          <ac:chgData name="Jing Teow (MiddleEast)" userId="91952554-4437-4711-ad20-cb74acca64ec" providerId="ADAL" clId="{85BCF52B-E0D7-4C2F-9387-1132475081A9}" dt="2025-12-31T12:04:58.330" v="930" actId="1076"/>
          <ac:spMkLst>
            <pc:docMk/>
            <pc:sldMk cId="3250220506" sldId="277"/>
            <ac:spMk id="49" creationId="{8A98127A-B65F-37C0-1156-C0AD9E15899C}"/>
          </ac:spMkLst>
        </pc:spChg>
        <pc:picChg chg="add mod">
          <ac:chgData name="Jing Teow (MiddleEast)" userId="91952554-4437-4711-ad20-cb74acca64ec" providerId="ADAL" clId="{85BCF52B-E0D7-4C2F-9387-1132475081A9}" dt="2025-12-31T12:04:58.330" v="930" actId="1076"/>
          <ac:picMkLst>
            <pc:docMk/>
            <pc:sldMk cId="3250220506" sldId="277"/>
            <ac:picMk id="67" creationId="{BAA7BCE0-B8E7-244E-BC65-D68400C78D3B}"/>
          </ac:picMkLst>
        </pc:picChg>
        <pc:picChg chg="add mod">
          <ac:chgData name="Jing Teow (MiddleEast)" userId="91952554-4437-4711-ad20-cb74acca64ec" providerId="ADAL" clId="{85BCF52B-E0D7-4C2F-9387-1132475081A9}" dt="2025-12-31T12:04:58.330" v="930" actId="1076"/>
          <ac:picMkLst>
            <pc:docMk/>
            <pc:sldMk cId="3250220506" sldId="277"/>
            <ac:picMk id="69" creationId="{523A7A78-DF42-2BB3-4180-5648F15BDDEB}"/>
          </ac:picMkLst>
        </pc:picChg>
        <pc:picChg chg="add mod">
          <ac:chgData name="Jing Teow (MiddleEast)" userId="91952554-4437-4711-ad20-cb74acca64ec" providerId="ADAL" clId="{85BCF52B-E0D7-4C2F-9387-1132475081A9}" dt="2025-12-31T12:04:58.330" v="930" actId="1076"/>
          <ac:picMkLst>
            <pc:docMk/>
            <pc:sldMk cId="3250220506" sldId="277"/>
            <ac:picMk id="98" creationId="{B1C4EC55-8A0A-7724-B03A-B5137CF20307}"/>
          </ac:picMkLst>
        </pc:picChg>
      </pc:sldChg>
      <pc:sldChg chg="addSp modSp mod">
        <pc:chgData name="Jing Teow (MiddleEast)" userId="91952554-4437-4711-ad20-cb74acca64ec" providerId="ADAL" clId="{85BCF52B-E0D7-4C2F-9387-1132475081A9}" dt="2026-01-04T07:44:18.847" v="1006" actId="20577"/>
        <pc:sldMkLst>
          <pc:docMk/>
          <pc:sldMk cId="212521428" sldId="281"/>
        </pc:sldMkLst>
        <pc:spChg chg="add mod">
          <ac:chgData name="Jing Teow (MiddleEast)" userId="91952554-4437-4711-ad20-cb74acca64ec" providerId="ADAL" clId="{85BCF52B-E0D7-4C2F-9387-1132475081A9}" dt="2026-01-04T07:44:18.847" v="1006" actId="20577"/>
          <ac:spMkLst>
            <pc:docMk/>
            <pc:sldMk cId="212521428" sldId="281"/>
            <ac:spMk id="2" creationId="{A4B1A655-1B88-E83C-59BE-D873F850DE28}"/>
          </ac:spMkLst>
        </pc:spChg>
      </pc:sldChg>
      <pc:sldChg chg="addSp delSp modSp mod">
        <pc:chgData name="Jing Teow (MiddleEast)" userId="91952554-4437-4711-ad20-cb74acca64ec" providerId="ADAL" clId="{85BCF52B-E0D7-4C2F-9387-1132475081A9}" dt="2026-01-04T07:45:29.281" v="1062"/>
        <pc:sldMkLst>
          <pc:docMk/>
          <pc:sldMk cId="3693496644" sldId="283"/>
        </pc:sldMkLst>
        <pc:spChg chg="add del mod">
          <ac:chgData name="Jing Teow (MiddleEast)" userId="91952554-4437-4711-ad20-cb74acca64ec" providerId="ADAL" clId="{85BCF52B-E0D7-4C2F-9387-1132475081A9}" dt="2026-01-04T07:45:28.882" v="1061" actId="478"/>
          <ac:spMkLst>
            <pc:docMk/>
            <pc:sldMk cId="3693496644" sldId="283"/>
            <ac:spMk id="30" creationId="{8795E3C7-38B8-7B79-9B0F-0AF9A28113D3}"/>
          </ac:spMkLst>
        </pc:spChg>
        <pc:spChg chg="add mod">
          <ac:chgData name="Jing Teow (MiddleEast)" userId="91952554-4437-4711-ad20-cb74acca64ec" providerId="ADAL" clId="{85BCF52B-E0D7-4C2F-9387-1132475081A9}" dt="2026-01-04T07:45:29.281" v="1062"/>
          <ac:spMkLst>
            <pc:docMk/>
            <pc:sldMk cId="3693496644" sldId="283"/>
            <ac:spMk id="56" creationId="{F6B583F3-9486-DBB5-B3E7-F5A7768BDEEF}"/>
          </ac:spMkLst>
        </pc:spChg>
      </pc:sldChg>
      <pc:sldChg chg="addSp modSp mod">
        <pc:chgData name="Jing Teow (MiddleEast)" userId="91952554-4437-4711-ad20-cb74acca64ec" providerId="ADAL" clId="{85BCF52B-E0D7-4C2F-9387-1132475081A9}" dt="2026-01-04T07:45:09.118" v="1060" actId="20577"/>
        <pc:sldMkLst>
          <pc:docMk/>
          <pc:sldMk cId="12106807" sldId="284"/>
        </pc:sldMkLst>
        <pc:spChg chg="add mod">
          <ac:chgData name="Jing Teow (MiddleEast)" userId="91952554-4437-4711-ad20-cb74acca64ec" providerId="ADAL" clId="{85BCF52B-E0D7-4C2F-9387-1132475081A9}" dt="2026-01-04T07:44:22.824" v="1007"/>
          <ac:spMkLst>
            <pc:docMk/>
            <pc:sldMk cId="12106807" sldId="284"/>
            <ac:spMk id="2" creationId="{08EFBBA4-A36A-DF67-28C9-F988060CA4A3}"/>
          </ac:spMkLst>
        </pc:spChg>
        <pc:spChg chg="mod">
          <ac:chgData name="Jing Teow (MiddleEast)" userId="91952554-4437-4711-ad20-cb74acca64ec" providerId="ADAL" clId="{85BCF52B-E0D7-4C2F-9387-1132475081A9}" dt="2026-01-04T07:45:09.118" v="1060" actId="20577"/>
          <ac:spMkLst>
            <pc:docMk/>
            <pc:sldMk cId="12106807" sldId="284"/>
            <ac:spMk id="70" creationId="{5596ACA9-D72D-15B4-D7E5-BD18559D9733}"/>
          </ac:spMkLst>
        </pc:spChg>
      </pc:sldChg>
      <pc:sldChg chg="addSp modSp mod">
        <pc:chgData name="Jing Teow (MiddleEast)" userId="91952554-4437-4711-ad20-cb74acca64ec" providerId="ADAL" clId="{85BCF52B-E0D7-4C2F-9387-1132475081A9}" dt="2026-01-04T07:47:12.513" v="1374" actId="20577"/>
        <pc:sldMkLst>
          <pc:docMk/>
          <pc:sldMk cId="1567854931" sldId="2147483646"/>
        </pc:sldMkLst>
        <pc:spChg chg="add mod">
          <ac:chgData name="Jing Teow (MiddleEast)" userId="91952554-4437-4711-ad20-cb74acca64ec" providerId="ADAL" clId="{85BCF52B-E0D7-4C2F-9387-1132475081A9}" dt="2026-01-04T07:47:12.513" v="1374" actId="20577"/>
          <ac:spMkLst>
            <pc:docMk/>
            <pc:sldMk cId="1567854931" sldId="2147483646"/>
            <ac:spMk id="32" creationId="{EB6C3EB9-AE4F-2498-0593-27C2E3C9F86F}"/>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999999999999995E-2"/>
          <c:y val="2.8047464940668825E-2"/>
          <c:w val="0.85599999999999998"/>
          <c:h val="0.87001078748651561"/>
        </c:manualLayout>
      </c:layout>
      <c:scatterChart>
        <c:scatterStyle val="lineMarker"/>
        <c:varyColors val="0"/>
        <c:ser>
          <c:idx val="0"/>
          <c:order val="0"/>
          <c:spPr>
            <a:ln w="28575" cmpd="sng" algn="ctr">
              <a:solidFill>
                <a:schemeClr val="accent4"/>
              </a:solidFill>
              <a:prstDash val="solid"/>
            </a:ln>
          </c:spPr>
          <c:marker>
            <c:symbol val="none"/>
          </c:marker>
          <c:xVal>
            <c:numRef>
              <c:f>Sheet1!$A$1:$F$1</c:f>
              <c:numCache>
                <c:formatCode>General</c:formatCode>
                <c:ptCount val="6"/>
                <c:pt idx="0">
                  <c:v>2025</c:v>
                </c:pt>
                <c:pt idx="1">
                  <c:v>2026</c:v>
                </c:pt>
                <c:pt idx="2">
                  <c:v>2027</c:v>
                </c:pt>
                <c:pt idx="3">
                  <c:v>2028</c:v>
                </c:pt>
                <c:pt idx="4">
                  <c:v>2029</c:v>
                </c:pt>
                <c:pt idx="5">
                  <c:v>2030</c:v>
                </c:pt>
              </c:numCache>
            </c:numRef>
          </c:xVal>
          <c:yVal>
            <c:numRef>
              <c:f>Sheet1!$A$2:$F$2</c:f>
              <c:numCache>
                <c:formatCode>General</c:formatCode>
                <c:ptCount val="6"/>
                <c:pt idx="0">
                  <c:v>186.29588504245567</c:v>
                </c:pt>
                <c:pt idx="1">
                  <c:v>274.29588504245567</c:v>
                </c:pt>
                <c:pt idx="2">
                  <c:v>366.29588504245567</c:v>
                </c:pt>
                <c:pt idx="3">
                  <c:v>461.29588504245567</c:v>
                </c:pt>
                <c:pt idx="4">
                  <c:v>559.29588504245567</c:v>
                </c:pt>
                <c:pt idx="5">
                  <c:v>658.29588504245567</c:v>
                </c:pt>
              </c:numCache>
            </c:numRef>
          </c:yVal>
          <c:smooth val="0"/>
          <c:extLst>
            <c:ext xmlns:c16="http://schemas.microsoft.com/office/drawing/2014/chart" uri="{C3380CC4-5D6E-409C-BE32-E72D297353CC}">
              <c16:uniqueId val="{00000000-CA90-487C-85C6-679DDD689788}"/>
            </c:ext>
          </c:extLst>
        </c:ser>
        <c:ser>
          <c:idx val="1"/>
          <c:order val="1"/>
          <c:spPr>
            <a:ln w="28575" cmpd="sng" algn="ctr">
              <a:solidFill>
                <a:srgbClr val="1A5768"/>
              </a:solidFill>
              <a:prstDash val="solid"/>
            </a:ln>
          </c:spPr>
          <c:marker>
            <c:symbol val="none"/>
          </c:marker>
          <c:xVal>
            <c:numRef>
              <c:f>Sheet1!$A$1:$F$1</c:f>
              <c:numCache>
                <c:formatCode>General</c:formatCode>
                <c:ptCount val="6"/>
                <c:pt idx="0">
                  <c:v>2025</c:v>
                </c:pt>
                <c:pt idx="1">
                  <c:v>2026</c:v>
                </c:pt>
                <c:pt idx="2">
                  <c:v>2027</c:v>
                </c:pt>
                <c:pt idx="3">
                  <c:v>2028</c:v>
                </c:pt>
                <c:pt idx="4">
                  <c:v>2029</c:v>
                </c:pt>
                <c:pt idx="5">
                  <c:v>2030</c:v>
                </c:pt>
              </c:numCache>
            </c:numRef>
          </c:xVal>
          <c:yVal>
            <c:numRef>
              <c:f>Sheet1!$A$3:$F$3</c:f>
              <c:numCache>
                <c:formatCode>General</c:formatCode>
                <c:ptCount val="6"/>
                <c:pt idx="0">
                  <c:v>35.295885042455666</c:v>
                </c:pt>
                <c:pt idx="1">
                  <c:v>85.295885042455666</c:v>
                </c:pt>
                <c:pt idx="2">
                  <c:v>135.29588504245567</c:v>
                </c:pt>
                <c:pt idx="3">
                  <c:v>186.29588504245567</c:v>
                </c:pt>
                <c:pt idx="4">
                  <c:v>238.29588504245567</c:v>
                </c:pt>
                <c:pt idx="5">
                  <c:v>292.29588504245567</c:v>
                </c:pt>
              </c:numCache>
            </c:numRef>
          </c:yVal>
          <c:smooth val="0"/>
          <c:extLst>
            <c:ext xmlns:c16="http://schemas.microsoft.com/office/drawing/2014/chart" uri="{C3380CC4-5D6E-409C-BE32-E72D297353CC}">
              <c16:uniqueId val="{00000001-CA90-487C-85C6-679DDD689788}"/>
            </c:ext>
          </c:extLst>
        </c:ser>
        <c:dLbls>
          <c:showLegendKey val="0"/>
          <c:showVal val="0"/>
          <c:showCatName val="0"/>
          <c:showSerName val="0"/>
          <c:showPercent val="0"/>
          <c:showBubbleSize val="0"/>
        </c:dLbls>
        <c:axId val="4"/>
        <c:axId val="5"/>
      </c:scatterChart>
      <c:valAx>
        <c:axId val="4"/>
        <c:scaling>
          <c:orientation val="minMax"/>
          <c:max val="2030"/>
          <c:min val="2025"/>
        </c:scaling>
        <c:delete val="0"/>
        <c:axPos val="b"/>
        <c:majorGridlines>
          <c:spPr>
            <a:ln>
              <a:noFill/>
            </a:ln>
          </c:spPr>
        </c:majorGridlines>
        <c:numFmt formatCode="0;&quot;-&quot;0" sourceLinked="0"/>
        <c:majorTickMark val="out"/>
        <c:minorTickMark val="none"/>
        <c:tickLblPos val="nextTo"/>
        <c:spPr>
          <a:ln w="9525" cmpd="sng" algn="ctr">
            <a:solidFill>
              <a:srgbClr val="6E6F73"/>
            </a:solidFill>
            <a:prstDash val="solid"/>
          </a:ln>
        </c:spPr>
        <c:txPr>
          <a:bodyPr wrap="none"/>
          <a:lstStyle/>
          <a:p>
            <a:pPr>
              <a:defRPr sz="800" kern="1200">
                <a:solidFill>
                  <a:srgbClr val="000000"/>
                </a:solidFill>
                <a:latin typeface="+mj-lt"/>
                <a:ea typeface="+mj-ea"/>
                <a:cs typeface="+mj-cs"/>
              </a:defRPr>
            </a:pPr>
            <a:endParaRPr lang="en-US"/>
          </a:p>
        </c:txPr>
        <c:crossAx val="5"/>
        <c:crosses val="min"/>
        <c:crossBetween val="midCat"/>
        <c:majorUnit val="1"/>
      </c:valAx>
      <c:valAx>
        <c:axId val="5"/>
        <c:scaling>
          <c:orientation val="minMax"/>
          <c:max val="694.29588504245567"/>
          <c:min val="0"/>
        </c:scaling>
        <c:delete val="0"/>
        <c:axPos val="l"/>
        <c:majorGridlines>
          <c:spPr>
            <a:ln>
              <a:noFill/>
            </a:ln>
          </c:spPr>
        </c:majorGridlines>
        <c:numFmt formatCode="General" sourceLinked="1"/>
        <c:majorTickMark val="none"/>
        <c:minorTickMark val="none"/>
        <c:tickLblPos val="none"/>
        <c:spPr>
          <a:ln w="9525" cmpd="sng" algn="ctr">
            <a:solidFill>
              <a:srgbClr val="6E6F73"/>
            </a:solidFill>
            <a:prstDash val="solid"/>
          </a:ln>
        </c:spPr>
        <c:crossAx val="4"/>
        <c:crosses val="min"/>
        <c:crossBetween val="midCat"/>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999999999999995E-2"/>
          <c:y val="2.8047464940668825E-2"/>
          <c:w val="0.85599999999999998"/>
          <c:h val="0.87001078748651561"/>
        </c:manualLayout>
      </c:layout>
      <c:scatterChart>
        <c:scatterStyle val="lineMarker"/>
        <c:varyColors val="0"/>
        <c:ser>
          <c:idx val="0"/>
          <c:order val="0"/>
          <c:spPr>
            <a:ln w="28575" cmpd="sng" algn="ctr">
              <a:solidFill>
                <a:schemeClr val="accent4"/>
              </a:solidFill>
              <a:prstDash val="solid"/>
            </a:ln>
          </c:spPr>
          <c:marker>
            <c:symbol val="none"/>
          </c:marker>
          <c:xVal>
            <c:numRef>
              <c:f>Sheet1!$A$1:$F$1</c:f>
              <c:numCache>
                <c:formatCode>General</c:formatCode>
                <c:ptCount val="6"/>
                <c:pt idx="0">
                  <c:v>2025</c:v>
                </c:pt>
                <c:pt idx="1">
                  <c:v>2026</c:v>
                </c:pt>
                <c:pt idx="2">
                  <c:v>2027</c:v>
                </c:pt>
                <c:pt idx="3">
                  <c:v>2028</c:v>
                </c:pt>
                <c:pt idx="4">
                  <c:v>2029</c:v>
                </c:pt>
                <c:pt idx="5">
                  <c:v>2030</c:v>
                </c:pt>
              </c:numCache>
            </c:numRef>
          </c:xVal>
          <c:yVal>
            <c:numRef>
              <c:f>Sheet1!$A$2:$F$2</c:f>
              <c:numCache>
                <c:formatCode>General</c:formatCode>
                <c:ptCount val="6"/>
                <c:pt idx="0">
                  <c:v>31.614722403657652</c:v>
                </c:pt>
                <c:pt idx="1">
                  <c:v>83.114722403657652</c:v>
                </c:pt>
                <c:pt idx="2">
                  <c:v>134.61472240365765</c:v>
                </c:pt>
                <c:pt idx="3">
                  <c:v>187.14472240365785</c:v>
                </c:pt>
                <c:pt idx="4">
                  <c:v>240.7047224036578</c:v>
                </c:pt>
                <c:pt idx="5">
                  <c:v>296.32472240365769</c:v>
                </c:pt>
              </c:numCache>
            </c:numRef>
          </c:yVal>
          <c:smooth val="0"/>
          <c:extLst>
            <c:ext xmlns:c16="http://schemas.microsoft.com/office/drawing/2014/chart" uri="{C3380CC4-5D6E-409C-BE32-E72D297353CC}">
              <c16:uniqueId val="{00000000-6B01-4F0A-A267-7E04B73E7D7F}"/>
            </c:ext>
          </c:extLst>
        </c:ser>
        <c:ser>
          <c:idx val="1"/>
          <c:order val="1"/>
          <c:spPr>
            <a:ln w="28575" cmpd="sng" algn="ctr">
              <a:solidFill>
                <a:srgbClr val="1A5768"/>
              </a:solidFill>
              <a:prstDash val="solid"/>
            </a:ln>
          </c:spPr>
          <c:marker>
            <c:symbol val="none"/>
          </c:marker>
          <c:xVal>
            <c:numRef>
              <c:f>Sheet1!$A$1:$F$1</c:f>
              <c:numCache>
                <c:formatCode>General</c:formatCode>
                <c:ptCount val="6"/>
                <c:pt idx="0">
                  <c:v>2025</c:v>
                </c:pt>
                <c:pt idx="1">
                  <c:v>2026</c:v>
                </c:pt>
                <c:pt idx="2">
                  <c:v>2027</c:v>
                </c:pt>
                <c:pt idx="3">
                  <c:v>2028</c:v>
                </c:pt>
                <c:pt idx="4">
                  <c:v>2029</c:v>
                </c:pt>
                <c:pt idx="5">
                  <c:v>2030</c:v>
                </c:pt>
              </c:numCache>
            </c:numRef>
          </c:xVal>
          <c:yVal>
            <c:numRef>
              <c:f>Sheet1!$A$3:$F$3</c:f>
              <c:numCache>
                <c:formatCode>General</c:formatCode>
                <c:ptCount val="6"/>
                <c:pt idx="0">
                  <c:v>40.624722403657415</c:v>
                </c:pt>
                <c:pt idx="1">
                  <c:v>125.98472240365754</c:v>
                </c:pt>
                <c:pt idx="2">
                  <c:v>215.22472240365778</c:v>
                </c:pt>
                <c:pt idx="3">
                  <c:v>307.37472240365742</c:v>
                </c:pt>
                <c:pt idx="4">
                  <c:v>402.43472240365736</c:v>
                </c:pt>
                <c:pt idx="5">
                  <c:v>498.46472240365756</c:v>
                </c:pt>
              </c:numCache>
            </c:numRef>
          </c:yVal>
          <c:smooth val="0"/>
          <c:extLst>
            <c:ext xmlns:c16="http://schemas.microsoft.com/office/drawing/2014/chart" uri="{C3380CC4-5D6E-409C-BE32-E72D297353CC}">
              <c16:uniqueId val="{00000001-6B01-4F0A-A267-7E04B73E7D7F}"/>
            </c:ext>
          </c:extLst>
        </c:ser>
        <c:dLbls>
          <c:showLegendKey val="0"/>
          <c:showVal val="0"/>
          <c:showCatName val="0"/>
          <c:showSerName val="0"/>
          <c:showPercent val="0"/>
          <c:showBubbleSize val="0"/>
        </c:dLbls>
        <c:axId val="4"/>
        <c:axId val="5"/>
      </c:scatterChart>
      <c:valAx>
        <c:axId val="4"/>
        <c:scaling>
          <c:orientation val="minMax"/>
          <c:max val="2030"/>
          <c:min val="2025"/>
        </c:scaling>
        <c:delete val="0"/>
        <c:axPos val="b"/>
        <c:majorGridlines>
          <c:spPr>
            <a:ln>
              <a:noFill/>
            </a:ln>
          </c:spPr>
        </c:majorGridlines>
        <c:numFmt formatCode="0;&quot;-&quot;0" sourceLinked="0"/>
        <c:majorTickMark val="out"/>
        <c:minorTickMark val="none"/>
        <c:tickLblPos val="nextTo"/>
        <c:spPr>
          <a:ln w="9525" cmpd="sng" algn="ctr">
            <a:solidFill>
              <a:srgbClr val="6E6F73"/>
            </a:solidFill>
            <a:prstDash val="solid"/>
          </a:ln>
        </c:spPr>
        <c:txPr>
          <a:bodyPr wrap="none"/>
          <a:lstStyle/>
          <a:p>
            <a:pPr>
              <a:defRPr sz="800" kern="1200">
                <a:solidFill>
                  <a:srgbClr val="000000"/>
                </a:solidFill>
                <a:latin typeface="+mj-lt"/>
                <a:ea typeface="+mj-ea"/>
                <a:cs typeface="+mj-cs"/>
              </a:defRPr>
            </a:pPr>
            <a:endParaRPr lang="en-US"/>
          </a:p>
        </c:txPr>
        <c:crossAx val="5"/>
        <c:crosses val="min"/>
        <c:crossBetween val="midCat"/>
        <c:majorUnit val="1"/>
      </c:valAx>
      <c:valAx>
        <c:axId val="5"/>
        <c:scaling>
          <c:orientation val="minMax"/>
          <c:max val="621.88472240365763"/>
          <c:min val="0"/>
        </c:scaling>
        <c:delete val="0"/>
        <c:axPos val="l"/>
        <c:majorGridlines>
          <c:spPr>
            <a:ln>
              <a:noFill/>
            </a:ln>
          </c:spPr>
        </c:majorGridlines>
        <c:numFmt formatCode="General" sourceLinked="1"/>
        <c:majorTickMark val="none"/>
        <c:minorTickMark val="none"/>
        <c:tickLblPos val="none"/>
        <c:spPr>
          <a:ln w="9525" cmpd="sng" algn="ctr">
            <a:solidFill>
              <a:srgbClr val="6E6F73"/>
            </a:solidFill>
            <a:prstDash val="solid"/>
          </a:ln>
        </c:spPr>
        <c:crossAx val="4"/>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853211009174313E-2"/>
          <c:y val="0.23410013531799728"/>
          <c:w val="0.95229357798165137"/>
          <c:h val="0.60757780784844384"/>
        </c:manualLayout>
      </c:layout>
      <c:barChart>
        <c:barDir val="col"/>
        <c:grouping val="stacked"/>
        <c:varyColors val="0"/>
        <c:ser>
          <c:idx val="0"/>
          <c:order val="0"/>
          <c:spPr>
            <a:solidFill>
              <a:schemeClr val="tx2"/>
            </a:solidFill>
            <a:ln>
              <a:noFill/>
            </a:ln>
          </c:spPr>
          <c:invertIfNegative val="0"/>
          <c:dPt>
            <c:idx val="4"/>
            <c:invertIfNegative val="0"/>
            <c:bubble3D val="0"/>
            <c:spPr>
              <a:solidFill>
                <a:schemeClr val="accent4"/>
              </a:solidFill>
              <a:ln>
                <a:noFill/>
              </a:ln>
            </c:spPr>
            <c:extLst>
              <c:ext xmlns:c16="http://schemas.microsoft.com/office/drawing/2014/chart" uri="{C3380CC4-5D6E-409C-BE32-E72D297353CC}">
                <c16:uniqueId val="{00000000-7351-41C0-8504-1AB694243179}"/>
              </c:ext>
            </c:extLst>
          </c:dPt>
          <c:dLbls>
            <c:dLbl>
              <c:idx val="0"/>
              <c:layout>
                <c:manualLayout>
                  <c:x val="0"/>
                  <c:y val="-0.28687415426251689"/>
                </c:manualLayout>
              </c:layout>
              <c:numFmt formatCode="#,##0.0;&quot;-&quot;#,##0.0" sourceLinked="0"/>
              <c:spPr>
                <a:noFill/>
                <a:ln>
                  <a:noFill/>
                </a:ln>
              </c:spPr>
              <c:txPr>
                <a:bodyPr wrap="none"/>
                <a:lstStyle/>
                <a:p>
                  <a:pPr>
                    <a:defRPr sz="800" kern="1200">
                      <a:solidFill>
                        <a:srgbClr val="000000"/>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51-41C0-8504-1AB694243179}"/>
                </c:ext>
              </c:extLst>
            </c:dLbl>
            <c:dLbl>
              <c:idx val="1"/>
              <c:layout>
                <c:manualLayout>
                  <c:x val="0"/>
                  <c:y val="-0.35994587280108253"/>
                </c:manualLayout>
              </c:layout>
              <c:numFmt formatCode="#,##0.0;&quot;-&quot;#,##0.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51-41C0-8504-1AB694243179}"/>
                </c:ext>
              </c:extLst>
            </c:dLbl>
            <c:dLbl>
              <c:idx val="2"/>
              <c:layout>
                <c:manualLayout>
                  <c:x val="0"/>
                  <c:y val="-0.35723951285520972"/>
                </c:manualLayout>
              </c:layout>
              <c:numFmt formatCode="#,##0.0;&quot;-&quot;#,##0.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51-41C0-8504-1AB694243179}"/>
                </c:ext>
              </c:extLst>
            </c:dLbl>
            <c:dLbl>
              <c:idx val="3"/>
              <c:layout>
                <c:manualLayout>
                  <c:x val="0"/>
                  <c:y val="-0.38159675236806495"/>
                </c:manualLayout>
              </c:layout>
              <c:numFmt formatCode="#,##0.0;&quot;-&quot;#,##0.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51-41C0-8504-1AB694243179}"/>
                </c:ext>
              </c:extLst>
            </c:dLbl>
            <c:dLbl>
              <c:idx val="4"/>
              <c:layout>
                <c:manualLayout>
                  <c:x val="0"/>
                  <c:y val="-0.28687415426251689"/>
                </c:manualLayout>
              </c:layout>
              <c:numFmt formatCode="#,##0.0;&quot;-&quot;#,##0.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51-41C0-8504-1AB6942431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9.4979734745994708</c:v>
                </c:pt>
                <c:pt idx="1">
                  <c:v>12.7537454525588</c:v>
                </c:pt>
                <c:pt idx="2">
                  <c:v>12.7211755800452</c:v>
                </c:pt>
                <c:pt idx="3">
                  <c:v>13.741652709763599</c:v>
                </c:pt>
                <c:pt idx="4">
                  <c:v>9.4770040718881496</c:v>
                </c:pt>
              </c:numCache>
            </c:numRef>
          </c:val>
          <c:extLst>
            <c:ext xmlns:c16="http://schemas.microsoft.com/office/drawing/2014/chart" uri="{C3380CC4-5D6E-409C-BE32-E72D297353CC}">
              <c16:uniqueId val="{00000005-7351-41C0-8504-1AB694243179}"/>
            </c:ext>
          </c:extLst>
        </c:ser>
        <c:dLbls>
          <c:showLegendKey val="0"/>
          <c:showVal val="0"/>
          <c:showCatName val="0"/>
          <c:showSerName val="0"/>
          <c:showPercent val="0"/>
          <c:showBubbleSize val="0"/>
        </c:dLbls>
        <c:gapWidth val="80"/>
        <c:overlap val="100"/>
        <c:axId val="360414719"/>
        <c:axId val="1"/>
      </c:barChart>
      <c:catAx>
        <c:axId val="360414719"/>
        <c:scaling>
          <c:orientation val="minMax"/>
        </c:scaling>
        <c:delete val="0"/>
        <c:axPos val="b"/>
        <c:majorGridlines>
          <c:spPr>
            <a:ln>
              <a:noFill/>
            </a:ln>
          </c:spPr>
        </c:majorGridlines>
        <c:majorTickMark val="out"/>
        <c:minorTickMark val="none"/>
        <c:tickLblPos val="none"/>
        <c:spPr>
          <a:ln w="9525" cmpd="sng" algn="ctr">
            <a:solidFill>
              <a:srgbClr val="6E6F73"/>
            </a:solidFill>
            <a:prstDash val="solid"/>
          </a:ln>
        </c:spPr>
        <c:txPr>
          <a:bodyPr wrap="none"/>
          <a:lstStyle/>
          <a:p>
            <a:pPr>
              <a:defRPr sz="800" kern="1200">
                <a:latin typeface="+mj-lt"/>
                <a:ea typeface="+mj-ea"/>
                <a:cs typeface="+mj-cs"/>
              </a:defRPr>
            </a:pPr>
            <a:endParaRPr lang="en-US"/>
          </a:p>
        </c:txPr>
        <c:crossAx val="1"/>
        <c:crosses val="min"/>
        <c:auto val="0"/>
        <c:lblAlgn val="ctr"/>
        <c:lblOffset val="100"/>
        <c:noMultiLvlLbl val="0"/>
      </c:catAx>
      <c:valAx>
        <c:axId val="1"/>
        <c:scaling>
          <c:orientation val="minMax"/>
          <c:max val="13.741652709763599"/>
          <c:min val="0"/>
        </c:scaling>
        <c:delete val="1"/>
        <c:axPos val="l"/>
        <c:numFmt formatCode="General" sourceLinked="1"/>
        <c:majorTickMark val="out"/>
        <c:minorTickMark val="none"/>
        <c:tickLblPos val="nextTo"/>
        <c:crossAx val="360414719"/>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574669187145556E-2"/>
          <c:y val="0.23410013531799728"/>
          <c:w val="0.95085066162570886"/>
          <c:h val="0.60757780784844384"/>
        </c:manualLayout>
      </c:layout>
      <c:barChart>
        <c:barDir val="col"/>
        <c:grouping val="stacked"/>
        <c:varyColors val="0"/>
        <c:ser>
          <c:idx val="0"/>
          <c:order val="0"/>
          <c:spPr>
            <a:solidFill>
              <a:schemeClr val="accent4"/>
            </a:solidFill>
            <a:ln>
              <a:noFill/>
            </a:ln>
          </c:spPr>
          <c:invertIfNegative val="0"/>
          <c:dPt>
            <c:idx val="4"/>
            <c:invertIfNegative val="0"/>
            <c:bubble3D val="0"/>
            <c:spPr>
              <a:solidFill>
                <a:schemeClr val="accent6"/>
              </a:solidFill>
              <a:ln>
                <a:noFill/>
              </a:ln>
            </c:spPr>
            <c:extLst>
              <c:ext xmlns:c16="http://schemas.microsoft.com/office/drawing/2014/chart" uri="{C3380CC4-5D6E-409C-BE32-E72D297353CC}">
                <c16:uniqueId val="{00000000-63FF-4ADB-863B-FDB08B63EB17}"/>
              </c:ext>
            </c:extLst>
          </c:dPt>
          <c:dLbls>
            <c:dLbl>
              <c:idx val="0"/>
              <c:layout>
                <c:manualLayout>
                  <c:x val="0"/>
                  <c:y val="-0.34776725304465494"/>
                </c:manualLayout>
              </c:layout>
              <c:numFmt formatCode="#,##0.0;&quot;-&quot;#,##0.0" sourceLinked="0"/>
              <c:spPr>
                <a:noFill/>
                <a:ln>
                  <a:noFill/>
                </a:ln>
              </c:spPr>
              <c:txPr>
                <a:bodyPr wrap="none"/>
                <a:lstStyle/>
                <a:p>
                  <a:pPr>
                    <a:defRPr sz="800" kern="1200">
                      <a:solidFill>
                        <a:srgbClr val="000000"/>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FF-4ADB-863B-FDB08B63EB17}"/>
                </c:ext>
              </c:extLst>
            </c:dLbl>
            <c:dLbl>
              <c:idx val="1"/>
              <c:layout>
                <c:manualLayout>
                  <c:x val="0"/>
                  <c:y val="-0.38159675236806495"/>
                </c:manualLayout>
              </c:layout>
              <c:numFmt formatCode="#,##0.0;&quot;-&quot;#,##0.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FF-4ADB-863B-FDB08B63EB17}"/>
                </c:ext>
              </c:extLst>
            </c:dLbl>
            <c:dLbl>
              <c:idx val="2"/>
              <c:layout>
                <c:manualLayout>
                  <c:x val="0"/>
                  <c:y val="-0.36941813261163736"/>
                </c:manualLayout>
              </c:layout>
              <c:numFmt formatCode="#,##0.0;&quot;-&quot;#,##0.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3FF-4ADB-863B-FDB08B63EB17}"/>
                </c:ext>
              </c:extLst>
            </c:dLbl>
            <c:dLbl>
              <c:idx val="3"/>
              <c:layout>
                <c:manualLayout>
                  <c:x val="0"/>
                  <c:y val="-0.37077131258457374"/>
                </c:manualLayout>
              </c:layout>
              <c:numFmt formatCode="#,##0.0;&quot;-&quot;#,##0.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3FF-4ADB-863B-FDB08B63EB17}"/>
                </c:ext>
              </c:extLst>
            </c:dLbl>
            <c:dLbl>
              <c:idx val="4"/>
              <c:layout>
                <c:manualLayout>
                  <c:x val="0"/>
                  <c:y val="-0.34912043301759133"/>
                </c:manualLayout>
              </c:layout>
              <c:numFmt formatCode="#,##0.0;&quot;-&quot;#,##0.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3FF-4ADB-863B-FDB08B63EB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4180384023621899</c:v>
                </c:pt>
                <c:pt idx="1">
                  <c:v>4.9539492068539897</c:v>
                </c:pt>
                <c:pt idx="2">
                  <c:v>4.7697553999894602</c:v>
                </c:pt>
                <c:pt idx="3">
                  <c:v>4.8</c:v>
                </c:pt>
                <c:pt idx="4">
                  <c:v>4.4503804346636198</c:v>
                </c:pt>
              </c:numCache>
            </c:numRef>
          </c:val>
          <c:extLst>
            <c:ext xmlns:c16="http://schemas.microsoft.com/office/drawing/2014/chart" uri="{C3380CC4-5D6E-409C-BE32-E72D297353CC}">
              <c16:uniqueId val="{00000005-63FF-4ADB-863B-FDB08B63EB17}"/>
            </c:ext>
          </c:extLst>
        </c:ser>
        <c:dLbls>
          <c:showLegendKey val="0"/>
          <c:showVal val="0"/>
          <c:showCatName val="0"/>
          <c:showSerName val="0"/>
          <c:showPercent val="0"/>
          <c:showBubbleSize val="0"/>
        </c:dLbls>
        <c:gapWidth val="80"/>
        <c:overlap val="100"/>
        <c:axId val="360403199"/>
        <c:axId val="1"/>
      </c:barChart>
      <c:catAx>
        <c:axId val="360403199"/>
        <c:scaling>
          <c:orientation val="minMax"/>
        </c:scaling>
        <c:delete val="0"/>
        <c:axPos val="b"/>
        <c:majorGridlines>
          <c:spPr>
            <a:ln>
              <a:noFill/>
            </a:ln>
          </c:spPr>
        </c:majorGridlines>
        <c:majorTickMark val="out"/>
        <c:minorTickMark val="none"/>
        <c:tickLblPos val="none"/>
        <c:spPr>
          <a:ln w="9525" cmpd="sng" algn="ctr">
            <a:solidFill>
              <a:srgbClr val="6E6F73"/>
            </a:solidFill>
            <a:prstDash val="solid"/>
          </a:ln>
        </c:spPr>
        <c:txPr>
          <a:bodyPr wrap="none"/>
          <a:lstStyle/>
          <a:p>
            <a:pPr>
              <a:defRPr sz="800" kern="1200">
                <a:latin typeface="+mj-lt"/>
                <a:ea typeface="+mj-ea"/>
                <a:cs typeface="+mj-cs"/>
              </a:defRPr>
            </a:pPr>
            <a:endParaRPr lang="en-US"/>
          </a:p>
        </c:txPr>
        <c:crossAx val="1"/>
        <c:crosses val="min"/>
        <c:auto val="0"/>
        <c:lblAlgn val="ctr"/>
        <c:lblOffset val="100"/>
        <c:noMultiLvlLbl val="0"/>
      </c:catAx>
      <c:valAx>
        <c:axId val="1"/>
        <c:scaling>
          <c:orientation val="minMax"/>
          <c:max val="4.9539492068539897"/>
          <c:min val="0"/>
        </c:scaling>
        <c:delete val="1"/>
        <c:axPos val="l"/>
        <c:numFmt formatCode="General" sourceLinked="1"/>
        <c:majorTickMark val="out"/>
        <c:minorTickMark val="none"/>
        <c:tickLblPos val="nextTo"/>
        <c:crossAx val="360403199"/>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574669187145556E-2"/>
          <c:y val="0.23441734417344173"/>
          <c:w val="0.95085066162570886"/>
          <c:h val="0.60704607046070458"/>
        </c:manualLayout>
      </c:layout>
      <c:barChart>
        <c:barDir val="col"/>
        <c:grouping val="stacked"/>
        <c:varyColors val="0"/>
        <c:ser>
          <c:idx val="0"/>
          <c:order val="0"/>
          <c:spPr>
            <a:solidFill>
              <a:schemeClr val="accent5"/>
            </a:solidFill>
            <a:ln>
              <a:noFill/>
            </a:ln>
          </c:spPr>
          <c:invertIfNegative val="0"/>
          <c:dPt>
            <c:idx val="4"/>
            <c:invertIfNegative val="0"/>
            <c:bubble3D val="0"/>
            <c:spPr>
              <a:solidFill>
                <a:srgbClr val="3E3E3E"/>
              </a:solidFill>
              <a:ln>
                <a:noFill/>
              </a:ln>
            </c:spPr>
            <c:extLst>
              <c:ext xmlns:c16="http://schemas.microsoft.com/office/drawing/2014/chart" uri="{C3380CC4-5D6E-409C-BE32-E72D297353CC}">
                <c16:uniqueId val="{00000000-8729-4F16-AFE2-596F60C4667A}"/>
              </c:ext>
            </c:extLst>
          </c:dPt>
          <c:dLbls>
            <c:dLbl>
              <c:idx val="0"/>
              <c:layout>
                <c:manualLayout>
                  <c:x val="0"/>
                  <c:y val="-0.29403794037940378"/>
                </c:manualLayout>
              </c:layout>
              <c:numFmt formatCode="#,##0.0&quot;%&quot;;&quot;-&quot;#,##0.0&quot;%&quot;" sourceLinked="0"/>
              <c:spPr>
                <a:noFill/>
                <a:ln>
                  <a:noFill/>
                </a:ln>
              </c:spPr>
              <c:txPr>
                <a:bodyPr wrap="none"/>
                <a:lstStyle/>
                <a:p>
                  <a:pPr>
                    <a:defRPr sz="800" kern="1200">
                      <a:solidFill>
                        <a:srgbClr val="000000"/>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29-4F16-AFE2-596F60C4667A}"/>
                </c:ext>
              </c:extLst>
            </c:dLbl>
            <c:dLbl>
              <c:idx val="1"/>
              <c:layout>
                <c:manualLayout>
                  <c:x val="0"/>
                  <c:y val="-0.31300813008130079"/>
                </c:manualLayout>
              </c:layout>
              <c:numFmt formatCode="#,##0.0&quot;%&quot;;&quot;-&quot;#,##0.0&quot;%&quot;" sourceLinked="0"/>
              <c:spPr>
                <a:noFill/>
                <a:ln>
                  <a:noFill/>
                </a:ln>
              </c:spPr>
              <c:txPr>
                <a:bodyPr wrap="none"/>
                <a:lstStyle/>
                <a:p>
                  <a:pPr>
                    <a:defRPr sz="800" kern="1200">
                      <a:solidFill>
                        <a:srgbClr val="000000"/>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729-4F16-AFE2-596F60C4667A}"/>
                </c:ext>
              </c:extLst>
            </c:dLbl>
            <c:dLbl>
              <c:idx val="2"/>
              <c:layout>
                <c:manualLayout>
                  <c:x val="0"/>
                  <c:y val="-0.35365853658536583"/>
                </c:manualLayout>
              </c:layout>
              <c:numFmt formatCode="#,##0.0&quot;%&quot;;&quot;-&quot;#,##0.0&quot;%&quot;" sourceLinked="0"/>
              <c:spPr>
                <a:noFill/>
                <a:ln>
                  <a:noFill/>
                </a:ln>
              </c:spPr>
              <c:txPr>
                <a:bodyPr wrap="none"/>
                <a:lstStyle/>
                <a:p>
                  <a:pPr>
                    <a:defRPr sz="800" kern="1200">
                      <a:solidFill>
                        <a:srgbClr val="000000"/>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729-4F16-AFE2-596F60C4667A}"/>
                </c:ext>
              </c:extLst>
            </c:dLbl>
            <c:dLbl>
              <c:idx val="3"/>
              <c:layout>
                <c:manualLayout>
                  <c:x val="0"/>
                  <c:y val="-0.37533875338753386"/>
                </c:manualLayout>
              </c:layout>
              <c:numFmt formatCode="#,##0.0&quot;%&quot;;&quot;-&quot;#,##0.0&quot;%&quot;" sourceLinked="0"/>
              <c:spPr>
                <a:noFill/>
                <a:ln>
                  <a:noFill/>
                </a:ln>
              </c:spPr>
              <c:txPr>
                <a:bodyPr wrap="none"/>
                <a:lstStyle/>
                <a:p>
                  <a:pPr>
                    <a:defRPr sz="800" kern="1200">
                      <a:solidFill>
                        <a:srgbClr val="000000"/>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729-4F16-AFE2-596F60C4667A}"/>
                </c:ext>
              </c:extLst>
            </c:dLbl>
            <c:dLbl>
              <c:idx val="4"/>
              <c:layout>
                <c:manualLayout>
                  <c:x val="0"/>
                  <c:y val="-0.3807588075880759"/>
                </c:manualLayout>
              </c:layout>
              <c:numFmt formatCode="#,##0.0&quot;%&quot;;&quot;-&quot;#,##0.0&quot;%&quot;"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29-4F16-AFE2-596F60C466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8</c:v>
                </c:pt>
                <c:pt idx="1">
                  <c:v>41.5</c:v>
                </c:pt>
                <c:pt idx="2">
                  <c:v>48.7</c:v>
                </c:pt>
                <c:pt idx="3">
                  <c:v>52.5</c:v>
                </c:pt>
                <c:pt idx="4">
                  <c:v>53.5</c:v>
                </c:pt>
              </c:numCache>
            </c:numRef>
          </c:val>
          <c:extLst>
            <c:ext xmlns:c16="http://schemas.microsoft.com/office/drawing/2014/chart" uri="{C3380CC4-5D6E-409C-BE32-E72D297353CC}">
              <c16:uniqueId val="{00000005-8729-4F16-AFE2-596F60C4667A}"/>
            </c:ext>
          </c:extLst>
        </c:ser>
        <c:dLbls>
          <c:showLegendKey val="0"/>
          <c:showVal val="0"/>
          <c:showCatName val="0"/>
          <c:showSerName val="0"/>
          <c:showPercent val="0"/>
          <c:showBubbleSize val="0"/>
        </c:dLbls>
        <c:gapWidth val="80"/>
        <c:overlap val="100"/>
        <c:axId val="360422879"/>
        <c:axId val="1"/>
      </c:barChart>
      <c:catAx>
        <c:axId val="360422879"/>
        <c:scaling>
          <c:orientation val="minMax"/>
        </c:scaling>
        <c:delete val="0"/>
        <c:axPos val="b"/>
        <c:majorGridlines>
          <c:spPr>
            <a:ln>
              <a:noFill/>
            </a:ln>
          </c:spPr>
        </c:majorGridlines>
        <c:majorTickMark val="out"/>
        <c:minorTickMark val="none"/>
        <c:tickLblPos val="none"/>
        <c:spPr>
          <a:ln w="9525" cmpd="sng" algn="ctr">
            <a:solidFill>
              <a:srgbClr val="6E6F73"/>
            </a:solidFill>
            <a:prstDash val="solid"/>
          </a:ln>
        </c:spPr>
        <c:txPr>
          <a:bodyPr wrap="none"/>
          <a:lstStyle/>
          <a:p>
            <a:pPr>
              <a:defRPr sz="800" kern="1200">
                <a:latin typeface="+mj-lt"/>
                <a:ea typeface="+mj-ea"/>
                <a:cs typeface="+mj-cs"/>
              </a:defRPr>
            </a:pPr>
            <a:endParaRPr lang="en-US"/>
          </a:p>
        </c:txPr>
        <c:crossAx val="1"/>
        <c:crosses val="min"/>
        <c:auto val="0"/>
        <c:lblAlgn val="ctr"/>
        <c:lblOffset val="100"/>
        <c:noMultiLvlLbl val="0"/>
      </c:catAx>
      <c:valAx>
        <c:axId val="1"/>
        <c:scaling>
          <c:orientation val="minMax"/>
          <c:max val="53.5"/>
          <c:min val="0"/>
        </c:scaling>
        <c:delete val="1"/>
        <c:axPos val="l"/>
        <c:numFmt formatCode="General" sourceLinked="1"/>
        <c:majorTickMark val="out"/>
        <c:minorTickMark val="none"/>
        <c:tickLblPos val="nextTo"/>
        <c:crossAx val="36042287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853211009174313E-2"/>
          <c:y val="0.23441734417344173"/>
          <c:w val="0.95229357798165137"/>
          <c:h val="0.60704607046070458"/>
        </c:manualLayout>
      </c:layout>
      <c:barChart>
        <c:barDir val="col"/>
        <c:grouping val="stacked"/>
        <c:varyColors val="0"/>
        <c:ser>
          <c:idx val="0"/>
          <c:order val="0"/>
          <c:spPr>
            <a:solidFill>
              <a:schemeClr val="accent3"/>
            </a:solidFill>
            <a:ln>
              <a:noFill/>
            </a:ln>
          </c:spPr>
          <c:invertIfNegative val="0"/>
          <c:dPt>
            <c:idx val="4"/>
            <c:invertIfNegative val="0"/>
            <c:bubble3D val="0"/>
            <c:spPr>
              <a:solidFill>
                <a:srgbClr val="7EA134"/>
              </a:solidFill>
              <a:ln>
                <a:noFill/>
              </a:ln>
            </c:spPr>
            <c:extLst>
              <c:ext xmlns:c16="http://schemas.microsoft.com/office/drawing/2014/chart" uri="{C3380CC4-5D6E-409C-BE32-E72D297353CC}">
                <c16:uniqueId val="{00000000-37CD-42F5-AEB4-4292157AEEFE}"/>
              </c:ext>
            </c:extLst>
          </c:dPt>
          <c:dLbls>
            <c:dLbl>
              <c:idx val="0"/>
              <c:layout>
                <c:manualLayout>
                  <c:x val="0"/>
                  <c:y val="-0.29945799457994582"/>
                </c:manualLayout>
              </c:layout>
              <c:numFmt formatCode="#,##0.0&quot;%&quot;;&quot;-&quot;#,##0.0&quot;%&quot;" sourceLinked="0"/>
              <c:spPr>
                <a:noFill/>
                <a:ln>
                  <a:noFill/>
                </a:ln>
              </c:spPr>
              <c:txPr>
                <a:bodyPr wrap="none"/>
                <a:lstStyle/>
                <a:p>
                  <a:pPr>
                    <a:defRPr sz="800" kern="1200">
                      <a:solidFill>
                        <a:srgbClr val="000000"/>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CD-42F5-AEB4-4292157AEEFE}"/>
                </c:ext>
              </c:extLst>
            </c:dLbl>
            <c:dLbl>
              <c:idx val="1"/>
              <c:layout>
                <c:manualLayout>
                  <c:x val="0"/>
                  <c:y val="-0.30758807588075882"/>
                </c:manualLayout>
              </c:layout>
              <c:numFmt formatCode="#,##0.0&quot;%&quot;;&quot;-&quot;#,##0.0&quot;%&quot;"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CD-42F5-AEB4-4292157AEEFE}"/>
                </c:ext>
              </c:extLst>
            </c:dLbl>
            <c:dLbl>
              <c:idx val="2"/>
              <c:layout>
                <c:manualLayout>
                  <c:x val="0"/>
                  <c:y val="-0.34552845528455284"/>
                </c:manualLayout>
              </c:layout>
              <c:numFmt formatCode="#,##0.0&quot;%&quot;;&quot;-&quot;#,##0.0&quot;%&quot;"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CD-42F5-AEB4-4292157AEEFE}"/>
                </c:ext>
              </c:extLst>
            </c:dLbl>
            <c:dLbl>
              <c:idx val="3"/>
              <c:layout>
                <c:manualLayout>
                  <c:x val="0"/>
                  <c:y val="-0.3807588075880759"/>
                </c:manualLayout>
              </c:layout>
              <c:numFmt formatCode="#,##0.0&quot;%&quot;;&quot;-&quot;#,##0.0&quot;%&quot;"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CD-42F5-AEB4-4292157AEEFE}"/>
                </c:ext>
              </c:extLst>
            </c:dLbl>
            <c:dLbl>
              <c:idx val="4"/>
              <c:layout>
                <c:manualLayout>
                  <c:x val="0"/>
                  <c:y val="-0.37804878048780488"/>
                </c:manualLayout>
              </c:layout>
              <c:numFmt formatCode="#,##0.0&quot;%&quot;;&quot;-&quot;#,##0.0&quot;%&quot;"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CD-42F5-AEB4-4292157AEE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1.3</c:v>
                </c:pt>
                <c:pt idx="1">
                  <c:v>11.7</c:v>
                </c:pt>
                <c:pt idx="2">
                  <c:v>13.7</c:v>
                </c:pt>
                <c:pt idx="3">
                  <c:v>15.5</c:v>
                </c:pt>
                <c:pt idx="4">
                  <c:v>15.3</c:v>
                </c:pt>
              </c:numCache>
            </c:numRef>
          </c:val>
          <c:extLst>
            <c:ext xmlns:c16="http://schemas.microsoft.com/office/drawing/2014/chart" uri="{C3380CC4-5D6E-409C-BE32-E72D297353CC}">
              <c16:uniqueId val="{00000005-37CD-42F5-AEB4-4292157AEEFE}"/>
            </c:ext>
          </c:extLst>
        </c:ser>
        <c:dLbls>
          <c:showLegendKey val="0"/>
          <c:showVal val="0"/>
          <c:showCatName val="0"/>
          <c:showSerName val="0"/>
          <c:showPercent val="0"/>
          <c:showBubbleSize val="0"/>
        </c:dLbls>
        <c:gapWidth val="80"/>
        <c:overlap val="100"/>
        <c:axId val="360410879"/>
        <c:axId val="1"/>
      </c:barChart>
      <c:catAx>
        <c:axId val="360410879"/>
        <c:scaling>
          <c:orientation val="minMax"/>
        </c:scaling>
        <c:delete val="0"/>
        <c:axPos val="b"/>
        <c:majorGridlines>
          <c:spPr>
            <a:ln>
              <a:noFill/>
            </a:ln>
          </c:spPr>
        </c:majorGridlines>
        <c:majorTickMark val="out"/>
        <c:minorTickMark val="none"/>
        <c:tickLblPos val="none"/>
        <c:spPr>
          <a:ln w="9525" cmpd="sng" algn="ctr">
            <a:solidFill>
              <a:srgbClr val="6E6F73"/>
            </a:solidFill>
            <a:prstDash val="solid"/>
          </a:ln>
        </c:spPr>
        <c:txPr>
          <a:bodyPr wrap="none"/>
          <a:lstStyle/>
          <a:p>
            <a:pPr>
              <a:defRPr sz="800" kern="1200">
                <a:latin typeface="+mj-lt"/>
                <a:ea typeface="+mj-ea"/>
                <a:cs typeface="+mj-cs"/>
              </a:defRPr>
            </a:pPr>
            <a:endParaRPr lang="en-US"/>
          </a:p>
        </c:txPr>
        <c:crossAx val="1"/>
        <c:crosses val="min"/>
        <c:auto val="0"/>
        <c:lblAlgn val="ctr"/>
        <c:lblOffset val="100"/>
        <c:noMultiLvlLbl val="0"/>
      </c:catAx>
      <c:valAx>
        <c:axId val="1"/>
        <c:scaling>
          <c:orientation val="minMax"/>
          <c:max val="15.5"/>
          <c:min val="0"/>
        </c:scaling>
        <c:delete val="1"/>
        <c:axPos val="l"/>
        <c:numFmt formatCode="General" sourceLinked="1"/>
        <c:majorTickMark val="out"/>
        <c:minorTickMark val="none"/>
        <c:tickLblPos val="nextTo"/>
        <c:crossAx val="36041087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424851765919049E-2"/>
          <c:y val="5.2023121387283239E-2"/>
          <c:w val="0.88347512245424076"/>
          <c:h val="0.89595375722543358"/>
        </c:manualLayout>
      </c:layout>
      <c:lineChart>
        <c:grouping val="standard"/>
        <c:varyColors val="0"/>
        <c:ser>
          <c:idx val="0"/>
          <c:order val="0"/>
          <c:spPr>
            <a:ln w="28575" cmpd="sng" algn="ctr">
              <a:solidFill>
                <a:srgbClr val="3E3E3E"/>
              </a:solidFill>
              <a:prstDash val="solid"/>
            </a:ln>
          </c:spPr>
          <c:marker>
            <c:symbol val="none"/>
          </c:marker>
          <c:dLbls>
            <c:dLbl>
              <c:idx val="3"/>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5A-4148-BCC4-D3681AC97AA2}"/>
                </c:ext>
              </c:extLst>
            </c:dLbl>
            <c:dLbl>
              <c:idx val="4"/>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5A-4148-BCC4-D3681AC97AA2}"/>
                </c:ext>
              </c:extLst>
            </c:dLbl>
            <c:dLbl>
              <c:idx val="5"/>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5A-4148-BCC4-D3681AC97AA2}"/>
                </c:ext>
              </c:extLst>
            </c:dLbl>
            <c:dLbl>
              <c:idx val="6"/>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5A-4148-BCC4-D3681AC97A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1690</c:v>
                </c:pt>
                <c:pt idx="1">
                  <c:v>2195</c:v>
                </c:pt>
                <c:pt idx="2">
                  <c:v>2507</c:v>
                </c:pt>
                <c:pt idx="3">
                  <c:v>3091</c:v>
                </c:pt>
                <c:pt idx="4">
                  <c:v>3257</c:v>
                </c:pt>
                <c:pt idx="5">
                  <c:v>3164</c:v>
                </c:pt>
                <c:pt idx="6">
                  <c:v>3116</c:v>
                </c:pt>
              </c:numCache>
            </c:numRef>
          </c:val>
          <c:smooth val="0"/>
          <c:extLst>
            <c:ext xmlns:c16="http://schemas.microsoft.com/office/drawing/2014/chart" uri="{C3380CC4-5D6E-409C-BE32-E72D297353CC}">
              <c16:uniqueId val="{00000004-D95A-4148-BCC4-D3681AC97AA2}"/>
            </c:ext>
          </c:extLst>
        </c:ser>
        <c:ser>
          <c:idx val="1"/>
          <c:order val="1"/>
          <c:spPr>
            <a:ln w="28575" cmpd="sng" algn="ctr">
              <a:solidFill>
                <a:srgbClr val="26A0B0"/>
              </a:solidFill>
              <a:prstDash val="solid"/>
            </a:ln>
          </c:spPr>
          <c:marker>
            <c:symbol val="none"/>
          </c:marker>
          <c:dLbls>
            <c:dLbl>
              <c:idx val="6"/>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5A-4148-BCC4-D3681AC97AA2}"/>
                </c:ext>
              </c:extLst>
            </c:dLbl>
            <c:dLbl>
              <c:idx val="9"/>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5A-4148-BCC4-D3681AC97AA2}"/>
                </c:ext>
              </c:extLst>
            </c:dLbl>
            <c:dLbl>
              <c:idx val="10"/>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5A-4148-BCC4-D3681AC97AA2}"/>
                </c:ext>
              </c:extLst>
            </c:dLbl>
            <c:dLbl>
              <c:idx val="11"/>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5A-4148-BCC4-D3681AC97AA2}"/>
                </c:ext>
              </c:extLst>
            </c:dLbl>
            <c:dLbl>
              <c:idx val="12"/>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95A-4148-BCC4-D3681AC97A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6">
                  <c:v>3116</c:v>
                </c:pt>
                <c:pt idx="7">
                  <c:v>3038</c:v>
                </c:pt>
                <c:pt idx="8">
                  <c:v>2724</c:v>
                </c:pt>
                <c:pt idx="9">
                  <c:v>2578</c:v>
                </c:pt>
                <c:pt idx="10">
                  <c:v>2471</c:v>
                </c:pt>
                <c:pt idx="11">
                  <c:v>2384</c:v>
                </c:pt>
                <c:pt idx="12">
                  <c:v>2310</c:v>
                </c:pt>
              </c:numCache>
            </c:numRef>
          </c:val>
          <c:smooth val="0"/>
          <c:extLst>
            <c:ext xmlns:c16="http://schemas.microsoft.com/office/drawing/2014/chart" uri="{C3380CC4-5D6E-409C-BE32-E72D297353CC}">
              <c16:uniqueId val="{0000000A-D95A-4148-BCC4-D3681AC97AA2}"/>
            </c:ext>
          </c:extLst>
        </c:ser>
        <c:ser>
          <c:idx val="2"/>
          <c:order val="2"/>
          <c:spPr>
            <a:ln w="28575" cmpd="sng" algn="ctr">
              <a:solidFill>
                <a:srgbClr val="20828E"/>
              </a:solidFill>
              <a:prstDash val="solid"/>
            </a:ln>
          </c:spPr>
          <c:marker>
            <c:symbol val="none"/>
          </c:marker>
          <c:dLbls>
            <c:dLbl>
              <c:idx val="6"/>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95A-4148-BCC4-D3681AC97AA2}"/>
                </c:ext>
              </c:extLst>
            </c:dLbl>
            <c:dLbl>
              <c:idx val="8"/>
              <c:layout>
                <c:manualLayout>
                  <c:x val="2.8873420984789896E-2"/>
                  <c:y val="1.778568252556691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95A-4148-BCC4-D3681AC97AA2}"/>
                </c:ext>
              </c:extLst>
            </c:dLbl>
            <c:dLbl>
              <c:idx val="10"/>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95A-4148-BCC4-D3681AC97A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6">
                  <c:v>3116</c:v>
                </c:pt>
                <c:pt idx="7">
                  <c:v>3138</c:v>
                </c:pt>
                <c:pt idx="8">
                  <c:v>3359</c:v>
                </c:pt>
                <c:pt idx="9">
                  <c:v>3416</c:v>
                </c:pt>
                <c:pt idx="10">
                  <c:v>3447</c:v>
                </c:pt>
                <c:pt idx="11">
                  <c:v>3110</c:v>
                </c:pt>
                <c:pt idx="12">
                  <c:v>2630</c:v>
                </c:pt>
              </c:numCache>
            </c:numRef>
          </c:val>
          <c:smooth val="0"/>
          <c:extLst>
            <c:ext xmlns:c16="http://schemas.microsoft.com/office/drawing/2014/chart" uri="{C3380CC4-5D6E-409C-BE32-E72D297353CC}">
              <c16:uniqueId val="{0000000E-D95A-4148-BCC4-D3681AC97AA2}"/>
            </c:ext>
          </c:extLst>
        </c:ser>
        <c:ser>
          <c:idx val="3"/>
          <c:order val="3"/>
          <c:spPr>
            <a:ln w="28575" cmpd="sng" algn="ctr">
              <a:solidFill>
                <a:srgbClr val="1C6A74"/>
              </a:solidFill>
              <a:prstDash val="solid"/>
            </a:ln>
          </c:spPr>
          <c:marker>
            <c:symbol val="none"/>
          </c:marker>
          <c:dLbls>
            <c:dLbl>
              <c:idx val="6"/>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95A-4148-BCC4-D3681AC97AA2}"/>
                </c:ext>
              </c:extLst>
            </c:dLbl>
            <c:dLbl>
              <c:idx val="7"/>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95A-4148-BCC4-D3681AC97AA2}"/>
                </c:ext>
              </c:extLst>
            </c:dLbl>
            <c:dLbl>
              <c:idx val="8"/>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95A-4148-BCC4-D3681AC97AA2}"/>
                </c:ext>
              </c:extLst>
            </c:dLbl>
            <c:dLbl>
              <c:idx val="9"/>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95A-4148-BCC4-D3681AC97AA2}"/>
                </c:ext>
              </c:extLst>
            </c:dLbl>
            <c:dLbl>
              <c:idx val="10"/>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95A-4148-BCC4-D3681AC97AA2}"/>
                </c:ext>
              </c:extLst>
            </c:dLbl>
            <c:dLbl>
              <c:idx val="11"/>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95A-4148-BCC4-D3681AC97AA2}"/>
                </c:ext>
              </c:extLst>
            </c:dLbl>
            <c:dLbl>
              <c:idx val="12"/>
              <c:layout>
                <c:manualLayout>
                  <c:x val="0"/>
                  <c:y val="-3.2014228546020457E-2"/>
                </c:manualLayout>
              </c:layout>
              <c:numFmt formatCode="#,##0;&quot;-&quot;#,##0" sourceLinked="0"/>
              <c:spPr>
                <a:noFill/>
                <a:ln>
                  <a:noFill/>
                </a:ln>
              </c:spPr>
              <c:txPr>
                <a:bodyPr wrap="none"/>
                <a:lstStyle/>
                <a:p>
                  <a:pPr>
                    <a:defRPr sz="800" kern="1200">
                      <a:solidFill>
                        <a:srgbClr val="000000"/>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95A-4148-BCC4-D3681AC97A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6">
                  <c:v>3116</c:v>
                </c:pt>
                <c:pt idx="7">
                  <c:v>3264</c:v>
                </c:pt>
                <c:pt idx="8">
                  <c:v>3451</c:v>
                </c:pt>
                <c:pt idx="9">
                  <c:v>3626</c:v>
                </c:pt>
                <c:pt idx="10">
                  <c:v>3836</c:v>
                </c:pt>
                <c:pt idx="11">
                  <c:v>3701</c:v>
                </c:pt>
                <c:pt idx="12">
                  <c:v>3453</c:v>
                </c:pt>
              </c:numCache>
            </c:numRef>
          </c:val>
          <c:smooth val="0"/>
          <c:extLst>
            <c:ext xmlns:c16="http://schemas.microsoft.com/office/drawing/2014/chart" uri="{C3380CC4-5D6E-409C-BE32-E72D297353CC}">
              <c16:uniqueId val="{00000016-D95A-4148-BCC4-D3681AC97AA2}"/>
            </c:ext>
          </c:extLst>
        </c:ser>
        <c:dLbls>
          <c:showLegendKey val="0"/>
          <c:showVal val="0"/>
          <c:showCatName val="0"/>
          <c:showSerName val="0"/>
          <c:showPercent val="0"/>
          <c:showBubbleSize val="0"/>
        </c:dLbls>
        <c:smooth val="0"/>
        <c:axId val="648437695"/>
        <c:axId val="1"/>
      </c:lineChart>
      <c:catAx>
        <c:axId val="648437695"/>
        <c:scaling>
          <c:orientation val="minMax"/>
        </c:scaling>
        <c:delete val="0"/>
        <c:axPos val="b"/>
        <c:majorGridlines>
          <c:spPr>
            <a:ln>
              <a:noFill/>
            </a:ln>
          </c:spPr>
        </c:majorGridlines>
        <c:majorTickMark val="out"/>
        <c:minorTickMark val="none"/>
        <c:tickLblPos val="none"/>
        <c:spPr>
          <a:ln w="9525" cmpd="sng" algn="ctr">
            <a:solidFill>
              <a:srgbClr val="6E6F73"/>
            </a:solidFill>
            <a:prstDash val="solid"/>
          </a:ln>
        </c:spPr>
        <c:txPr>
          <a:bodyPr wrap="none"/>
          <a:lstStyle/>
          <a:p>
            <a:pPr>
              <a:defRPr sz="1000" kern="1200">
                <a:latin typeface="+mj-lt"/>
                <a:ea typeface="+mj-ea"/>
                <a:cs typeface="+mj-cs"/>
              </a:defRPr>
            </a:pPr>
            <a:endParaRPr lang="en-US"/>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0;&quot;-&quot;#,##0" sourceLinked="0"/>
        <c:majorTickMark val="out"/>
        <c:minorTickMark val="none"/>
        <c:tickLblPos val="nextTo"/>
        <c:spPr>
          <a:ln w="9525" cmpd="sng" algn="ctr">
            <a:solidFill>
              <a:srgbClr val="6E6F73"/>
            </a:solidFill>
            <a:prstDash val="solid"/>
          </a:ln>
        </c:spPr>
        <c:txPr>
          <a:bodyPr wrap="none"/>
          <a:lstStyle/>
          <a:p>
            <a:pPr>
              <a:defRPr sz="1000" kern="1200">
                <a:solidFill>
                  <a:srgbClr val="000000"/>
                </a:solidFill>
                <a:latin typeface="+mj-lt"/>
                <a:ea typeface="+mj-ea"/>
                <a:cs typeface="+mj-cs"/>
              </a:defRPr>
            </a:pPr>
            <a:endParaRPr lang="en-US"/>
          </a:p>
        </c:txPr>
        <c:crossAx val="648437695"/>
        <c:crosses val="min"/>
        <c:crossBetween val="midCat"/>
        <c:majorUnit val="50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6/2026</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rtl="0"/>
            <a:endParaRPr lang="en-GB"/>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rtl="0">
              <a:defRPr sz="1400"/>
            </a:lvl1pPr>
          </a:lstStyle>
          <a:p>
            <a:endParaRPr lang="en-GB"/>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rtl="0">
              <a:defRPr sz="1400"/>
            </a:lvl1pPr>
          </a:lstStyle>
          <a:p>
            <a:endParaRPr lang="en-GB"/>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rtl="0">
              <a:defRPr sz="1400"/>
            </a:lvl1pPr>
          </a:lstStyle>
          <a:p>
            <a:r>
              <a:rPr lang="en-GB"/>
              <a:t>Notes view: </a:t>
            </a:r>
            <a:fld id="{128CEAFE-FA94-43E5-B0FF-D47E1CCDD1B4}" type="slidenum">
              <a:rPr lang="en-GB" smtClean="0"/>
              <a:pPr/>
              <a:t>‹#›</a:t>
            </a:fld>
            <a:endParaRPr lang="en-GB"/>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rtl="0">
              <a:defRPr sz="1200"/>
            </a:lvl1pPr>
          </a:lstStyle>
          <a:p>
            <a:fld id="{F2C7CF5F-7CF3-4DF3-838A-EE34544862CC}" type="datetimeFigureOut">
              <a:rPr lang="en-GB" smtClean="0"/>
              <a:pPr/>
              <a:t>06/01/2026</a:t>
            </a:fld>
            <a:endParaRPr lang="en-GB"/>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43EBC-F209-F8B1-E4BE-DC8822D717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96519B-9B45-4E16-A52A-00A525EFE410}"/>
              </a:ext>
            </a:extLst>
          </p:cNvPr>
          <p:cNvSpPr>
            <a:spLocks noGrp="1" noRot="1" noChangeAspect="1"/>
          </p:cNvSpPr>
          <p:nvPr>
            <p:ph type="sldImg"/>
          </p:nvPr>
        </p:nvSpPr>
        <p:spPr>
          <a:xfrm>
            <a:off x="155575" y="574675"/>
            <a:ext cx="6621463" cy="3724275"/>
          </a:xfrm>
        </p:spPr>
        <p:txBody>
          <a:bodyPr/>
          <a:lstStyle/>
          <a:p>
            <a:endParaRPr lang="en-GB"/>
          </a:p>
        </p:txBody>
      </p:sp>
      <p:sp>
        <p:nvSpPr>
          <p:cNvPr id="3" name="Notes Placeholder 2">
            <a:extLst>
              <a:ext uri="{FF2B5EF4-FFF2-40B4-BE49-F238E27FC236}">
                <a16:creationId xmlns:a16="http://schemas.microsoft.com/office/drawing/2014/main" id="{A140ED0A-94F1-3195-E9B6-2724F489475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B6CFC76-6988-A2DF-4565-A49F0DC649E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GB"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391503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F5D22-93AB-C353-75E7-D43AD221B9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F7B3B4-F15B-563A-B367-47574B59A264}"/>
              </a:ext>
            </a:extLst>
          </p:cNvPr>
          <p:cNvSpPr>
            <a:spLocks noGrp="1" noRot="1" noChangeAspect="1"/>
          </p:cNvSpPr>
          <p:nvPr>
            <p:ph type="sldImg"/>
          </p:nvPr>
        </p:nvSpPr>
        <p:spPr>
          <a:xfrm>
            <a:off x="155575" y="574675"/>
            <a:ext cx="6621463" cy="3724275"/>
          </a:xfrm>
        </p:spPr>
        <p:txBody>
          <a:bodyPr/>
          <a:lstStyle/>
          <a:p>
            <a:endParaRPr lang="en-GB"/>
          </a:p>
        </p:txBody>
      </p:sp>
      <p:sp>
        <p:nvSpPr>
          <p:cNvPr id="3" name="Notes Placeholder 2">
            <a:extLst>
              <a:ext uri="{FF2B5EF4-FFF2-40B4-BE49-F238E27FC236}">
                <a16:creationId xmlns:a16="http://schemas.microsoft.com/office/drawing/2014/main" id="{A2152DA1-B1A8-3C9F-20C3-DFE4AA03419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BE168DE-2641-EA7B-FBD9-4B171A6383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56416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062FE3-1CE4-4BB0-CA53-6E6C6463C5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7DDEC5-99E9-9BF9-8CDB-A737F379CE56}"/>
              </a:ext>
            </a:extLst>
          </p:cNvPr>
          <p:cNvSpPr>
            <a:spLocks noGrp="1" noRot="1" noChangeAspect="1"/>
          </p:cNvSpPr>
          <p:nvPr>
            <p:ph type="sldImg"/>
          </p:nvPr>
        </p:nvSpPr>
        <p:spPr>
          <a:xfrm>
            <a:off x="155575" y="574675"/>
            <a:ext cx="6621463" cy="3724275"/>
          </a:xfrm>
        </p:spPr>
        <p:txBody>
          <a:bodyPr/>
          <a:lstStyle/>
          <a:p>
            <a:endParaRPr lang="en-GB"/>
          </a:p>
        </p:txBody>
      </p:sp>
      <p:sp>
        <p:nvSpPr>
          <p:cNvPr id="3" name="Notes Placeholder 2">
            <a:extLst>
              <a:ext uri="{FF2B5EF4-FFF2-40B4-BE49-F238E27FC236}">
                <a16:creationId xmlns:a16="http://schemas.microsoft.com/office/drawing/2014/main" id="{7954621A-2B76-3078-6363-029E61FD57E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0D594C7-C1F6-AA92-1DE7-691AFB0C73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774301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8C442C-8CDD-BB4D-94C5-19E258299E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CD4FC6-1811-9E79-D002-D839A51090C9}"/>
              </a:ext>
            </a:extLst>
          </p:cNvPr>
          <p:cNvSpPr>
            <a:spLocks noGrp="1" noRot="1" noChangeAspect="1"/>
          </p:cNvSpPr>
          <p:nvPr>
            <p:ph type="sldImg"/>
          </p:nvPr>
        </p:nvSpPr>
        <p:spPr>
          <a:xfrm>
            <a:off x="155575" y="574675"/>
            <a:ext cx="6621463" cy="3724275"/>
          </a:xfrm>
        </p:spPr>
        <p:txBody>
          <a:bodyPr/>
          <a:lstStyle/>
          <a:p>
            <a:endParaRPr lang="en-GB"/>
          </a:p>
        </p:txBody>
      </p:sp>
      <p:sp>
        <p:nvSpPr>
          <p:cNvPr id="3" name="Notes Placeholder 2">
            <a:extLst>
              <a:ext uri="{FF2B5EF4-FFF2-40B4-BE49-F238E27FC236}">
                <a16:creationId xmlns:a16="http://schemas.microsoft.com/office/drawing/2014/main" id="{6272DB0F-CBA6-2C0E-ADCD-14648030B20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9451D57-5C3A-1113-0E2A-4F27F212CFC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263059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A2B479-99EE-9C92-9C42-CF90D54B3A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17A800-4A33-90C3-773C-5BAA185D2DE2}"/>
              </a:ext>
            </a:extLst>
          </p:cNvPr>
          <p:cNvSpPr>
            <a:spLocks noGrp="1" noRot="1" noChangeAspect="1"/>
          </p:cNvSpPr>
          <p:nvPr>
            <p:ph type="sldImg"/>
          </p:nvPr>
        </p:nvSpPr>
        <p:spPr>
          <a:xfrm>
            <a:off x="155575" y="574675"/>
            <a:ext cx="6621463" cy="3724275"/>
          </a:xfrm>
        </p:spPr>
        <p:txBody>
          <a:bodyPr/>
          <a:lstStyle/>
          <a:p>
            <a:endParaRPr lang="en-GB"/>
          </a:p>
        </p:txBody>
      </p:sp>
      <p:sp>
        <p:nvSpPr>
          <p:cNvPr id="3" name="Notes Placeholder 2">
            <a:extLst>
              <a:ext uri="{FF2B5EF4-FFF2-40B4-BE49-F238E27FC236}">
                <a16:creationId xmlns:a16="http://schemas.microsoft.com/office/drawing/2014/main" id="{BF99C1F4-CB0A-4DC4-091F-9EFD7AAC1C6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C5899D3-C93D-5340-3A9D-35EC2385A81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740244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BDBD6A-B5FC-6FEC-C9C4-DC40BA3646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A4DFA2-3D1E-9394-FCFB-CC83C548B251}"/>
              </a:ext>
            </a:extLst>
          </p:cNvPr>
          <p:cNvSpPr>
            <a:spLocks noGrp="1" noRot="1" noChangeAspect="1"/>
          </p:cNvSpPr>
          <p:nvPr>
            <p:ph type="sldImg"/>
          </p:nvPr>
        </p:nvSpPr>
        <p:spPr>
          <a:xfrm>
            <a:off x="155575" y="574675"/>
            <a:ext cx="6621463" cy="3724275"/>
          </a:xfrm>
        </p:spPr>
        <p:txBody>
          <a:bodyPr/>
          <a:lstStyle/>
          <a:p>
            <a:endParaRPr lang="en-GB"/>
          </a:p>
        </p:txBody>
      </p:sp>
      <p:sp>
        <p:nvSpPr>
          <p:cNvPr id="3" name="Notes Placeholder 2">
            <a:extLst>
              <a:ext uri="{FF2B5EF4-FFF2-40B4-BE49-F238E27FC236}">
                <a16:creationId xmlns:a16="http://schemas.microsoft.com/office/drawing/2014/main" id="{2A6AA66B-BABB-84D1-EC27-AD2E2E2064D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0458E88-632A-2E2A-AA71-7C9875E11A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6773175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1CA5E-BE4E-C4B9-8D4A-BE30AF258A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D255F6-D411-61CB-A8B8-FEE4536F21B3}"/>
              </a:ext>
            </a:extLst>
          </p:cNvPr>
          <p:cNvSpPr>
            <a:spLocks noGrp="1" noRot="1" noChangeAspect="1"/>
          </p:cNvSpPr>
          <p:nvPr>
            <p:ph type="sldImg"/>
          </p:nvPr>
        </p:nvSpPr>
        <p:spPr>
          <a:xfrm>
            <a:off x="155575" y="574675"/>
            <a:ext cx="6621463" cy="3724275"/>
          </a:xfrm>
        </p:spPr>
        <p:txBody>
          <a:bodyPr/>
          <a:lstStyle/>
          <a:p>
            <a:endParaRPr lang="en-GB"/>
          </a:p>
        </p:txBody>
      </p:sp>
      <p:sp>
        <p:nvSpPr>
          <p:cNvPr id="3" name="Notes Placeholder 2">
            <a:extLst>
              <a:ext uri="{FF2B5EF4-FFF2-40B4-BE49-F238E27FC236}">
                <a16:creationId xmlns:a16="http://schemas.microsoft.com/office/drawing/2014/main" id="{3B2D434A-4DE8-A3B5-0A2B-AECC456641A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A681AA4-BF3F-773C-25B9-7D85401012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685857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99017-8DA7-931F-B67E-A7013A61F7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1D6E04-9478-2A56-217C-45F098F37B32}"/>
              </a:ext>
            </a:extLst>
          </p:cNvPr>
          <p:cNvSpPr>
            <a:spLocks noGrp="1" noRot="1" noChangeAspect="1"/>
          </p:cNvSpPr>
          <p:nvPr>
            <p:ph type="sldImg"/>
          </p:nvPr>
        </p:nvSpPr>
        <p:spPr>
          <a:xfrm>
            <a:off x="155575" y="574675"/>
            <a:ext cx="6621463" cy="3724275"/>
          </a:xfrm>
        </p:spPr>
        <p:txBody>
          <a:bodyPr/>
          <a:lstStyle/>
          <a:p>
            <a:endParaRPr lang="en-GB"/>
          </a:p>
        </p:txBody>
      </p:sp>
      <p:sp>
        <p:nvSpPr>
          <p:cNvPr id="3" name="Notes Placeholder 2">
            <a:extLst>
              <a:ext uri="{FF2B5EF4-FFF2-40B4-BE49-F238E27FC236}">
                <a16:creationId xmlns:a16="http://schemas.microsoft.com/office/drawing/2014/main" id="{C74CB240-CCA1-C158-1114-FB8B91B0F0F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3DA142-C351-733C-E458-272FBEF71C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649551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EEA11-7AFC-2015-D396-60E2DE7A1E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1C6367-E591-F443-B0C5-7104B3485987}"/>
              </a:ext>
            </a:extLst>
          </p:cNvPr>
          <p:cNvSpPr>
            <a:spLocks noGrp="1" noRot="1" noChangeAspect="1"/>
          </p:cNvSpPr>
          <p:nvPr>
            <p:ph type="sldImg"/>
          </p:nvPr>
        </p:nvSpPr>
        <p:spPr>
          <a:xfrm>
            <a:off x="155575" y="574675"/>
            <a:ext cx="6621463" cy="3724275"/>
          </a:xfrm>
        </p:spPr>
        <p:txBody>
          <a:bodyPr/>
          <a:lstStyle/>
          <a:p>
            <a:endParaRPr lang="en-GB"/>
          </a:p>
        </p:txBody>
      </p:sp>
      <p:sp>
        <p:nvSpPr>
          <p:cNvPr id="3" name="Notes Placeholder 2">
            <a:extLst>
              <a:ext uri="{FF2B5EF4-FFF2-40B4-BE49-F238E27FC236}">
                <a16:creationId xmlns:a16="http://schemas.microsoft.com/office/drawing/2014/main" id="{35F34C9C-E6B6-973A-B54E-0567E436ACB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638023B-C85A-ADAF-B5DA-2C4E9E68AB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7030408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8.svg"/><Relationship Id="rId4" Type="http://schemas.openxmlformats.org/officeDocument/2006/relationships/oleObject" Target="../embeddings/oleObject2.bin"/><Relationship Id="rId9"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10.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11.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14.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16.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7.bin"/><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117.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1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2.emf"/></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119.xml"/><Relationship Id="rId6" Type="http://schemas.openxmlformats.org/officeDocument/2006/relationships/image" Target="../media/image14.emf"/><Relationship Id="rId5" Type="http://schemas.openxmlformats.org/officeDocument/2006/relationships/oleObject" Target="../embeddings/oleObject109.bin"/><Relationship Id="rId4" Type="http://schemas.microsoft.com/office/2007/relationships/hdphoto" Target="../media/hdphoto2.wdp"/></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9.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22.xml"/><Relationship Id="rId4" Type="http://schemas.openxmlformats.org/officeDocument/2006/relationships/image" Target="../media/image12.emf"/></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4.xml"/><Relationship Id="rId7" Type="http://schemas.openxmlformats.org/officeDocument/2006/relationships/image" Target="../media/image5.jpe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8.svg"/><Relationship Id="rId4" Type="http://schemas.openxmlformats.org/officeDocument/2006/relationships/oleObject" Target="../embeddings/oleObject114.bin"/><Relationship Id="rId9" Type="http://schemas.openxmlformats.org/officeDocument/2006/relationships/image" Target="../media/image7.png"/></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4.xml"/><Relationship Id="rId1" Type="http://schemas.openxmlformats.org/officeDocument/2006/relationships/tags" Target="../tags/tag126.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4.xml"/><Relationship Id="rId1" Type="http://schemas.openxmlformats.org/officeDocument/2006/relationships/tags" Target="../tags/tag127.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117.bin"/><Relationship Id="rId7" Type="http://schemas.openxmlformats.org/officeDocument/2006/relationships/image" Target="../media/image6.jpeg"/><Relationship Id="rId2" Type="http://schemas.openxmlformats.org/officeDocument/2006/relationships/slideMaster" Target="../slideMasters/slideMaster4.xml"/><Relationship Id="rId1" Type="http://schemas.openxmlformats.org/officeDocument/2006/relationships/tags" Target="../tags/tag128.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image" Target="../media/image3.emf"/><Relationship Id="rId9" Type="http://schemas.openxmlformats.org/officeDocument/2006/relationships/image" Target="../media/image8.svg"/></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32.bin"/><Relationship Id="rId7" Type="http://schemas.openxmlformats.org/officeDocument/2006/relationships/image" Target="../media/image6.jpeg"/><Relationship Id="rId2" Type="http://schemas.openxmlformats.org/officeDocument/2006/relationships/slideMaster" Target="../slideMasters/slideMaster4.xml"/><Relationship Id="rId1" Type="http://schemas.openxmlformats.org/officeDocument/2006/relationships/tags" Target="../tags/tag129.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image" Target="../media/image3.emf"/><Relationship Id="rId9" Type="http://schemas.openxmlformats.org/officeDocument/2006/relationships/image" Target="../media/image8.svg"/></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4.xml"/><Relationship Id="rId7" Type="http://schemas.openxmlformats.org/officeDocument/2006/relationships/image" Target="../media/image5.jpe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8.svg"/><Relationship Id="rId4" Type="http://schemas.openxmlformats.org/officeDocument/2006/relationships/oleObject" Target="../embeddings/oleObject118.bin"/><Relationship Id="rId9" Type="http://schemas.openxmlformats.org/officeDocument/2006/relationships/image" Target="../media/image7.png"/></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4.xml"/><Relationship Id="rId1" Type="http://schemas.openxmlformats.org/officeDocument/2006/relationships/tags" Target="../tags/tag132.xml"/><Relationship Id="rId5" Type="http://schemas.openxmlformats.org/officeDocument/2006/relationships/image" Target="../media/image10.jpeg"/><Relationship Id="rId4" Type="http://schemas.openxmlformats.org/officeDocument/2006/relationships/image" Target="../media/image16.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4.xml"/><Relationship Id="rId1" Type="http://schemas.openxmlformats.org/officeDocument/2006/relationships/tags" Target="../tags/tag133.xml"/><Relationship Id="rId5" Type="http://schemas.openxmlformats.org/officeDocument/2006/relationships/image" Target="../media/image10.jpeg"/><Relationship Id="rId4" Type="http://schemas.openxmlformats.org/officeDocument/2006/relationships/image" Target="../media/image12.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4.xml"/><Relationship Id="rId1" Type="http://schemas.openxmlformats.org/officeDocument/2006/relationships/tags" Target="../tags/tag134.xml"/><Relationship Id="rId4" Type="http://schemas.openxmlformats.org/officeDocument/2006/relationships/image" Target="../media/image1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4.xml"/><Relationship Id="rId1" Type="http://schemas.openxmlformats.org/officeDocument/2006/relationships/tags" Target="../tags/tag135.xml"/><Relationship Id="rId4" Type="http://schemas.openxmlformats.org/officeDocument/2006/relationships/image" Target="../media/image12.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4.xml"/><Relationship Id="rId1" Type="http://schemas.openxmlformats.org/officeDocument/2006/relationships/tags" Target="../tags/tag136.xml"/><Relationship Id="rId4" Type="http://schemas.openxmlformats.org/officeDocument/2006/relationships/image" Target="../media/image12.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4.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137.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5.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138.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6.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139.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4.xml"/><Relationship Id="rId1" Type="http://schemas.openxmlformats.org/officeDocument/2006/relationships/tags" Target="../tags/tag140.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4.xml"/><Relationship Id="rId1" Type="http://schemas.openxmlformats.org/officeDocument/2006/relationships/tags" Target="../tags/tag141.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4.xml"/><Relationship Id="rId1" Type="http://schemas.openxmlformats.org/officeDocument/2006/relationships/tags" Target="../tags/tag142.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30.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143.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9.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4.xml"/><Relationship Id="rId1" Type="http://schemas.openxmlformats.org/officeDocument/2006/relationships/tags" Target="../tags/tag144.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32.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145.xml"/><Relationship Id="rId6" Type="http://schemas.openxmlformats.org/officeDocument/2006/relationships/image" Target="../media/image13.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4.xml"/><Relationship Id="rId1" Type="http://schemas.openxmlformats.org/officeDocument/2006/relationships/tags" Target="../tags/tag146.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4.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147.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4.xml"/><Relationship Id="rId1" Type="http://schemas.openxmlformats.org/officeDocument/2006/relationships/tags" Target="../tags/tag148.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6.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149.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4.xml"/><Relationship Id="rId1" Type="http://schemas.openxmlformats.org/officeDocument/2006/relationships/tags" Target="../tags/tag150.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4.xml"/><Relationship Id="rId1" Type="http://schemas.openxmlformats.org/officeDocument/2006/relationships/tags" Target="../tags/tag151.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4.xml"/><Relationship Id="rId1" Type="http://schemas.openxmlformats.org/officeDocument/2006/relationships/tags" Target="../tags/tag152.xml"/><Relationship Id="rId4" Type="http://schemas.openxmlformats.org/officeDocument/2006/relationships/image" Target="../media/image12.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40.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153.xml"/><Relationship Id="rId6" Type="http://schemas.openxmlformats.org/officeDocument/2006/relationships/image" Target="../media/image13.png"/><Relationship Id="rId5" Type="http://schemas.openxmlformats.org/officeDocument/2006/relationships/image" Target="../media/image21.png"/><Relationship Id="rId4" Type="http://schemas.openxmlformats.org/officeDocument/2006/relationships/image" Target="../media/image3.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4.xml"/><Relationship Id="rId1" Type="http://schemas.openxmlformats.org/officeDocument/2006/relationships/tags" Target="../tags/tag154.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6.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42.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155.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4.xml"/><Relationship Id="rId1" Type="http://schemas.openxmlformats.org/officeDocument/2006/relationships/tags" Target="../tags/tag156.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4.xml"/><Relationship Id="rId1" Type="http://schemas.openxmlformats.org/officeDocument/2006/relationships/tags" Target="../tags/tag157.xml"/><Relationship Id="rId4" Type="http://schemas.openxmlformats.org/officeDocument/2006/relationships/image" Target="../media/image12.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4.xml"/><Relationship Id="rId1" Type="http://schemas.openxmlformats.org/officeDocument/2006/relationships/tags" Target="../tags/tag158.xml"/><Relationship Id="rId4" Type="http://schemas.openxmlformats.org/officeDocument/2006/relationships/image" Target="../media/image12.emf"/></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146.bin"/><Relationship Id="rId7" Type="http://schemas.openxmlformats.org/officeDocument/2006/relationships/image" Target="../media/image6.jpeg"/><Relationship Id="rId2" Type="http://schemas.openxmlformats.org/officeDocument/2006/relationships/slideMaster" Target="../slideMasters/slideMaster4.xml"/><Relationship Id="rId1" Type="http://schemas.openxmlformats.org/officeDocument/2006/relationships/tags" Target="../tags/tag159.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image" Target="../media/image3.emf"/><Relationship Id="rId9" Type="http://schemas.openxmlformats.org/officeDocument/2006/relationships/image" Target="../media/image8.sv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microsoft.com/office/2007/relationships/hdphoto" Target="../media/hdphoto1.wdp"/><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4.xml"/><Relationship Id="rId1" Type="http://schemas.openxmlformats.org/officeDocument/2006/relationships/tags" Target="../tags/tag162.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4.xml"/><Relationship Id="rId1" Type="http://schemas.openxmlformats.org/officeDocument/2006/relationships/tags" Target="../tags/tag163.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4.xml"/><Relationship Id="rId1" Type="http://schemas.openxmlformats.org/officeDocument/2006/relationships/tags" Target="../tags/tag164.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emf"/></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4.xml"/><Relationship Id="rId1" Type="http://schemas.openxmlformats.org/officeDocument/2006/relationships/tags" Target="../tags/tag167.xml"/><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4.xml"/><Relationship Id="rId1" Type="http://schemas.openxmlformats.org/officeDocument/2006/relationships/tags" Target="../tags/tag168.xml"/><Relationship Id="rId4" Type="http://schemas.openxmlformats.org/officeDocument/2006/relationships/image" Target="../media/image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4.xml"/><Relationship Id="rId1" Type="http://schemas.openxmlformats.org/officeDocument/2006/relationships/tags" Target="../tags/tag169.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5.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170.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4.xml"/><Relationship Id="rId1" Type="http://schemas.openxmlformats.org/officeDocument/2006/relationships/tags" Target="../tags/tag17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2.emf"/></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172.xml"/><Relationship Id="rId6" Type="http://schemas.openxmlformats.org/officeDocument/2006/relationships/image" Target="../media/image14.emf"/><Relationship Id="rId5" Type="http://schemas.openxmlformats.org/officeDocument/2006/relationships/oleObject" Target="../embeddings/oleObject157.bin"/><Relationship Id="rId4" Type="http://schemas.microsoft.com/office/2007/relationships/hdphoto" Target="../media/hdphoto2.wdp"/></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4.xml"/><Relationship Id="rId1" Type="http://schemas.openxmlformats.org/officeDocument/2006/relationships/tags" Target="../tags/tag173.xml"/><Relationship Id="rId4" Type="http://schemas.openxmlformats.org/officeDocument/2006/relationships/image" Target="../media/image1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13.png"/><Relationship Id="rId5" Type="http://schemas.openxmlformats.org/officeDocument/2006/relationships/image" Target="../media/image20.png"/><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8.svg"/><Relationship Id="rId4" Type="http://schemas.openxmlformats.org/officeDocument/2006/relationships/oleObject" Target="../embeddings/oleObject3.bin"/><Relationship Id="rId9"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7.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13.png"/><Relationship Id="rId5" Type="http://schemas.openxmlformats.org/officeDocument/2006/relationships/image" Target="../media/image21.png"/><Relationship Id="rId4" Type="http://schemas.openxmlformats.org/officeDocument/2006/relationships/image" Target="../media/image1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0.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2.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31.bin"/><Relationship Id="rId7"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image" Target="../media/image3.emf"/><Relationship Id="rId9" Type="http://schemas.openxmlformats.org/officeDocument/2006/relationships/image" Target="../media/image8.sv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32.bin"/><Relationship Id="rId7"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image" Target="../media/image3.emf"/><Relationship Id="rId9" Type="http://schemas.openxmlformats.org/officeDocument/2006/relationships/image" Target="../media/image8.svg"/></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13.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7.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49.xml"/><Relationship Id="rId6" Type="http://schemas.openxmlformats.org/officeDocument/2006/relationships/image" Target="../media/image13.png"/><Relationship Id="rId5" Type="http://schemas.openxmlformats.org/officeDocument/2006/relationships/image" Target="../media/image21.png"/><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0.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51.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52.bin"/><Relationship Id="rId7"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image" Target="../media/image3.emf"/><Relationship Id="rId9" Type="http://schemas.openxmlformats.org/officeDocument/2006/relationships/image" Target="../media/image8.sv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8.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9.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60.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5.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9.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66.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68.xml"/><Relationship Id="rId6" Type="http://schemas.openxmlformats.org/officeDocument/2006/relationships/image" Target="../media/image14.emf"/><Relationship Id="rId5" Type="http://schemas.openxmlformats.org/officeDocument/2006/relationships/oleObject" Target="../embeddings/oleObject63.bin"/><Relationship Id="rId4" Type="http://schemas.microsoft.com/office/2007/relationships/hdphoto" Target="../media/hdphoto2.wdp"/></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8.svg"/><Relationship Id="rId4" Type="http://schemas.openxmlformats.org/officeDocument/2006/relationships/oleObject" Target="../embeddings/oleObject66.bin"/><Relationship Id="rId9"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69.bin"/><Relationship Id="rId7" Type="http://schemas.openxmlformats.org/officeDocument/2006/relationships/image" Target="../media/image6.jpeg"/><Relationship Id="rId2" Type="http://schemas.openxmlformats.org/officeDocument/2006/relationships/slideMaster" Target="../slideMasters/slideMaster2.xml"/><Relationship Id="rId1" Type="http://schemas.openxmlformats.org/officeDocument/2006/relationships/tags" Target="../tags/tag75.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image" Target="../media/image3.emf"/><Relationship Id="rId9" Type="http://schemas.openxmlformats.org/officeDocument/2006/relationships/image" Target="../media/image8.sv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32.bin"/><Relationship Id="rId7" Type="http://schemas.openxmlformats.org/officeDocument/2006/relationships/image" Target="../media/image6.jpeg"/><Relationship Id="rId2" Type="http://schemas.openxmlformats.org/officeDocument/2006/relationships/slideMaster" Target="../slideMasters/slideMaster2.xml"/><Relationship Id="rId1" Type="http://schemas.openxmlformats.org/officeDocument/2006/relationships/tags" Target="../tags/tag76.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image" Target="../media/image3.emf"/><Relationship Id="rId9" Type="http://schemas.openxmlformats.org/officeDocument/2006/relationships/image" Target="../media/image8.sv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8.svg"/><Relationship Id="rId4" Type="http://schemas.openxmlformats.org/officeDocument/2006/relationships/oleObject" Target="../embeddings/oleObject70.bin"/><Relationship Id="rId9"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9.xml"/><Relationship Id="rId5" Type="http://schemas.openxmlformats.org/officeDocument/2006/relationships/image" Target="../media/image10.jpeg"/><Relationship Id="rId4" Type="http://schemas.openxmlformats.org/officeDocument/2006/relationships/image" Target="../media/image16.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80.xml"/><Relationship Id="rId5" Type="http://schemas.openxmlformats.org/officeDocument/2006/relationships/image" Target="../media/image10.jpeg"/><Relationship Id="rId4" Type="http://schemas.openxmlformats.org/officeDocument/2006/relationships/image" Target="../media/image1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1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1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6.bin"/><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7.bin"/><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85.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8.bin"/><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2.bin"/><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90.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9.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91.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4.bin"/><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92.xml"/><Relationship Id="rId6" Type="http://schemas.openxmlformats.org/officeDocument/2006/relationships/image" Target="../media/image13.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93.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6.bin"/><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94.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95.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8.bin"/><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96.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7.xml"/><Relationship Id="rId6" Type="http://schemas.openxmlformats.org/officeDocument/2006/relationships/image" Target="../media/image2.png"/><Relationship Id="rId5" Type="http://schemas.openxmlformats.org/officeDocument/2006/relationships/image" Target="../media/image18.png"/><Relationship Id="rId4" Type="http://schemas.openxmlformats.org/officeDocument/2006/relationships/image" Target="../media/image1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8.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4.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1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2.bin"/><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100.xml"/><Relationship Id="rId6" Type="http://schemas.openxmlformats.org/officeDocument/2006/relationships/image" Target="../media/image13.png"/><Relationship Id="rId5" Type="http://schemas.openxmlformats.org/officeDocument/2006/relationships/image" Target="../media/image21.png"/><Relationship Id="rId4" Type="http://schemas.openxmlformats.org/officeDocument/2006/relationships/image" Target="../media/image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101.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4.bin"/><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102.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103.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12.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12.emf"/></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98.bin"/><Relationship Id="rId7" Type="http://schemas.openxmlformats.org/officeDocument/2006/relationships/image" Target="../media/image6.jpeg"/><Relationship Id="rId2" Type="http://schemas.openxmlformats.org/officeDocument/2006/relationships/slideMaster" Target="../slideMasters/slideMaster2.xml"/><Relationship Id="rId1" Type="http://schemas.openxmlformats.org/officeDocument/2006/relationships/tags" Target="../tags/tag106.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image" Target="../media/image3.emf"/><Relationship Id="rId9" Type="http://schemas.openxmlformats.org/officeDocument/2006/relationships/image" Target="../media/image8.svg"/></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9.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03455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p:cNvPicPr>
            <a:picLocks noChangeAspect="1"/>
          </p:cNvPicPr>
          <p:nvPr userDrawn="1"/>
        </p:nvPicPr>
        <p:blipFill rotWithShape="1">
          <a:blip r:embed="rId6"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sp>
        <p:nvSpPr>
          <p:cNvPr id="16" name="Title 5"/>
          <p:cNvSpPr>
            <a:spLocks noGrp="1"/>
          </p:cNvSpPr>
          <p:nvPr>
            <p:ph type="ctrTitle"/>
          </p:nvPr>
        </p:nvSpPr>
        <p:spPr>
          <a:xfrm>
            <a:off x="667408" y="1659004"/>
            <a:ext cx="7344478" cy="1638300"/>
          </a:xfrm>
        </p:spPr>
        <p:txBody>
          <a:bodyPr vert="horz" lIns="0" tIns="0" rIns="0" bIns="0" anchor="b">
            <a:normAutofit/>
          </a:bodyPr>
          <a:lstStyle>
            <a:lvl1pPr algn="r" rtl="0">
              <a:defRPr sz="5400">
                <a:solidFill>
                  <a:srgbClr val="006C67"/>
                </a:solidFill>
                <a:latin typeface="+mj-lt"/>
                <a:ea typeface="+mj-ea"/>
                <a:cs typeface="+mj-cs"/>
                <a:sym typeface="+mj-lt"/>
              </a:defRPr>
            </a:lvl1pPr>
          </a:lstStyle>
          <a:p>
            <a:r>
              <a:rPr lang="en-GB"/>
              <a:t>Click to edit Master title style</a:t>
            </a:r>
          </a:p>
        </p:txBody>
      </p:sp>
      <p:sp>
        <p:nvSpPr>
          <p:cNvPr id="17" name="Text Placeholder 7"/>
          <p:cNvSpPr>
            <a:spLocks noGrp="1"/>
          </p:cNvSpPr>
          <p:nvPr>
            <p:ph type="body" sz="quarter" idx="10" hasCustomPrompt="1"/>
          </p:nvPr>
        </p:nvSpPr>
        <p:spPr>
          <a:xfrm>
            <a:off x="667407" y="3461188"/>
            <a:ext cx="7344478" cy="662940"/>
          </a:xfrm>
        </p:spPr>
        <p:txBody>
          <a:bodyPr lIns="0" tIns="0" rIns="0" bIns="0">
            <a:normAutofit/>
          </a:bodyPr>
          <a:lstStyle>
            <a:lvl1pPr marL="0" indent="0" algn="l" rtl="0">
              <a:buNone/>
              <a:defRPr sz="2400">
                <a:solidFill>
                  <a:schemeClr val="tx1"/>
                </a:solidFill>
                <a:latin typeface="+mn-lt"/>
                <a:ea typeface="+mn-ea"/>
                <a:cs typeface="+mn-cs"/>
                <a:sym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subtitle style</a:t>
            </a:r>
          </a:p>
        </p:txBody>
      </p:sp>
      <p:sp>
        <p:nvSpPr>
          <p:cNvPr id="19" name="Text Placeholder 2"/>
          <p:cNvSpPr>
            <a:spLocks noGrp="1"/>
          </p:cNvSpPr>
          <p:nvPr>
            <p:ph type="body" sz="quarter" idx="11" hasCustomPrompt="1"/>
          </p:nvPr>
        </p:nvSpPr>
        <p:spPr>
          <a:xfrm>
            <a:off x="667407" y="4198448"/>
            <a:ext cx="7344478" cy="251460"/>
          </a:xfrm>
        </p:spPr>
        <p:txBody>
          <a:bodyPr anchor="ctr"/>
          <a:lstStyle>
            <a:lvl1pPr algn="l" rtl="0">
              <a:defRPr sz="1600" cap="all" baseline="0">
                <a:solidFill>
                  <a:srgbClr val="7F7F7F"/>
                </a:solidFill>
              </a:defRPr>
            </a:lvl1pPr>
          </a:lstStyle>
          <a:p>
            <a:pPr lvl="0"/>
            <a:r>
              <a:rPr lang="en-GB"/>
              <a:t>Click to edit date/place</a:t>
            </a:r>
          </a:p>
        </p:txBody>
      </p:sp>
      <p:pic>
        <p:nvPicPr>
          <p:cNvPr id="23" name="Picture 22"/>
          <p:cNvPicPr>
            <a:picLocks noChangeAspect="1"/>
          </p:cNvPicPr>
          <p:nvPr userDrawn="1"/>
        </p:nvPicPr>
        <p:blipFill rotWithShape="1">
          <a:blip r:embed="rId7"/>
          <a:srcRect/>
          <a:stretch/>
        </p:blipFill>
        <p:spPr>
          <a:xfrm>
            <a:off x="562633" y="3343543"/>
            <a:ext cx="7260614" cy="71407"/>
          </a:xfrm>
          <a:prstGeom prst="rect">
            <a:avLst/>
          </a:prstGeom>
        </p:spPr>
      </p:pic>
      <p:pic>
        <p:nvPicPr>
          <p:cNvPr id="24" name="Picture 23"/>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25" name="Picture 24"/>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12" name="Graphic 11">
            <a:extLst>
              <a:ext uri="{FF2B5EF4-FFF2-40B4-BE49-F238E27FC236}">
                <a16:creationId xmlns:a16="http://schemas.microsoft.com/office/drawing/2014/main" id="{5AC87C00-4530-4921-946F-609091407DDD}"/>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B12B7A-D8A9-C2FE-27B9-13ADBEA7E22C}"/>
              </a:ext>
            </a:extLst>
          </p:cNvPr>
          <p:cNvGraphicFramePr>
            <a:graphicFrameLocks noChangeAspect="1"/>
          </p:cNvGraphicFramePr>
          <p:nvPr userDrawn="1">
            <p:custDataLst>
              <p:tags r:id="rId1"/>
            </p:custDataLst>
            <p:extLst>
              <p:ext uri="{D42A27DB-BD31-4B8C-83A1-F6EECF244321}">
                <p14:modId xmlns:p14="http://schemas.microsoft.com/office/powerpoint/2010/main" val="123740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78B12B7A-D8A9-C2FE-27B9-13ADBEA7E2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rgbClr val="006C67"/>
                </a:solidFill>
                <a:latin typeface="+mj-lt"/>
                <a:sym typeface="Trebuchet MS" panose="020B0603020202020204" pitchFamily="34" charset="0"/>
              </a:defRPr>
            </a:lvl1pPr>
          </a:lstStyle>
          <a:p>
            <a:r>
              <a:rPr lang="en-GB"/>
              <a:t>Click to add title</a:t>
            </a:r>
          </a:p>
        </p:txBody>
      </p:sp>
      <p:pic>
        <p:nvPicPr>
          <p:cNvPr id="10" name="Picture 9">
            <a:extLst>
              <a:ext uri="{FF2B5EF4-FFF2-40B4-BE49-F238E27FC236}">
                <a16:creationId xmlns:a16="http://schemas.microsoft.com/office/drawing/2014/main" id="{97590C66-C85F-4BBA-A4CE-3560223677BB}"/>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87284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0" name="Title 1"/>
          <p:cNvSpPr txBox="1">
            <a:spLocks/>
          </p:cNvSpPr>
          <p:nvPr userDrawn="1"/>
        </p:nvSpPr>
        <p:spPr>
          <a:xfrm>
            <a:off x="4275722" y="622800"/>
            <a:ext cx="7189998" cy="56938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algn="l" rtl="0"/>
            <a:r>
              <a:rPr lang="en-GB" sz="4000" b="1" err="1">
                <a:solidFill>
                  <a:schemeClr val="bg1"/>
                </a:solidFill>
                <a:latin typeface="Sakkal Majalla" panose="02000000000000000000" pitchFamily="2" charset="-78"/>
                <a:cs typeface="Sakkal Majalla" panose="02000000000000000000" pitchFamily="2" charset="-78"/>
              </a:rPr>
              <a:t>الأجندة</a:t>
            </a:r>
            <a:endParaRPr lang="en-GB" sz="4000" b="1">
              <a:solidFill>
                <a:schemeClr val="bg1"/>
              </a:solidFill>
              <a:latin typeface="Sakkal Majalla" panose="02000000000000000000" pitchFamily="2" charset="-78"/>
              <a:cs typeface="Sakkal Majalla" panose="02000000000000000000" pitchFamily="2" charset="-78"/>
            </a:endParaRPr>
          </a:p>
        </p:txBody>
      </p:sp>
      <p:cxnSp>
        <p:nvCxnSpPr>
          <p:cNvPr id="13" name="Straight Connector 12"/>
          <p:cNvCxnSpPr/>
          <p:nvPr userDrawn="1"/>
        </p:nvCxnSpPr>
        <p:spPr bwMode="white">
          <a:xfrm>
            <a:off x="-10665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207A83B2-0391-3A45-D02F-1B1C715FFE22}"/>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30967" y="86239"/>
            <a:ext cx="1190626" cy="350391"/>
          </a:xfrm>
          <a:prstGeom prst="rect">
            <a:avLst/>
          </a:prstGeom>
        </p:spPr>
      </p:pic>
      <p:sp>
        <p:nvSpPr>
          <p:cNvPr id="6" name="Title 8">
            <a:extLst>
              <a:ext uri="{FF2B5EF4-FFF2-40B4-BE49-F238E27FC236}">
                <a16:creationId xmlns:a16="http://schemas.microsoft.com/office/drawing/2014/main" id="{10099F2C-9199-2B69-BFE5-785F0F955D96}"/>
              </a:ext>
            </a:extLst>
          </p:cNvPr>
          <p:cNvSpPr txBox="1">
            <a:spLocks/>
          </p:cNvSpPr>
          <p:nvPr userDrawn="1"/>
        </p:nvSpPr>
        <p:spPr>
          <a:xfrm>
            <a:off x="10008224" y="6544322"/>
            <a:ext cx="1980110" cy="193938"/>
          </a:xfrm>
          <a:prstGeom prst="rect">
            <a:avLst/>
          </a:prstGeom>
          <a:noFill/>
          <a:ln w="9525">
            <a:noFill/>
            <a:miter lim="800000"/>
            <a:headEnd/>
            <a:tailEnd/>
          </a:ln>
        </p:spPr>
        <p:txBody>
          <a:bodyPr vert="horz" wrap="square" lIns="182880" tIns="0" rIns="182880" bIns="0" numCol="1" rtlCol="0" anchor="ctr" anchorCtr="0" compatLnSpc="1">
            <a:prstTxWarp prst="textNoShape">
              <a:avLst/>
            </a:prstTxWarp>
            <a:noAutofit/>
          </a:bodyPr>
          <a:lstStyle>
            <a:defPPr>
              <a:defRPr lang="en-US"/>
            </a:defPPr>
            <a:lvl1pPr lvl="0" algn="r" rtl="1">
              <a:lnSpc>
                <a:spcPct val="100000"/>
              </a:lnSpc>
              <a:spcBef>
                <a:spcPts val="0"/>
              </a:spcBef>
              <a:buNone/>
              <a:defRPr sz="2800" b="1" i="0">
                <a:solidFill>
                  <a:schemeClr val="accent6">
                    <a:lumMod val="75000"/>
                  </a:schemeClr>
                </a:solidFill>
                <a:latin typeface="Traditional Arabic" panose="02010000000000000000" pitchFamily="2" charset="-78"/>
                <a:ea typeface="+mj-ea"/>
                <a:cs typeface="Traditional Arabic Bold" panose="02010000000000000000" pitchFamily="2" charset="-78"/>
              </a:defRPr>
            </a:lvl1pPr>
          </a:lstStyle>
          <a:p>
            <a:pPr algn="l" defTabSz="954436" rtl="0">
              <a:defRPr/>
            </a:pPr>
            <a:r>
              <a:rPr lang="en-GB" sz="1000" b="0" err="1">
                <a:solidFill>
                  <a:schemeClr val="bg1"/>
                </a:solidFill>
                <a:latin typeface="+mj-lt"/>
                <a:cs typeface="Sakkal Majalla" panose="02000000000000000000" pitchFamily="2" charset="-78"/>
                <a:sym typeface="Georgia"/>
              </a:rPr>
              <a:t>مشروع</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بناء</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أدوات</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وأنظمة</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دعم</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القرار</a:t>
            </a:r>
            <a:r>
              <a:rPr lang="en-GB" sz="1000" b="0">
                <a:solidFill>
                  <a:schemeClr val="bg1"/>
                </a:solidFill>
                <a:latin typeface="+mj-lt"/>
                <a:cs typeface="Sakkal Majalla" panose="02000000000000000000" pitchFamily="2" charset="-78"/>
                <a:sym typeface="Georgia"/>
              </a:rPr>
              <a:t>​</a:t>
            </a:r>
          </a:p>
        </p:txBody>
      </p:sp>
      <p:sp>
        <p:nvSpPr>
          <p:cNvPr id="7" name="TextBox 6">
            <a:extLst>
              <a:ext uri="{FF2B5EF4-FFF2-40B4-BE49-F238E27FC236}">
                <a16:creationId xmlns:a16="http://schemas.microsoft.com/office/drawing/2014/main" id="{A5A505AF-F49C-53E3-5589-6D8A53EED73B}"/>
              </a:ext>
            </a:extLst>
          </p:cNvPr>
          <p:cNvSpPr txBox="1"/>
          <p:nvPr userDrawn="1"/>
        </p:nvSpPr>
        <p:spPr bwMode="white">
          <a:xfrm>
            <a:off x="203666" y="6544322"/>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069117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33629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rtl="0">
              <a:lnSpc>
                <a:spcPct val="90000"/>
              </a:lnSpc>
              <a:spcAft>
                <a:spcPts val="600"/>
              </a:spcAft>
            </a:pPr>
            <a:r>
              <a:rPr lang="en-GB" sz="3200">
                <a:solidFill>
                  <a:schemeClr val="bg1"/>
                </a:solidFill>
              </a:rPr>
              <a:t>Agenda</a:t>
            </a:r>
          </a:p>
        </p:txBody>
      </p:sp>
      <p:pic>
        <p:nvPicPr>
          <p:cNvPr id="11" name="Picture 10">
            <a:extLst>
              <a:ext uri="{FF2B5EF4-FFF2-40B4-BE49-F238E27FC236}">
                <a16:creationId xmlns:a16="http://schemas.microsoft.com/office/drawing/2014/main" id="{3EDAD095-F36A-4FD1-9FF5-374BADD56511}"/>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386704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83948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5. All rights reserved.</a:t>
            </a:r>
          </a:p>
        </p:txBody>
      </p:sp>
      <p:sp>
        <p:nvSpPr>
          <p:cNvPr id="8" name="Rectangle 7"/>
          <p:cNvSpPr/>
          <p:nvPr userDrawn="1"/>
        </p:nvSpPr>
        <p:spPr bwMode="invGray">
          <a:xfrm>
            <a:off x="1388145" y="4691187"/>
            <a:ext cx="929337" cy="995874"/>
          </a:xfrm>
          <a:prstGeom prst="rect">
            <a:avLst/>
          </a:prstGeom>
          <a:noFill/>
          <a:ln w="9525">
            <a:solidFill>
              <a:srgbClr val="009A9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09A93"/>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1220467"/>
          </a:xfrm>
          <a:prstGeom prst="rect">
            <a:avLst/>
          </a:prstGeom>
          <a:noFill/>
          <a:ln>
            <a:solidFill>
              <a:srgbClr val="009A93"/>
            </a:solidFill>
          </a:ln>
        </p:spPr>
        <p:txBody>
          <a:bodyPr wrap="square" lIns="612000" tIns="468000" rIns="0" bIns="0" rtlCol="0" anchor="t">
            <a:spAutoFit/>
          </a:bodyPr>
          <a:lstStyle/>
          <a:p>
            <a:pPr rtl="0">
              <a:lnSpc>
                <a:spcPct val="90000"/>
              </a:lnSpc>
              <a:spcAft>
                <a:spcPts val="600"/>
              </a:spcAft>
            </a:pPr>
            <a:endParaRPr lang="en-GB"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GB">
                <a:solidFill>
                  <a:srgbClr val="009A93"/>
                </a:solidFill>
              </a:rPr>
              <a:t>Agenda</a:t>
            </a:r>
          </a:p>
        </p:txBody>
      </p:sp>
    </p:spTree>
    <p:extLst>
      <p:ext uri="{BB962C8B-B14F-4D97-AF65-F5344CB8AC3E}">
        <p14:creationId xmlns:p14="http://schemas.microsoft.com/office/powerpoint/2010/main" val="1905649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679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5. All rights reserved.</a:t>
            </a:r>
          </a:p>
        </p:txBody>
      </p:sp>
      <p:sp>
        <p:nvSpPr>
          <p:cNvPr id="8" name="Rectangle 7"/>
          <p:cNvSpPr/>
          <p:nvPr userDrawn="1"/>
        </p:nvSpPr>
        <p:spPr bwMode="white">
          <a:xfrm>
            <a:off x="1284743" y="1428131"/>
            <a:ext cx="947672" cy="947672"/>
          </a:xfrm>
          <a:prstGeom prst="rect">
            <a:avLst/>
          </a:prstGeom>
          <a:noFill/>
          <a:ln w="9525">
            <a:solidFill>
              <a:srgbClr val="009A9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09A9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2610293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422154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5.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GB">
                <a:solidFill>
                  <a:srgbClr val="009A93"/>
                </a:solidFill>
              </a:rPr>
              <a:t>Agenda</a:t>
            </a:r>
          </a:p>
        </p:txBody>
      </p:sp>
      <p:cxnSp>
        <p:nvCxnSpPr>
          <p:cNvPr id="9" name="Straight Connector 8"/>
          <p:cNvCxnSpPr/>
          <p:nvPr userDrawn="1"/>
        </p:nvCxnSpPr>
        <p:spPr bwMode="white">
          <a:xfrm>
            <a:off x="618898" y="1206000"/>
            <a:ext cx="11576304" cy="0"/>
          </a:xfrm>
          <a:prstGeom prst="line">
            <a:avLst/>
          </a:prstGeom>
          <a:ln w="9525" cmpd="sng">
            <a:solidFill>
              <a:srgbClr val="009A93"/>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61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50246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rtl="0">
              <a:lnSpc>
                <a:spcPct val="90000"/>
              </a:lnSpc>
              <a:spcAft>
                <a:spcPts val="600"/>
              </a:spcAft>
            </a:pPr>
            <a:r>
              <a:rPr lang="en-GB" sz="2400">
                <a:solidFill>
                  <a:schemeClr val="bg1"/>
                </a:solidFill>
              </a:rPr>
              <a:t>Agenda</a:t>
            </a:r>
          </a:p>
        </p:txBody>
      </p:sp>
      <p:pic>
        <p:nvPicPr>
          <p:cNvPr id="11" name="Picture 10">
            <a:extLst>
              <a:ext uri="{FF2B5EF4-FFF2-40B4-BE49-F238E27FC236}">
                <a16:creationId xmlns:a16="http://schemas.microsoft.com/office/drawing/2014/main" id="{984BAE71-B081-4B71-9295-84D1CE06E4CA}"/>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4029892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66222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a:solidFill>
                  <a:srgbClr val="009A93"/>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A92C33A0-3885-4F80-ACAD-7837E31E00B4}"/>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08007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Title slide-1">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E22D126-2F90-F3B1-1660-C26C6513B64C}"/>
              </a:ext>
            </a:extLst>
          </p:cNvPr>
          <p:cNvGraphicFramePr>
            <a:graphicFrameLocks noChangeAspect="1"/>
          </p:cNvGraphicFramePr>
          <p:nvPr userDrawn="1">
            <p:custDataLst>
              <p:tags r:id="rId1"/>
            </p:custDataLst>
            <p:extLst>
              <p:ext uri="{D42A27DB-BD31-4B8C-83A1-F6EECF244321}">
                <p14:modId xmlns:p14="http://schemas.microsoft.com/office/powerpoint/2010/main" val="3403328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9E22D126-2F90-F3B1-1660-C26C6513B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Text Placeholder 56">
            <a:extLst>
              <a:ext uri="{FF2B5EF4-FFF2-40B4-BE49-F238E27FC236}">
                <a16:creationId xmlns:a16="http://schemas.microsoft.com/office/drawing/2014/main" id="{0ECCAB34-A6CA-F9B3-E542-5840E8CABB14}"/>
              </a:ext>
            </a:extLst>
          </p:cNvPr>
          <p:cNvSpPr>
            <a:spLocks noGrp="1"/>
          </p:cNvSpPr>
          <p:nvPr>
            <p:ph type="body" sz="quarter" idx="10" hasCustomPrompt="1"/>
          </p:nvPr>
        </p:nvSpPr>
        <p:spPr>
          <a:xfrm>
            <a:off x="533402" y="1235143"/>
            <a:ext cx="11125200" cy="332399"/>
          </a:xfrm>
          <a:prstGeom prst="rect">
            <a:avLst/>
          </a:prstGeom>
        </p:spPr>
        <p:txBody>
          <a:bodyPr lIns="0" tIns="0" rIns="0" bIns="0" anchor="t"/>
          <a:lstStyle>
            <a:lvl1pPr marL="0" indent="0" algn="r" rtl="0">
              <a:buNone/>
              <a:defRPr sz="1600">
                <a:solidFill>
                  <a:schemeClr val="tx1"/>
                </a:solidFill>
                <a:latin typeface="+mj-lt"/>
              </a:defRPr>
            </a:lvl1pPr>
          </a:lstStyle>
          <a:p>
            <a:pPr lvl="0"/>
            <a:r>
              <a:rPr lang="en-GB"/>
              <a:t>Sub-title</a:t>
            </a:r>
          </a:p>
        </p:txBody>
      </p:sp>
      <p:sp>
        <p:nvSpPr>
          <p:cNvPr id="15" name="Title 14">
            <a:extLst>
              <a:ext uri="{FF2B5EF4-FFF2-40B4-BE49-F238E27FC236}">
                <a16:creationId xmlns:a16="http://schemas.microsoft.com/office/drawing/2014/main" id="{80FC7BFF-DE01-F918-D384-3542A951E3D5}"/>
              </a:ext>
            </a:extLst>
          </p:cNvPr>
          <p:cNvSpPr>
            <a:spLocks noGrp="1"/>
          </p:cNvSpPr>
          <p:nvPr>
            <p:ph type="title" hasCustomPrompt="1"/>
          </p:nvPr>
        </p:nvSpPr>
        <p:spPr>
          <a:xfrm>
            <a:off x="533400" y="419341"/>
            <a:ext cx="10386060" cy="724081"/>
          </a:xfrm>
          <a:prstGeom prst="rect">
            <a:avLst/>
          </a:prstGeom>
        </p:spPr>
        <p:txBody>
          <a:bodyPr vert="horz" lIns="0" tIns="0" rIns="0" bIns="0">
            <a:noAutofit/>
          </a:bodyPr>
          <a:lstStyle>
            <a:lvl1pPr algn="r" rtl="0">
              <a:defRPr sz="2200" b="1">
                <a:solidFill>
                  <a:schemeClr val="accent1"/>
                </a:solidFill>
              </a:defRPr>
            </a:lvl1pPr>
          </a:lstStyle>
          <a:p>
            <a:r>
              <a:rPr lang="en-GB"/>
              <a:t>Title</a:t>
            </a:r>
          </a:p>
        </p:txBody>
      </p:sp>
      <p:sp>
        <p:nvSpPr>
          <p:cNvPr id="19" name="Text Placeholder 18">
            <a:extLst>
              <a:ext uri="{FF2B5EF4-FFF2-40B4-BE49-F238E27FC236}">
                <a16:creationId xmlns:a16="http://schemas.microsoft.com/office/drawing/2014/main" id="{58FA55E6-8F0D-4AB4-36F2-B2DA541D14E7}"/>
              </a:ext>
            </a:extLst>
          </p:cNvPr>
          <p:cNvSpPr>
            <a:spLocks noGrp="1"/>
          </p:cNvSpPr>
          <p:nvPr>
            <p:ph type="body" sz="quarter" idx="11"/>
          </p:nvPr>
        </p:nvSpPr>
        <p:spPr>
          <a:xfrm>
            <a:off x="533402" y="1752600"/>
            <a:ext cx="11125200" cy="4343399"/>
          </a:xfrm>
          <a:prstGeom prst="rect">
            <a:avLst/>
          </a:prstGeom>
        </p:spPr>
        <p:txBody>
          <a:bodyPr lIns="0" tIns="0" rIns="0" bIns="0"/>
          <a:lstStyle>
            <a:lvl1pPr marL="180002" indent="-180002" algn="r" rtl="0">
              <a:lnSpc>
                <a:spcPct val="100000"/>
              </a:lnSpc>
              <a:spcBef>
                <a:spcPts val="0"/>
              </a:spcBef>
              <a:spcAft>
                <a:spcPts val="600"/>
              </a:spcAft>
              <a:defRPr sz="1800"/>
            </a:lvl1pPr>
            <a:lvl2pPr marL="516156" indent="-285753" algn="l">
              <a:defRPr sz="1800"/>
            </a:lvl2pPr>
            <a:lvl3pPr marL="540007" indent="-180002" algn="r" rtl="0">
              <a:lnSpc>
                <a:spcPct val="100000"/>
              </a:lnSpc>
              <a:spcBef>
                <a:spcPts val="0"/>
              </a:spcBef>
              <a:spcAft>
                <a:spcPts val="600"/>
              </a:spcAft>
              <a:defRPr lang="en-US" sz="1800" kern="1200" dirty="0" smtClean="0">
                <a:solidFill>
                  <a:schemeClr val="tx1"/>
                </a:solidFill>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951762" indent="-285753" algn="l">
              <a:defRPr sz="1800"/>
            </a:lvl4pPr>
            <a:lvl5pPr marL="900011" indent="-180002" algn="r" rtl="0">
              <a:lnSpc>
                <a:spcPct val="100000"/>
              </a:lnSpc>
              <a:spcBef>
                <a:spcPts val="0"/>
              </a:spcBef>
              <a:spcAft>
                <a:spcPts val="600"/>
              </a:spcAft>
              <a:defRPr lang="en-US" sz="1800" kern="1200" dirty="0" smtClean="0">
                <a:solidFill>
                  <a:schemeClr val="tx1"/>
                </a:solidFill>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stStyle>
          <a:p>
            <a:pPr lvl="0"/>
            <a:r>
              <a:rPr lang="en-GB"/>
              <a:t>Click to edit Master text styles</a:t>
            </a:r>
          </a:p>
          <a:p>
            <a:pPr marL="439206" lvl="2" indent="-208803" algn="l" defTabSz="914411" rtl="0" eaLnBrk="1" latinLnBrk="0" hangingPunct="1">
              <a:lnSpc>
                <a:spcPct val="100000"/>
              </a:lnSpc>
              <a:spcBef>
                <a:spcPts val="0"/>
              </a:spcBef>
              <a:spcAft>
                <a:spcPts val="300"/>
              </a:spcAft>
              <a:buSzPct val="110000"/>
              <a:buFont typeface="Arial" panose="020B0604020202020204" pitchFamily="34" charset="0"/>
              <a:buChar char="‒"/>
            </a:pPr>
            <a:r>
              <a:rPr lang="en-GB"/>
              <a:t>Second level</a:t>
            </a:r>
          </a:p>
          <a:p>
            <a:pPr lvl="2"/>
            <a:r>
              <a:rPr lang="en-GB"/>
              <a:t>Third level</a:t>
            </a:r>
          </a:p>
          <a:p>
            <a:pPr marL="813610" lvl="4" indent="-147602" algn="l" defTabSz="914411" rtl="0" eaLnBrk="1" latinLnBrk="0" hangingPunct="1">
              <a:lnSpc>
                <a:spcPct val="100000"/>
              </a:lnSpc>
              <a:spcBef>
                <a:spcPts val="0"/>
              </a:spcBef>
              <a:spcAft>
                <a:spcPts val="300"/>
              </a:spcAft>
              <a:buSzPct val="100000"/>
              <a:buFont typeface="Arial" panose="020B0604020202020204" pitchFamily="34" charset="0"/>
              <a:buChar char="̶"/>
            </a:pPr>
            <a:r>
              <a:rPr lang="en-GB"/>
              <a:t>Fourth level</a:t>
            </a:r>
          </a:p>
        </p:txBody>
      </p:sp>
      <p:sp>
        <p:nvSpPr>
          <p:cNvPr id="30" name="Text Placeholder 29">
            <a:extLst>
              <a:ext uri="{FF2B5EF4-FFF2-40B4-BE49-F238E27FC236}">
                <a16:creationId xmlns:a16="http://schemas.microsoft.com/office/drawing/2014/main" id="{CF5B1B72-F00F-6139-E29F-46870D31571B}"/>
              </a:ext>
            </a:extLst>
          </p:cNvPr>
          <p:cNvSpPr>
            <a:spLocks noGrp="1"/>
          </p:cNvSpPr>
          <p:nvPr>
            <p:ph type="body" sz="quarter" idx="12" hasCustomPrompt="1"/>
          </p:nvPr>
        </p:nvSpPr>
        <p:spPr>
          <a:xfrm>
            <a:off x="533402" y="6438900"/>
            <a:ext cx="10096500" cy="200025"/>
          </a:xfrm>
          <a:prstGeom prst="rect">
            <a:avLst/>
          </a:prstGeom>
        </p:spPr>
        <p:txBody>
          <a:bodyPr lIns="0" tIns="0" rIns="0" bIns="0"/>
          <a:lstStyle>
            <a:lvl1pPr marL="0" indent="0" algn="r" rtl="0">
              <a:buNone/>
              <a:defRPr sz="800"/>
            </a:lvl1pPr>
          </a:lstStyle>
          <a:p>
            <a:pPr lvl="0"/>
            <a:r>
              <a:rPr lang="en-GB"/>
              <a:t>Source</a:t>
            </a:r>
          </a:p>
        </p:txBody>
      </p:sp>
      <p:sp>
        <p:nvSpPr>
          <p:cNvPr id="5" name="Rectangle 4">
            <a:extLst>
              <a:ext uri="{FF2B5EF4-FFF2-40B4-BE49-F238E27FC236}">
                <a16:creationId xmlns:a16="http://schemas.microsoft.com/office/drawing/2014/main" id="{07330E49-09C5-D143-055A-89E940141120}"/>
              </a:ext>
            </a:extLst>
          </p:cNvPr>
          <p:cNvSpPr/>
          <p:nvPr userDrawn="1"/>
        </p:nvSpPr>
        <p:spPr>
          <a:xfrm>
            <a:off x="10919462" y="6439081"/>
            <a:ext cx="739138" cy="199664"/>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r" defTabSz="914411" rtl="0" eaLnBrk="1" fontAlgn="auto" latinLnBrk="0" hangingPunct="0">
              <a:lnSpc>
                <a:spcPct val="100000"/>
              </a:lnSpc>
              <a:spcBef>
                <a:spcPts val="0"/>
              </a:spcBef>
              <a:spcAft>
                <a:spcPts val="0"/>
              </a:spcAft>
              <a:buClrTx/>
              <a:buSzTx/>
              <a:buFontTx/>
              <a:buNone/>
              <a:tabLst/>
              <a:defRPr/>
            </a:pPr>
            <a:fld id="{7D714CAC-FCAC-4601-B85B-8D52F293D633}" type="slidenum">
              <a:rPr kumimoji="0" lang="en-GB" sz="1200" b="0" i="0" u="none" strike="noStrike" kern="1200" cap="none" spc="0" normalizeH="0" baseline="0" noProof="0" smtClean="0">
                <a:ln>
                  <a:noFill/>
                </a:ln>
                <a:solidFill>
                  <a:srgbClr val="026D68"/>
                </a:solidFill>
                <a:effectLst/>
                <a:uLnTx/>
                <a:uFillTx/>
                <a:latin typeface="Arial"/>
                <a:ea typeface="+mn-ea"/>
                <a:cs typeface="DIN Next LT Arabic"/>
              </a:rPr>
              <a:pPr marL="0" marR="0" lvl="0" indent="0" algn="r" defTabSz="914411" rtl="0" eaLnBrk="1" fontAlgn="auto" latinLnBrk="0" hangingPunct="0">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srgbClr val="026D68"/>
              </a:solidFill>
              <a:effectLst/>
              <a:uLnTx/>
              <a:uFillTx/>
              <a:latin typeface="Arial"/>
              <a:ea typeface="+mn-ea"/>
              <a:cs typeface="DIN Next LT Arabic"/>
              <a:sym typeface="TheSansArab-Light"/>
            </a:endParaRPr>
          </a:p>
        </p:txBody>
      </p:sp>
      <p:sp>
        <p:nvSpPr>
          <p:cNvPr id="7" name="Rectangle 6">
            <a:extLst>
              <a:ext uri="{FF2B5EF4-FFF2-40B4-BE49-F238E27FC236}">
                <a16:creationId xmlns:a16="http://schemas.microsoft.com/office/drawing/2014/main" id="{AF7DAE31-D2F4-DF7A-D43D-6FB1E568B831}"/>
              </a:ext>
            </a:extLst>
          </p:cNvPr>
          <p:cNvSpPr/>
          <p:nvPr userDrawn="1"/>
        </p:nvSpPr>
        <p:spPr>
          <a:xfrm>
            <a:off x="533402" y="6683314"/>
            <a:ext cx="739138" cy="199664"/>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l" defTabSz="914411" rtl="0" eaLnBrk="1" fontAlgn="auto" latinLnBrk="0" hangingPunct="0">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26D68"/>
              </a:solidFill>
              <a:effectLst/>
              <a:uLnTx/>
              <a:uFillTx/>
              <a:latin typeface="Arial"/>
              <a:ea typeface="+mn-ea"/>
              <a:cs typeface="DIN Next LT Arabic"/>
            </a:endParaRPr>
          </a:p>
        </p:txBody>
      </p:sp>
      <p:cxnSp>
        <p:nvCxnSpPr>
          <p:cNvPr id="4" name="Straight Connector 3">
            <a:extLst>
              <a:ext uri="{FF2B5EF4-FFF2-40B4-BE49-F238E27FC236}">
                <a16:creationId xmlns:a16="http://schemas.microsoft.com/office/drawing/2014/main" id="{29AB7012-8AE2-EA69-B12D-569851AAF675}"/>
              </a:ext>
            </a:extLst>
          </p:cNvPr>
          <p:cNvCxnSpPr>
            <a:cxnSpLocks/>
          </p:cNvCxnSpPr>
          <p:nvPr userDrawn="1"/>
        </p:nvCxnSpPr>
        <p:spPr>
          <a:xfrm flipH="1">
            <a:off x="533402" y="6312286"/>
            <a:ext cx="11125200" cy="0"/>
          </a:xfrm>
          <a:prstGeom prst="line">
            <a:avLst/>
          </a:prstGeom>
          <a:noFill/>
          <a:ln w="12700" cap="flat">
            <a:gradFill flip="none" rotWithShape="1">
              <a:gsLst>
                <a:gs pos="0">
                  <a:schemeClr val="accent2"/>
                </a:gs>
                <a:gs pos="100000">
                  <a:schemeClr val="accent1"/>
                </a:gs>
              </a:gsLst>
              <a:path path="circle">
                <a:fillToRect l="100000" t="100000"/>
              </a:path>
              <a:tileRect r="-100000" b="-100000"/>
            </a:gradFill>
            <a:prstDash val="solid"/>
            <a:miter lim="800000"/>
          </a:ln>
          <a:effectLst/>
          <a:sp3d/>
        </p:spPr>
        <p:style>
          <a:lnRef idx="0">
            <a:scrgbClr r="0" g="0" b="0"/>
          </a:lnRef>
          <a:fillRef idx="0">
            <a:scrgbClr r="0" g="0" b="0"/>
          </a:fillRef>
          <a:effectRef idx="0">
            <a:scrgbClr r="0" g="0" b="0"/>
          </a:effectRef>
          <a:fontRef idx="none"/>
        </p:style>
      </p:cxnSp>
      <p:grpSp>
        <p:nvGrpSpPr>
          <p:cNvPr id="3" name="Group 2">
            <a:extLst>
              <a:ext uri="{FF2B5EF4-FFF2-40B4-BE49-F238E27FC236}">
                <a16:creationId xmlns:a16="http://schemas.microsoft.com/office/drawing/2014/main" id="{655F4DC6-0D89-7BC2-A095-9799E10E2CC0}"/>
              </a:ext>
            </a:extLst>
          </p:cNvPr>
          <p:cNvGrpSpPr/>
          <p:nvPr userDrawn="1"/>
        </p:nvGrpSpPr>
        <p:grpSpPr>
          <a:xfrm>
            <a:off x="-326713" y="0"/>
            <a:ext cx="257205" cy="6829500"/>
            <a:chOff x="-326714" y="0"/>
            <a:chExt cx="257205" cy="6829500"/>
          </a:xfrm>
        </p:grpSpPr>
        <p:grpSp>
          <p:nvGrpSpPr>
            <p:cNvPr id="10" name="Group 9">
              <a:extLst>
                <a:ext uri="{FF2B5EF4-FFF2-40B4-BE49-F238E27FC236}">
                  <a16:creationId xmlns:a16="http://schemas.microsoft.com/office/drawing/2014/main" id="{857F337F-91DD-DFF9-D4C6-913964325D10}"/>
                </a:ext>
              </a:extLst>
            </p:cNvPr>
            <p:cNvGrpSpPr/>
            <p:nvPr userDrawn="1"/>
          </p:nvGrpSpPr>
          <p:grpSpPr>
            <a:xfrm>
              <a:off x="-326714" y="0"/>
              <a:ext cx="257205" cy="565199"/>
              <a:chOff x="-326714" y="0"/>
              <a:chExt cx="257205" cy="565199"/>
            </a:xfrm>
          </p:grpSpPr>
          <p:sp>
            <p:nvSpPr>
              <p:cNvPr id="40" name="Rectangle 39">
                <a:extLst>
                  <a:ext uri="{FF2B5EF4-FFF2-40B4-BE49-F238E27FC236}">
                    <a16:creationId xmlns:a16="http://schemas.microsoft.com/office/drawing/2014/main" id="{A148C18A-0B31-AD7D-EBC2-861C2808C3D2}"/>
                  </a:ext>
                </a:extLst>
              </p:cNvPr>
              <p:cNvSpPr/>
              <p:nvPr userDrawn="1"/>
            </p:nvSpPr>
            <p:spPr>
              <a:xfrm>
                <a:off x="-326714" y="0"/>
                <a:ext cx="257205" cy="268349"/>
              </a:xfrm>
              <a:prstGeom prst="rect">
                <a:avLst/>
              </a:prstGeom>
              <a:solidFill>
                <a:schemeClr val="accent1">
                  <a:lumMod val="5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41" name="Rectangle 40">
                <a:extLst>
                  <a:ext uri="{FF2B5EF4-FFF2-40B4-BE49-F238E27FC236}">
                    <a16:creationId xmlns:a16="http://schemas.microsoft.com/office/drawing/2014/main" id="{00A1DA07-9C77-8D1C-9305-7A881EE45400}"/>
                  </a:ext>
                </a:extLst>
              </p:cNvPr>
              <p:cNvSpPr/>
              <p:nvPr userDrawn="1"/>
            </p:nvSpPr>
            <p:spPr>
              <a:xfrm>
                <a:off x="-326714" y="296850"/>
                <a:ext cx="257205" cy="268349"/>
              </a:xfrm>
              <a:prstGeom prst="rect">
                <a:avLst/>
              </a:prstGeom>
              <a:solidFill>
                <a:schemeClr val="accent1"/>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1" name="Group 10">
              <a:extLst>
                <a:ext uri="{FF2B5EF4-FFF2-40B4-BE49-F238E27FC236}">
                  <a16:creationId xmlns:a16="http://schemas.microsoft.com/office/drawing/2014/main" id="{B4125109-7D6D-6E5C-1D96-F8ACB6184125}"/>
                </a:ext>
              </a:extLst>
            </p:cNvPr>
            <p:cNvGrpSpPr/>
            <p:nvPr userDrawn="1"/>
          </p:nvGrpSpPr>
          <p:grpSpPr>
            <a:xfrm>
              <a:off x="-326714" y="682864"/>
              <a:ext cx="257205" cy="565199"/>
              <a:chOff x="-326714" y="593700"/>
              <a:chExt cx="257205" cy="565199"/>
            </a:xfrm>
          </p:grpSpPr>
          <p:sp>
            <p:nvSpPr>
              <p:cNvPr id="38" name="Rectangle 37">
                <a:extLst>
                  <a:ext uri="{FF2B5EF4-FFF2-40B4-BE49-F238E27FC236}">
                    <a16:creationId xmlns:a16="http://schemas.microsoft.com/office/drawing/2014/main" id="{CA8A6890-395D-5BE6-82EB-C9A9BE469611}"/>
                  </a:ext>
                </a:extLst>
              </p:cNvPr>
              <p:cNvSpPr/>
              <p:nvPr userDrawn="1"/>
            </p:nvSpPr>
            <p:spPr>
              <a:xfrm>
                <a:off x="-326714" y="890550"/>
                <a:ext cx="257205" cy="268349"/>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9" name="Rectangle 38">
                <a:extLst>
                  <a:ext uri="{FF2B5EF4-FFF2-40B4-BE49-F238E27FC236}">
                    <a16:creationId xmlns:a16="http://schemas.microsoft.com/office/drawing/2014/main" id="{D4644D42-F801-8F77-111E-AE85E49818D5}"/>
                  </a:ext>
                </a:extLst>
              </p:cNvPr>
              <p:cNvSpPr/>
              <p:nvPr userDrawn="1"/>
            </p:nvSpPr>
            <p:spPr>
              <a:xfrm>
                <a:off x="-326714" y="593700"/>
                <a:ext cx="257205" cy="268349"/>
              </a:xfrm>
              <a:prstGeom prst="rect">
                <a:avLst/>
              </a:prstGeom>
              <a:solidFill>
                <a:schemeClr val="accent2">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2" name="Group 11">
              <a:extLst>
                <a:ext uri="{FF2B5EF4-FFF2-40B4-BE49-F238E27FC236}">
                  <a16:creationId xmlns:a16="http://schemas.microsoft.com/office/drawing/2014/main" id="{AA25D14D-1FA7-0927-E387-B737C54B1189}"/>
                </a:ext>
              </a:extLst>
            </p:cNvPr>
            <p:cNvGrpSpPr/>
            <p:nvPr userDrawn="1"/>
          </p:nvGrpSpPr>
          <p:grpSpPr>
            <a:xfrm>
              <a:off x="-326714" y="1365728"/>
              <a:ext cx="257205" cy="565201"/>
              <a:chOff x="-326714" y="1187399"/>
              <a:chExt cx="257205" cy="565201"/>
            </a:xfrm>
          </p:grpSpPr>
          <p:sp>
            <p:nvSpPr>
              <p:cNvPr id="36" name="Rectangle 35">
                <a:extLst>
                  <a:ext uri="{FF2B5EF4-FFF2-40B4-BE49-F238E27FC236}">
                    <a16:creationId xmlns:a16="http://schemas.microsoft.com/office/drawing/2014/main" id="{3D408C80-A421-0B61-EF5E-E1D90C30924F}"/>
                  </a:ext>
                </a:extLst>
              </p:cNvPr>
              <p:cNvSpPr/>
              <p:nvPr userDrawn="1"/>
            </p:nvSpPr>
            <p:spPr>
              <a:xfrm>
                <a:off x="-326714" y="1187399"/>
                <a:ext cx="257205" cy="268349"/>
              </a:xfrm>
              <a:prstGeom prst="rect">
                <a:avLst/>
              </a:prstGeom>
              <a:solidFill>
                <a:schemeClr val="accent3">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7" name="Rectangle 36">
                <a:extLst>
                  <a:ext uri="{FF2B5EF4-FFF2-40B4-BE49-F238E27FC236}">
                    <a16:creationId xmlns:a16="http://schemas.microsoft.com/office/drawing/2014/main" id="{45DD87E2-02B4-CA8A-84D1-06BB37F18D13}"/>
                  </a:ext>
                </a:extLst>
              </p:cNvPr>
              <p:cNvSpPr/>
              <p:nvPr userDrawn="1"/>
            </p:nvSpPr>
            <p:spPr>
              <a:xfrm>
                <a:off x="-326714" y="1484251"/>
                <a:ext cx="257205" cy="268349"/>
              </a:xfrm>
              <a:prstGeom prst="rect">
                <a:avLst/>
              </a:prstGeom>
              <a:solidFill>
                <a:schemeClr val="accent3"/>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3" name="Group 12">
              <a:extLst>
                <a:ext uri="{FF2B5EF4-FFF2-40B4-BE49-F238E27FC236}">
                  <a16:creationId xmlns:a16="http://schemas.microsoft.com/office/drawing/2014/main" id="{5D407563-E70D-554E-3F44-56F0BC489616}"/>
                </a:ext>
              </a:extLst>
            </p:cNvPr>
            <p:cNvGrpSpPr/>
            <p:nvPr userDrawn="1"/>
          </p:nvGrpSpPr>
          <p:grpSpPr>
            <a:xfrm>
              <a:off x="-326714" y="2048594"/>
              <a:ext cx="257205" cy="862049"/>
              <a:chOff x="-326714" y="1781103"/>
              <a:chExt cx="257205" cy="862049"/>
            </a:xfrm>
          </p:grpSpPr>
          <p:sp>
            <p:nvSpPr>
              <p:cNvPr id="33" name="Rectangle 32">
                <a:extLst>
                  <a:ext uri="{FF2B5EF4-FFF2-40B4-BE49-F238E27FC236}">
                    <a16:creationId xmlns:a16="http://schemas.microsoft.com/office/drawing/2014/main" id="{C3139AAD-2AE3-A8F2-C74B-DC39DD0F2BEF}"/>
                  </a:ext>
                </a:extLst>
              </p:cNvPr>
              <p:cNvSpPr/>
              <p:nvPr userDrawn="1"/>
            </p:nvSpPr>
            <p:spPr>
              <a:xfrm>
                <a:off x="-326714" y="1781103"/>
                <a:ext cx="257205" cy="268349"/>
              </a:xfrm>
              <a:prstGeom prst="rect">
                <a:avLst/>
              </a:prstGeom>
              <a:solidFill>
                <a:schemeClr val="accent4">
                  <a:lumMod val="5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4" name="Rectangle 33">
                <a:extLst>
                  <a:ext uri="{FF2B5EF4-FFF2-40B4-BE49-F238E27FC236}">
                    <a16:creationId xmlns:a16="http://schemas.microsoft.com/office/drawing/2014/main" id="{20A01CA8-2A54-80E3-5F24-1867A04AC1A2}"/>
                  </a:ext>
                </a:extLst>
              </p:cNvPr>
              <p:cNvSpPr/>
              <p:nvPr userDrawn="1"/>
            </p:nvSpPr>
            <p:spPr>
              <a:xfrm>
                <a:off x="-326714" y="2077953"/>
                <a:ext cx="257205" cy="268349"/>
              </a:xfrm>
              <a:prstGeom prst="rect">
                <a:avLst/>
              </a:prstGeom>
              <a:solidFill>
                <a:schemeClr val="accent4">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5" name="Rectangle 34">
                <a:extLst>
                  <a:ext uri="{FF2B5EF4-FFF2-40B4-BE49-F238E27FC236}">
                    <a16:creationId xmlns:a16="http://schemas.microsoft.com/office/drawing/2014/main" id="{8D136C36-64F5-0450-EFA6-C60719517F14}"/>
                  </a:ext>
                </a:extLst>
              </p:cNvPr>
              <p:cNvSpPr/>
              <p:nvPr userDrawn="1"/>
            </p:nvSpPr>
            <p:spPr>
              <a:xfrm>
                <a:off x="-326714" y="2374803"/>
                <a:ext cx="257205" cy="268349"/>
              </a:xfrm>
              <a:prstGeom prst="rect">
                <a:avLst/>
              </a:prstGeom>
              <a:solidFill>
                <a:schemeClr val="accent4"/>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4" name="Group 13">
              <a:extLst>
                <a:ext uri="{FF2B5EF4-FFF2-40B4-BE49-F238E27FC236}">
                  <a16:creationId xmlns:a16="http://schemas.microsoft.com/office/drawing/2014/main" id="{69068054-56F5-540F-B87C-EE7F1037750C}"/>
                </a:ext>
              </a:extLst>
            </p:cNvPr>
            <p:cNvGrpSpPr/>
            <p:nvPr userDrawn="1"/>
          </p:nvGrpSpPr>
          <p:grpSpPr>
            <a:xfrm>
              <a:off x="-326714" y="3028308"/>
              <a:ext cx="257205" cy="862050"/>
              <a:chOff x="-326714" y="2671653"/>
              <a:chExt cx="257205" cy="862050"/>
            </a:xfrm>
          </p:grpSpPr>
          <p:sp>
            <p:nvSpPr>
              <p:cNvPr id="29" name="Rectangle 28">
                <a:extLst>
                  <a:ext uri="{FF2B5EF4-FFF2-40B4-BE49-F238E27FC236}">
                    <a16:creationId xmlns:a16="http://schemas.microsoft.com/office/drawing/2014/main" id="{728879C4-2FEB-ED84-DDD3-F5E97A93B8A5}"/>
                  </a:ext>
                </a:extLst>
              </p:cNvPr>
              <p:cNvSpPr/>
              <p:nvPr userDrawn="1"/>
            </p:nvSpPr>
            <p:spPr>
              <a:xfrm>
                <a:off x="-326714" y="2671653"/>
                <a:ext cx="257205" cy="268349"/>
              </a:xfrm>
              <a:prstGeom prst="rect">
                <a:avLst/>
              </a:prstGeom>
              <a:solidFill>
                <a:schemeClr val="accent5">
                  <a:lumMod val="5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1" name="Rectangle 30">
                <a:extLst>
                  <a:ext uri="{FF2B5EF4-FFF2-40B4-BE49-F238E27FC236}">
                    <a16:creationId xmlns:a16="http://schemas.microsoft.com/office/drawing/2014/main" id="{2FC4AC54-7ECE-003F-CBE1-98686811E65E}"/>
                  </a:ext>
                </a:extLst>
              </p:cNvPr>
              <p:cNvSpPr/>
              <p:nvPr userDrawn="1"/>
            </p:nvSpPr>
            <p:spPr>
              <a:xfrm>
                <a:off x="-326714" y="2968502"/>
                <a:ext cx="257205" cy="268349"/>
              </a:xfrm>
              <a:prstGeom prst="rect">
                <a:avLst/>
              </a:prstGeom>
              <a:solidFill>
                <a:schemeClr val="accent5"/>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2" name="Rectangle 31">
                <a:extLst>
                  <a:ext uri="{FF2B5EF4-FFF2-40B4-BE49-F238E27FC236}">
                    <a16:creationId xmlns:a16="http://schemas.microsoft.com/office/drawing/2014/main" id="{76C5D677-D68D-6A1D-6AE6-BE0084542F50}"/>
                  </a:ext>
                </a:extLst>
              </p:cNvPr>
              <p:cNvSpPr/>
              <p:nvPr userDrawn="1"/>
            </p:nvSpPr>
            <p:spPr>
              <a:xfrm>
                <a:off x="-326714" y="3265354"/>
                <a:ext cx="257205" cy="268349"/>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6" name="Group 15">
              <a:extLst>
                <a:ext uri="{FF2B5EF4-FFF2-40B4-BE49-F238E27FC236}">
                  <a16:creationId xmlns:a16="http://schemas.microsoft.com/office/drawing/2014/main" id="{11AFC8E7-6BB2-8084-D61A-98C2BE2BFC48}"/>
                </a:ext>
              </a:extLst>
            </p:cNvPr>
            <p:cNvGrpSpPr/>
            <p:nvPr userDrawn="1"/>
          </p:nvGrpSpPr>
          <p:grpSpPr>
            <a:xfrm>
              <a:off x="-326714" y="4008023"/>
              <a:ext cx="257205" cy="862049"/>
              <a:chOff x="-326714" y="3562206"/>
              <a:chExt cx="257205" cy="862049"/>
            </a:xfrm>
          </p:grpSpPr>
          <p:sp>
            <p:nvSpPr>
              <p:cNvPr id="26" name="Rectangle 25">
                <a:extLst>
                  <a:ext uri="{FF2B5EF4-FFF2-40B4-BE49-F238E27FC236}">
                    <a16:creationId xmlns:a16="http://schemas.microsoft.com/office/drawing/2014/main" id="{2AEBF6AF-B050-A7AF-9ABF-B40C03623D6D}"/>
                  </a:ext>
                </a:extLst>
              </p:cNvPr>
              <p:cNvSpPr/>
              <p:nvPr userDrawn="1"/>
            </p:nvSpPr>
            <p:spPr>
              <a:xfrm>
                <a:off x="-326714" y="3562206"/>
                <a:ext cx="257205" cy="268349"/>
              </a:xfrm>
              <a:prstGeom prst="rect">
                <a:avLst/>
              </a:prstGeom>
              <a:solidFill>
                <a:schemeClr val="accent6">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7" name="Rectangle 26">
                <a:extLst>
                  <a:ext uri="{FF2B5EF4-FFF2-40B4-BE49-F238E27FC236}">
                    <a16:creationId xmlns:a16="http://schemas.microsoft.com/office/drawing/2014/main" id="{5E92805B-5E11-37F2-5C87-7832C191D141}"/>
                  </a:ext>
                </a:extLst>
              </p:cNvPr>
              <p:cNvSpPr/>
              <p:nvPr userDrawn="1"/>
            </p:nvSpPr>
            <p:spPr>
              <a:xfrm>
                <a:off x="-326714" y="3859056"/>
                <a:ext cx="257205" cy="268349"/>
              </a:xfrm>
              <a:prstGeom prst="rect">
                <a:avLst/>
              </a:prstGeom>
              <a:solidFill>
                <a:schemeClr val="accent6"/>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8" name="Rectangle 27">
                <a:extLst>
                  <a:ext uri="{FF2B5EF4-FFF2-40B4-BE49-F238E27FC236}">
                    <a16:creationId xmlns:a16="http://schemas.microsoft.com/office/drawing/2014/main" id="{BAFDB944-42AA-E6A1-72B0-25417E665240}"/>
                  </a:ext>
                </a:extLst>
              </p:cNvPr>
              <p:cNvSpPr/>
              <p:nvPr userDrawn="1"/>
            </p:nvSpPr>
            <p:spPr>
              <a:xfrm>
                <a:off x="-326714" y="4155906"/>
                <a:ext cx="257205" cy="268349"/>
              </a:xfrm>
              <a:prstGeom prst="rect">
                <a:avLst/>
              </a:prstGeom>
              <a:solidFill>
                <a:schemeClr val="accent6">
                  <a:lumMod val="20000"/>
                  <a:lumOff val="8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7" name="Group 16">
              <a:extLst>
                <a:ext uri="{FF2B5EF4-FFF2-40B4-BE49-F238E27FC236}">
                  <a16:creationId xmlns:a16="http://schemas.microsoft.com/office/drawing/2014/main" id="{F5E40496-8EF5-2132-05E0-88F2DC6E187D}"/>
                </a:ext>
              </a:extLst>
            </p:cNvPr>
            <p:cNvGrpSpPr/>
            <p:nvPr userDrawn="1"/>
          </p:nvGrpSpPr>
          <p:grpSpPr>
            <a:xfrm>
              <a:off x="-326714" y="4987737"/>
              <a:ext cx="257205" cy="862049"/>
              <a:chOff x="-326714" y="4452756"/>
              <a:chExt cx="257205" cy="862049"/>
            </a:xfrm>
          </p:grpSpPr>
          <p:sp>
            <p:nvSpPr>
              <p:cNvPr id="23" name="Rectangle 22">
                <a:extLst>
                  <a:ext uri="{FF2B5EF4-FFF2-40B4-BE49-F238E27FC236}">
                    <a16:creationId xmlns:a16="http://schemas.microsoft.com/office/drawing/2014/main" id="{1E505D23-9704-954E-0DD7-A55A8BBBBA7D}"/>
                  </a:ext>
                </a:extLst>
              </p:cNvPr>
              <p:cNvSpPr/>
              <p:nvPr userDrawn="1"/>
            </p:nvSpPr>
            <p:spPr>
              <a:xfrm>
                <a:off x="-326714" y="4452756"/>
                <a:ext cx="257205" cy="268349"/>
              </a:xfrm>
              <a:prstGeom prst="rect">
                <a:avLst/>
              </a:prstGeom>
              <a:solidFill>
                <a:srgbClr val="EF5F07">
                  <a:lumMod val="75000"/>
                </a:srgb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4" name="Rectangle 23">
                <a:extLst>
                  <a:ext uri="{FF2B5EF4-FFF2-40B4-BE49-F238E27FC236}">
                    <a16:creationId xmlns:a16="http://schemas.microsoft.com/office/drawing/2014/main" id="{B3C9864F-473D-2318-F942-418BA58AC4F7}"/>
                  </a:ext>
                </a:extLst>
              </p:cNvPr>
              <p:cNvSpPr/>
              <p:nvPr userDrawn="1"/>
            </p:nvSpPr>
            <p:spPr>
              <a:xfrm>
                <a:off x="-326714" y="4749606"/>
                <a:ext cx="257205" cy="268349"/>
              </a:xfrm>
              <a:prstGeom prst="rect">
                <a:avLst/>
              </a:prstGeom>
              <a:solidFill>
                <a:srgbClr val="F36107"/>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5" name="Rectangle 24">
                <a:extLst>
                  <a:ext uri="{FF2B5EF4-FFF2-40B4-BE49-F238E27FC236}">
                    <a16:creationId xmlns:a16="http://schemas.microsoft.com/office/drawing/2014/main" id="{FF9E4117-43A7-B10C-C6BC-8723FC6B7F4F}"/>
                  </a:ext>
                </a:extLst>
              </p:cNvPr>
              <p:cNvSpPr/>
              <p:nvPr userDrawn="1"/>
            </p:nvSpPr>
            <p:spPr>
              <a:xfrm>
                <a:off x="-326714" y="5046456"/>
                <a:ext cx="257205" cy="268349"/>
              </a:xfrm>
              <a:prstGeom prst="rect">
                <a:avLst/>
              </a:prstGeom>
              <a:solidFill>
                <a:srgbClr val="FBAB79"/>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8" name="Group 17">
              <a:extLst>
                <a:ext uri="{FF2B5EF4-FFF2-40B4-BE49-F238E27FC236}">
                  <a16:creationId xmlns:a16="http://schemas.microsoft.com/office/drawing/2014/main" id="{41ED7C40-31D8-421F-33A3-290491FB7321}"/>
                </a:ext>
              </a:extLst>
            </p:cNvPr>
            <p:cNvGrpSpPr/>
            <p:nvPr userDrawn="1"/>
          </p:nvGrpSpPr>
          <p:grpSpPr>
            <a:xfrm>
              <a:off x="-326714" y="5967450"/>
              <a:ext cx="257205" cy="862050"/>
              <a:chOff x="-326714" y="5343306"/>
              <a:chExt cx="257205" cy="862050"/>
            </a:xfrm>
          </p:grpSpPr>
          <p:sp>
            <p:nvSpPr>
              <p:cNvPr id="20" name="Rectangle 19">
                <a:extLst>
                  <a:ext uri="{FF2B5EF4-FFF2-40B4-BE49-F238E27FC236}">
                    <a16:creationId xmlns:a16="http://schemas.microsoft.com/office/drawing/2014/main" id="{78A607E8-5CD6-C0D2-1200-B8600DCB47BC}"/>
                  </a:ext>
                </a:extLst>
              </p:cNvPr>
              <p:cNvSpPr/>
              <p:nvPr userDrawn="1"/>
            </p:nvSpPr>
            <p:spPr>
              <a:xfrm>
                <a:off x="-326714" y="5343306"/>
                <a:ext cx="257205" cy="268349"/>
              </a:xfrm>
              <a:prstGeom prst="rect">
                <a:avLst/>
              </a:prstGeom>
              <a:solidFill>
                <a:srgbClr val="6C89A8"/>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1" name="Rectangle 20">
                <a:extLst>
                  <a:ext uri="{FF2B5EF4-FFF2-40B4-BE49-F238E27FC236}">
                    <a16:creationId xmlns:a16="http://schemas.microsoft.com/office/drawing/2014/main" id="{D4789B35-6228-4F26-CBE2-CA79FEBD6B6A}"/>
                  </a:ext>
                </a:extLst>
              </p:cNvPr>
              <p:cNvSpPr/>
              <p:nvPr userDrawn="1"/>
            </p:nvSpPr>
            <p:spPr>
              <a:xfrm>
                <a:off x="-326714" y="5640155"/>
                <a:ext cx="257205" cy="268349"/>
              </a:xfrm>
              <a:prstGeom prst="rect">
                <a:avLst/>
              </a:prstGeom>
              <a:solidFill>
                <a:srgbClr val="ADBDCF"/>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2" name="Rectangle 21">
                <a:extLst>
                  <a:ext uri="{FF2B5EF4-FFF2-40B4-BE49-F238E27FC236}">
                    <a16:creationId xmlns:a16="http://schemas.microsoft.com/office/drawing/2014/main" id="{46DFE7B4-D3DE-D47D-CFE1-3C36A5AC7A86}"/>
                  </a:ext>
                </a:extLst>
              </p:cNvPr>
              <p:cNvSpPr/>
              <p:nvPr userDrawn="1"/>
            </p:nvSpPr>
            <p:spPr>
              <a:xfrm>
                <a:off x="-326714" y="5937007"/>
                <a:ext cx="257205" cy="268349"/>
              </a:xfrm>
              <a:prstGeom prst="rect">
                <a:avLst/>
              </a:prstGeom>
              <a:solidFill>
                <a:srgbClr val="D2DBE4"/>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grpSp>
        <p:nvGrpSpPr>
          <p:cNvPr id="46" name="Group 45">
            <a:extLst>
              <a:ext uri="{FF2B5EF4-FFF2-40B4-BE49-F238E27FC236}">
                <a16:creationId xmlns:a16="http://schemas.microsoft.com/office/drawing/2014/main" id="{82A290D1-633E-B85E-3C2D-B0A0E874D5C7}"/>
              </a:ext>
            </a:extLst>
          </p:cNvPr>
          <p:cNvGrpSpPr>
            <a:grpSpLocks noChangeAspect="1"/>
          </p:cNvGrpSpPr>
          <p:nvPr userDrawn="1"/>
        </p:nvGrpSpPr>
        <p:grpSpPr>
          <a:xfrm>
            <a:off x="10945987" y="425640"/>
            <a:ext cx="708141" cy="711483"/>
            <a:chOff x="10271050" y="2141138"/>
            <a:chExt cx="799204" cy="795027"/>
          </a:xfrm>
        </p:grpSpPr>
        <p:pic>
          <p:nvPicPr>
            <p:cNvPr id="47" name="Picture 2" descr="Ministry of Municipal and Rural Affairs">
              <a:extLst>
                <a:ext uri="{FF2B5EF4-FFF2-40B4-BE49-F238E27FC236}">
                  <a16:creationId xmlns:a16="http://schemas.microsoft.com/office/drawing/2014/main" id="{3E60DF68-C3C6-DB31-3E1D-D574B8F24D7C}"/>
                </a:ext>
              </a:extLst>
            </p:cNvPr>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10397719" y="2141138"/>
              <a:ext cx="545866" cy="51290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Ministry of Municipal and Rural Affairs">
              <a:extLst>
                <a:ext uri="{FF2B5EF4-FFF2-40B4-BE49-F238E27FC236}">
                  <a16:creationId xmlns:a16="http://schemas.microsoft.com/office/drawing/2014/main" id="{C6183503-7560-8C44-481F-CE4430D3EBE7}"/>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10271050" y="2589268"/>
              <a:ext cx="799204" cy="34689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34048217"/>
      </p:ext>
    </p:extLst>
  </p:cSld>
  <p:clrMapOvr>
    <a:masterClrMapping/>
  </p:clrMapOvr>
  <p:transition spd="med"/>
  <p:hf hdr="0" ft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7333">
          <p15:clr>
            <a:srgbClr val="FBAE40"/>
          </p15:clr>
        </p15:guide>
        <p15:guide id="4" pos="325">
          <p15:clr>
            <a:srgbClr val="FBAE40"/>
          </p15:clr>
        </p15:guide>
        <p15:guide id="5" orient="horz" pos="323">
          <p15:clr>
            <a:srgbClr val="FBAE40"/>
          </p15:clr>
        </p15:guide>
        <p15:guide id="6" orient="horz" pos="397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قيمتنا المضافة">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EBA4A4F6-A938-ADC7-DFCA-AA74FAB46549}"/>
              </a:ext>
            </a:extLst>
          </p:cNvPr>
          <p:cNvPicPr>
            <a:picLocks noChangeAspect="1"/>
          </p:cNvPicPr>
          <p:nvPr userDrawn="1"/>
        </p:nvPicPr>
        <p:blipFill>
          <a:blip r:embed="rId3" cstate="print">
            <a:grayscl/>
            <a:alphaModFix amt="4000"/>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66991818"/>
              </p:ext>
            </p:extLst>
          </p:nvPr>
        </p:nvGraphicFramePr>
        <p:xfrm>
          <a:off x="1957" y="1589"/>
          <a:ext cx="1953" cy="1587"/>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2" name="Object 1" hidden="1"/>
                      <p:cNvPicPr/>
                      <p:nvPr/>
                    </p:nvPicPr>
                    <p:blipFill>
                      <a:blip r:embed="rId6"/>
                      <a:stretch>
                        <a:fillRect/>
                      </a:stretch>
                    </p:blipFill>
                    <p:spPr>
                      <a:xfrm>
                        <a:off x="1957" y="1589"/>
                        <a:ext cx="1953"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3C2E91B9-E4C7-A826-D750-E8E3DBD36CE8}"/>
              </a:ext>
            </a:extLst>
          </p:cNvPr>
          <p:cNvGrpSpPr/>
          <p:nvPr userDrawn="1"/>
        </p:nvGrpSpPr>
        <p:grpSpPr>
          <a:xfrm>
            <a:off x="0" y="0"/>
            <a:ext cx="12192000" cy="6858000"/>
            <a:chOff x="0" y="0"/>
            <a:chExt cx="9144000" cy="5143500"/>
          </a:xfrm>
        </p:grpSpPr>
        <p:sp>
          <p:nvSpPr>
            <p:cNvPr id="6" name="PwCFirm">
              <a:extLst>
                <a:ext uri="{FF2B5EF4-FFF2-40B4-BE49-F238E27FC236}">
                  <a16:creationId xmlns:a16="http://schemas.microsoft.com/office/drawing/2014/main" id="{D85DE0DF-D0FB-36DC-6746-155BA3B8A7B3}"/>
                </a:ext>
              </a:extLst>
            </p:cNvPr>
            <p:cNvSpPr txBox="1"/>
            <p:nvPr userDrawn="1"/>
          </p:nvSpPr>
          <p:spPr>
            <a:xfrm>
              <a:off x="6418684" y="4992981"/>
              <a:ext cx="2194560" cy="137160"/>
            </a:xfrm>
            <a:prstGeom prst="rect">
              <a:avLst/>
            </a:prstGeom>
            <a:noFill/>
          </p:spPr>
          <p:txBody>
            <a:bodyPr wrap="square" lIns="0" tIns="0" rIns="0" bIns="0" rtlCol="0" anchor="b" anchorCtr="0">
              <a:noAutofit/>
            </a:bodyPr>
            <a:lstStyle>
              <a:defPPr>
                <a:defRPr lang="en-US"/>
              </a:defPPr>
              <a:lvl1pPr>
                <a:defRPr sz="750" b="0"/>
              </a:lvl1pPr>
            </a:lstStyle>
            <a:p>
              <a:pPr lvl="0" algn="l" rtl="0"/>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مشروع</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بناء</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أدوات</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وأنظمة</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دعم</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القرار</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برايس</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وترهاوس</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كوبرز</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p>
          </p:txBody>
        </p:sp>
        <p:grpSp>
          <p:nvGrpSpPr>
            <p:cNvPr id="8" name="Group 7">
              <a:extLst>
                <a:ext uri="{FF2B5EF4-FFF2-40B4-BE49-F238E27FC236}">
                  <a16:creationId xmlns:a16="http://schemas.microsoft.com/office/drawing/2014/main" id="{B1252400-666F-233F-BF0E-137FDDD38155}"/>
                </a:ext>
              </a:extLst>
            </p:cNvPr>
            <p:cNvGrpSpPr/>
            <p:nvPr userDrawn="1"/>
          </p:nvGrpSpPr>
          <p:grpSpPr>
            <a:xfrm>
              <a:off x="0" y="4622022"/>
              <a:ext cx="1000036" cy="521478"/>
              <a:chOff x="-3713" y="6158552"/>
              <a:chExt cx="1342492" cy="700055"/>
            </a:xfrm>
          </p:grpSpPr>
          <p:sp>
            <p:nvSpPr>
              <p:cNvPr id="27" name="Freeform: Shape 26">
                <a:extLst>
                  <a:ext uri="{FF2B5EF4-FFF2-40B4-BE49-F238E27FC236}">
                    <a16:creationId xmlns:a16="http://schemas.microsoft.com/office/drawing/2014/main" id="{150BE25D-43B2-1954-D8D2-8BD8511763BA}"/>
                  </a:ext>
                </a:extLst>
              </p:cNvPr>
              <p:cNvSpPr/>
              <p:nvPr/>
            </p:nvSpPr>
            <p:spPr>
              <a:xfrm flipH="1">
                <a:off x="-2321" y="6647606"/>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alpha val="50000"/>
                </a:schemeClr>
              </a:solidFill>
              <a:ln w="5838" cap="flat">
                <a:noFill/>
                <a:prstDash val="solid"/>
                <a:miter/>
              </a:ln>
            </p:spPr>
            <p:txBody>
              <a:bodyPr rtlCol="0" anchor="ctr"/>
              <a:lstStyle/>
              <a:p>
                <a:pPr rtl="0"/>
                <a:endParaRPr lang="en-GB" sz="2400"/>
              </a:p>
            </p:txBody>
          </p:sp>
          <p:sp>
            <p:nvSpPr>
              <p:cNvPr id="28" name="Freeform: Shape 27">
                <a:extLst>
                  <a:ext uri="{FF2B5EF4-FFF2-40B4-BE49-F238E27FC236}">
                    <a16:creationId xmlns:a16="http://schemas.microsoft.com/office/drawing/2014/main" id="{D78E358F-40E4-C327-743A-F37CC8BE109A}"/>
                  </a:ext>
                </a:extLst>
              </p:cNvPr>
              <p:cNvSpPr/>
              <p:nvPr/>
            </p:nvSpPr>
            <p:spPr>
              <a:xfrm flipH="1">
                <a:off x="-3713" y="6647606"/>
                <a:ext cx="211002" cy="211001"/>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bg2"/>
              </a:solidFill>
              <a:ln w="5838" cap="flat">
                <a:noFill/>
                <a:prstDash val="solid"/>
                <a:miter/>
              </a:ln>
            </p:spPr>
            <p:txBody>
              <a:bodyPr rtlCol="0" anchor="ctr"/>
              <a:lstStyle/>
              <a:p>
                <a:pPr rtl="0"/>
                <a:endParaRPr lang="en-GB" sz="2400"/>
              </a:p>
            </p:txBody>
          </p:sp>
          <p:sp>
            <p:nvSpPr>
              <p:cNvPr id="29" name="Freeform: Shape 28">
                <a:extLst>
                  <a:ext uri="{FF2B5EF4-FFF2-40B4-BE49-F238E27FC236}">
                    <a16:creationId xmlns:a16="http://schemas.microsoft.com/office/drawing/2014/main" id="{10CC0EAE-6B46-5FEB-3801-54A37CF951FF}"/>
                  </a:ext>
                </a:extLst>
              </p:cNvPr>
              <p:cNvSpPr/>
              <p:nvPr/>
            </p:nvSpPr>
            <p:spPr>
              <a:xfrm flipH="1">
                <a:off x="228305" y="6647606"/>
                <a:ext cx="211002" cy="211001"/>
              </a:xfrm>
              <a:custGeom>
                <a:avLst/>
                <a:gdLst>
                  <a:gd name="connsiteX0" fmla="*/ 817307 w 817306"/>
                  <a:gd name="connsiteY0" fmla="*/ 817306 h 817306"/>
                  <a:gd name="connsiteX1" fmla="*/ 0 w 817306"/>
                  <a:gd name="connsiteY1" fmla="*/ 0 h 817306"/>
                  <a:gd name="connsiteX2" fmla="*/ 817307 w 817306"/>
                  <a:gd name="connsiteY2" fmla="*/ 0 h 817306"/>
                </a:gdLst>
                <a:ahLst/>
                <a:cxnLst>
                  <a:cxn ang="0">
                    <a:pos x="connsiteX0" y="connsiteY0"/>
                  </a:cxn>
                  <a:cxn ang="0">
                    <a:pos x="connsiteX1" y="connsiteY1"/>
                  </a:cxn>
                  <a:cxn ang="0">
                    <a:pos x="connsiteX2" y="connsiteY2"/>
                  </a:cxn>
                </a:cxnLst>
                <a:rect l="l" t="t" r="r" b="b"/>
                <a:pathLst>
                  <a:path w="817306" h="817306">
                    <a:moveTo>
                      <a:pt x="817307" y="817306"/>
                    </a:moveTo>
                    <a:lnTo>
                      <a:pt x="0" y="0"/>
                    </a:lnTo>
                    <a:lnTo>
                      <a:pt x="817307" y="0"/>
                    </a:lnTo>
                    <a:close/>
                  </a:path>
                </a:pathLst>
              </a:custGeom>
              <a:solidFill>
                <a:schemeClr val="accent3"/>
              </a:solidFill>
              <a:ln w="5838" cap="flat">
                <a:noFill/>
                <a:prstDash val="solid"/>
                <a:miter/>
              </a:ln>
            </p:spPr>
            <p:txBody>
              <a:bodyPr rtlCol="0" anchor="ctr"/>
              <a:lstStyle/>
              <a:p>
                <a:pPr rtl="0"/>
                <a:endParaRPr lang="en-GB" sz="2400"/>
              </a:p>
            </p:txBody>
          </p:sp>
          <p:sp>
            <p:nvSpPr>
              <p:cNvPr id="33" name="Freeform: Shape 32">
                <a:extLst>
                  <a:ext uri="{FF2B5EF4-FFF2-40B4-BE49-F238E27FC236}">
                    <a16:creationId xmlns:a16="http://schemas.microsoft.com/office/drawing/2014/main" id="{9FFA8048-7DF7-5118-0A24-928035D5EB4E}"/>
                  </a:ext>
                </a:extLst>
              </p:cNvPr>
              <p:cNvSpPr/>
              <p:nvPr/>
            </p:nvSpPr>
            <p:spPr>
              <a:xfrm flipH="1">
                <a:off x="439307" y="6647606"/>
                <a:ext cx="211002" cy="211001"/>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accent3"/>
              </a:solidFill>
              <a:ln w="5838" cap="flat">
                <a:noFill/>
                <a:prstDash val="solid"/>
                <a:miter/>
              </a:ln>
            </p:spPr>
            <p:txBody>
              <a:bodyPr rtlCol="0" anchor="ctr"/>
              <a:lstStyle/>
              <a:p>
                <a:pPr rtl="0"/>
                <a:endParaRPr lang="en-GB" sz="2400"/>
              </a:p>
            </p:txBody>
          </p:sp>
          <p:sp>
            <p:nvSpPr>
              <p:cNvPr id="34" name="Freeform: Shape 33">
                <a:extLst>
                  <a:ext uri="{FF2B5EF4-FFF2-40B4-BE49-F238E27FC236}">
                    <a16:creationId xmlns:a16="http://schemas.microsoft.com/office/drawing/2014/main" id="{9D3C8F14-C33E-065C-2065-E0F5C0AA7FD7}"/>
                  </a:ext>
                </a:extLst>
              </p:cNvPr>
              <p:cNvSpPr/>
              <p:nvPr userDrawn="1"/>
            </p:nvSpPr>
            <p:spPr>
              <a:xfrm rot="16200000" flipH="1">
                <a:off x="226593" y="6647606"/>
                <a:ext cx="211001" cy="211002"/>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nvGrpSpPr>
              <p:cNvPr id="35" name="Group 34">
                <a:extLst>
                  <a:ext uri="{FF2B5EF4-FFF2-40B4-BE49-F238E27FC236}">
                    <a16:creationId xmlns:a16="http://schemas.microsoft.com/office/drawing/2014/main" id="{76349818-B5B1-FCFF-90B2-972D98DF1B40}"/>
                  </a:ext>
                </a:extLst>
              </p:cNvPr>
              <p:cNvGrpSpPr/>
              <p:nvPr userDrawn="1"/>
            </p:nvGrpSpPr>
            <p:grpSpPr>
              <a:xfrm>
                <a:off x="662717" y="6647606"/>
                <a:ext cx="451301" cy="211001"/>
                <a:chOff x="650309" y="6647606"/>
                <a:chExt cx="451301" cy="211001"/>
              </a:xfrm>
            </p:grpSpPr>
            <p:sp>
              <p:nvSpPr>
                <p:cNvPr id="43" name="Freeform: Shape 42">
                  <a:extLst>
                    <a:ext uri="{FF2B5EF4-FFF2-40B4-BE49-F238E27FC236}">
                      <a16:creationId xmlns:a16="http://schemas.microsoft.com/office/drawing/2014/main" id="{628520C7-1ECB-E19F-BF98-F2505823BA2E}"/>
                    </a:ext>
                  </a:extLst>
                </p:cNvPr>
                <p:cNvSpPr/>
                <p:nvPr/>
              </p:nvSpPr>
              <p:spPr>
                <a:xfrm flipH="1">
                  <a:off x="650309" y="6647606"/>
                  <a:ext cx="211002" cy="211001"/>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44" name="Freeform: Shape 43">
                  <a:extLst>
                    <a:ext uri="{FF2B5EF4-FFF2-40B4-BE49-F238E27FC236}">
                      <a16:creationId xmlns:a16="http://schemas.microsoft.com/office/drawing/2014/main" id="{737A8C62-BE1B-E46C-D081-29D5A7020DA1}"/>
                    </a:ext>
                  </a:extLst>
                </p:cNvPr>
                <p:cNvSpPr/>
                <p:nvPr/>
              </p:nvSpPr>
              <p:spPr>
                <a:xfrm flipH="1">
                  <a:off x="650309" y="6647606"/>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45" name="Freeform: Shape 44">
                  <a:extLst>
                    <a:ext uri="{FF2B5EF4-FFF2-40B4-BE49-F238E27FC236}">
                      <a16:creationId xmlns:a16="http://schemas.microsoft.com/office/drawing/2014/main" id="{312A25A2-9475-92BE-98B0-4712B07E63A1}"/>
                    </a:ext>
                  </a:extLst>
                </p:cNvPr>
                <p:cNvSpPr/>
                <p:nvPr/>
              </p:nvSpPr>
              <p:spPr>
                <a:xfrm flipH="1">
                  <a:off x="889042" y="6647606"/>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solidFill>
                <a:ln w="5838" cap="flat">
                  <a:noFill/>
                  <a:prstDash val="solid"/>
                  <a:miter/>
                </a:ln>
              </p:spPr>
              <p:txBody>
                <a:bodyPr rtlCol="0" anchor="ctr"/>
                <a:lstStyle/>
                <a:p>
                  <a:pPr rtl="0"/>
                  <a:endParaRPr lang="en-GB" sz="2400"/>
                </a:p>
              </p:txBody>
            </p:sp>
            <p:sp>
              <p:nvSpPr>
                <p:cNvPr id="46" name="Freeform: Shape 45">
                  <a:extLst>
                    <a:ext uri="{FF2B5EF4-FFF2-40B4-BE49-F238E27FC236}">
                      <a16:creationId xmlns:a16="http://schemas.microsoft.com/office/drawing/2014/main" id="{B56E6C62-2D06-9611-27FD-D5EF3310C917}"/>
                    </a:ext>
                  </a:extLst>
                </p:cNvPr>
                <p:cNvSpPr/>
                <p:nvPr userDrawn="1"/>
              </p:nvSpPr>
              <p:spPr>
                <a:xfrm flipH="1">
                  <a:off x="890608" y="6647606"/>
                  <a:ext cx="211002" cy="211001"/>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tx2">
                    <a:alpha val="50000"/>
                  </a:schemeClr>
                </a:solidFill>
                <a:ln w="5838" cap="flat">
                  <a:noFill/>
                  <a:prstDash val="solid"/>
                  <a:miter/>
                </a:ln>
              </p:spPr>
              <p:txBody>
                <a:bodyPr rtlCol="0" anchor="ctr"/>
                <a:lstStyle/>
                <a:p>
                  <a:pPr rtl="0"/>
                  <a:endParaRPr lang="en-GB" sz="2400"/>
                </a:p>
              </p:txBody>
            </p:sp>
          </p:grpSp>
          <p:sp>
            <p:nvSpPr>
              <p:cNvPr id="36" name="Freeform: Shape 35">
                <a:extLst>
                  <a:ext uri="{FF2B5EF4-FFF2-40B4-BE49-F238E27FC236}">
                    <a16:creationId xmlns:a16="http://schemas.microsoft.com/office/drawing/2014/main" id="{EDEB86B0-EED0-45EA-E2AA-910EA4D8F24F}"/>
                  </a:ext>
                </a:extLst>
              </p:cNvPr>
              <p:cNvSpPr/>
              <p:nvPr userDrawn="1"/>
            </p:nvSpPr>
            <p:spPr>
              <a:xfrm rot="16200000" flipH="1">
                <a:off x="1127777" y="6647606"/>
                <a:ext cx="211001" cy="211002"/>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sp>
            <p:nvSpPr>
              <p:cNvPr id="37" name="Freeform: Shape 36">
                <a:extLst>
                  <a:ext uri="{FF2B5EF4-FFF2-40B4-BE49-F238E27FC236}">
                    <a16:creationId xmlns:a16="http://schemas.microsoft.com/office/drawing/2014/main" id="{4730C6FB-C605-77B5-BF96-159D2D1B9A03}"/>
                  </a:ext>
                </a:extLst>
              </p:cNvPr>
              <p:cNvSpPr/>
              <p:nvPr userDrawn="1"/>
            </p:nvSpPr>
            <p:spPr>
              <a:xfrm flipH="1" flipV="1">
                <a:off x="1" y="6401809"/>
                <a:ext cx="211002" cy="211001"/>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38" name="Freeform: Shape 37">
                <a:extLst>
                  <a:ext uri="{FF2B5EF4-FFF2-40B4-BE49-F238E27FC236}">
                    <a16:creationId xmlns:a16="http://schemas.microsoft.com/office/drawing/2014/main" id="{C6B823C9-91E1-52F3-0C13-157CE60920D1}"/>
                  </a:ext>
                </a:extLst>
              </p:cNvPr>
              <p:cNvSpPr/>
              <p:nvPr userDrawn="1"/>
            </p:nvSpPr>
            <p:spPr>
              <a:xfrm flipH="1" flipV="1">
                <a:off x="1" y="6401809"/>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39" name="Freeform: Shape 38">
                <a:extLst>
                  <a:ext uri="{FF2B5EF4-FFF2-40B4-BE49-F238E27FC236}">
                    <a16:creationId xmlns:a16="http://schemas.microsoft.com/office/drawing/2014/main" id="{C39F2685-4DC6-A54B-0588-F19B7964F9D4}"/>
                  </a:ext>
                </a:extLst>
              </p:cNvPr>
              <p:cNvSpPr/>
              <p:nvPr userDrawn="1"/>
            </p:nvSpPr>
            <p:spPr>
              <a:xfrm rot="16200000" flipH="1">
                <a:off x="451715" y="6401808"/>
                <a:ext cx="211001" cy="211002"/>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alpha val="50000"/>
                </a:schemeClr>
              </a:solidFill>
              <a:ln w="5838" cap="flat">
                <a:noFill/>
                <a:prstDash val="solid"/>
                <a:miter/>
              </a:ln>
            </p:spPr>
            <p:txBody>
              <a:bodyPr rtlCol="0" anchor="ctr"/>
              <a:lstStyle/>
              <a:p>
                <a:pPr rtl="0"/>
                <a:endParaRPr lang="en-GB" sz="2400"/>
              </a:p>
            </p:txBody>
          </p:sp>
          <p:sp>
            <p:nvSpPr>
              <p:cNvPr id="40" name="Freeform: Shape 39">
                <a:extLst>
                  <a:ext uri="{FF2B5EF4-FFF2-40B4-BE49-F238E27FC236}">
                    <a16:creationId xmlns:a16="http://schemas.microsoft.com/office/drawing/2014/main" id="{FE817D66-C888-5BE1-6934-8C1DE2FC3897}"/>
                  </a:ext>
                </a:extLst>
              </p:cNvPr>
              <p:cNvSpPr/>
              <p:nvPr userDrawn="1"/>
            </p:nvSpPr>
            <p:spPr>
              <a:xfrm flipH="1" flipV="1">
                <a:off x="226593" y="6401808"/>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solidFill>
              <a:ln w="5838" cap="flat">
                <a:noFill/>
                <a:prstDash val="solid"/>
                <a:miter/>
              </a:ln>
            </p:spPr>
            <p:txBody>
              <a:bodyPr rtlCol="0" anchor="ctr"/>
              <a:lstStyle/>
              <a:p>
                <a:pPr rtl="0"/>
                <a:endParaRPr lang="en-GB" sz="2400"/>
              </a:p>
            </p:txBody>
          </p:sp>
          <p:sp>
            <p:nvSpPr>
              <p:cNvPr id="41" name="Freeform: Shape 40">
                <a:extLst>
                  <a:ext uri="{FF2B5EF4-FFF2-40B4-BE49-F238E27FC236}">
                    <a16:creationId xmlns:a16="http://schemas.microsoft.com/office/drawing/2014/main" id="{2C6964FB-0B6B-3117-EA3C-B4CA17258437}"/>
                  </a:ext>
                </a:extLst>
              </p:cNvPr>
              <p:cNvSpPr/>
              <p:nvPr userDrawn="1"/>
            </p:nvSpPr>
            <p:spPr>
              <a:xfrm rot="10800000" flipH="1" flipV="1">
                <a:off x="228159" y="6401808"/>
                <a:ext cx="211002" cy="211001"/>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sp>
            <p:nvSpPr>
              <p:cNvPr id="42" name="Freeform: Shape 41">
                <a:extLst>
                  <a:ext uri="{FF2B5EF4-FFF2-40B4-BE49-F238E27FC236}">
                    <a16:creationId xmlns:a16="http://schemas.microsoft.com/office/drawing/2014/main" id="{35C1FB24-AB12-1927-88B0-5829441AEF00}"/>
                  </a:ext>
                </a:extLst>
              </p:cNvPr>
              <p:cNvSpPr/>
              <p:nvPr userDrawn="1"/>
            </p:nvSpPr>
            <p:spPr>
              <a:xfrm flipH="1">
                <a:off x="0" y="6158552"/>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grpSp>
          <p:nvGrpSpPr>
            <p:cNvPr id="9" name="Group 8">
              <a:extLst>
                <a:ext uri="{FF2B5EF4-FFF2-40B4-BE49-F238E27FC236}">
                  <a16:creationId xmlns:a16="http://schemas.microsoft.com/office/drawing/2014/main" id="{F4803A56-02B8-8CD6-D482-C0947F9C576A}"/>
                </a:ext>
              </a:extLst>
            </p:cNvPr>
            <p:cNvGrpSpPr/>
            <p:nvPr userDrawn="1"/>
          </p:nvGrpSpPr>
          <p:grpSpPr>
            <a:xfrm flipH="1">
              <a:off x="8640439" y="4814926"/>
              <a:ext cx="503561" cy="328574"/>
              <a:chOff x="1125852" y="3916280"/>
              <a:chExt cx="553917" cy="361431"/>
            </a:xfrm>
          </p:grpSpPr>
          <p:sp>
            <p:nvSpPr>
              <p:cNvPr id="20" name="Freeform: Shape 19">
                <a:extLst>
                  <a:ext uri="{FF2B5EF4-FFF2-40B4-BE49-F238E27FC236}">
                    <a16:creationId xmlns:a16="http://schemas.microsoft.com/office/drawing/2014/main" id="{5857DF8B-CD33-1DDD-A3DB-353B59FEF2B9}"/>
                  </a:ext>
                </a:extLst>
              </p:cNvPr>
              <p:cNvSpPr/>
              <p:nvPr userDrawn="1"/>
            </p:nvSpPr>
            <p:spPr>
              <a:xfrm flipH="1" flipV="1">
                <a:off x="1125853" y="4104175"/>
                <a:ext cx="172895" cy="172895"/>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21" name="Freeform: Shape 20">
                <a:extLst>
                  <a:ext uri="{FF2B5EF4-FFF2-40B4-BE49-F238E27FC236}">
                    <a16:creationId xmlns:a16="http://schemas.microsoft.com/office/drawing/2014/main" id="{60C2707B-C30D-2FAE-84D5-4803D4102889}"/>
                  </a:ext>
                </a:extLst>
              </p:cNvPr>
              <p:cNvSpPr/>
              <p:nvPr userDrawn="1"/>
            </p:nvSpPr>
            <p:spPr>
              <a:xfrm flipH="1" flipV="1">
                <a:off x="1125853" y="4104175"/>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22" name="Freeform: Shape 21">
                <a:extLst>
                  <a:ext uri="{FF2B5EF4-FFF2-40B4-BE49-F238E27FC236}">
                    <a16:creationId xmlns:a16="http://schemas.microsoft.com/office/drawing/2014/main" id="{04F415E2-AD89-1FBE-D209-9DB461472E73}"/>
                  </a:ext>
                </a:extLst>
              </p:cNvPr>
              <p:cNvSpPr/>
              <p:nvPr userDrawn="1"/>
            </p:nvSpPr>
            <p:spPr>
              <a:xfrm flipH="1">
                <a:off x="1506874"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alpha val="50000"/>
                </a:schemeClr>
              </a:solidFill>
              <a:ln w="5838" cap="flat">
                <a:noFill/>
                <a:prstDash val="solid"/>
                <a:miter/>
              </a:ln>
            </p:spPr>
            <p:txBody>
              <a:bodyPr rtlCol="0" anchor="ctr"/>
              <a:lstStyle/>
              <a:p>
                <a:pPr rtl="0"/>
                <a:endParaRPr lang="en-GB" sz="2400"/>
              </a:p>
            </p:txBody>
          </p:sp>
          <p:grpSp>
            <p:nvGrpSpPr>
              <p:cNvPr id="23" name="Group 22">
                <a:extLst>
                  <a:ext uri="{FF2B5EF4-FFF2-40B4-BE49-F238E27FC236}">
                    <a16:creationId xmlns:a16="http://schemas.microsoft.com/office/drawing/2014/main" id="{7A9EC0EC-1AEA-8581-D4D3-97FCEBE316F2}"/>
                  </a:ext>
                </a:extLst>
              </p:cNvPr>
              <p:cNvGrpSpPr/>
              <p:nvPr userDrawn="1"/>
            </p:nvGrpSpPr>
            <p:grpSpPr>
              <a:xfrm rot="16200000" flipV="1">
                <a:off x="1311523" y="4104174"/>
                <a:ext cx="174178" cy="172895"/>
                <a:chOff x="1311523" y="4104174"/>
                <a:chExt cx="174178" cy="172895"/>
              </a:xfrm>
            </p:grpSpPr>
            <p:sp>
              <p:nvSpPr>
                <p:cNvPr id="25" name="Freeform: Shape 24">
                  <a:extLst>
                    <a:ext uri="{FF2B5EF4-FFF2-40B4-BE49-F238E27FC236}">
                      <a16:creationId xmlns:a16="http://schemas.microsoft.com/office/drawing/2014/main" id="{23828EF1-F427-349A-0E1B-BD4B734E687B}"/>
                    </a:ext>
                  </a:extLst>
                </p:cNvPr>
                <p:cNvSpPr/>
                <p:nvPr userDrawn="1"/>
              </p:nvSpPr>
              <p:spPr>
                <a:xfrm flipH="1" flipV="1">
                  <a:off x="1311523"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solidFill>
                <a:ln w="5838" cap="flat">
                  <a:noFill/>
                  <a:prstDash val="solid"/>
                  <a:miter/>
                </a:ln>
              </p:spPr>
              <p:txBody>
                <a:bodyPr rtlCol="0" anchor="ctr"/>
                <a:lstStyle/>
                <a:p>
                  <a:pPr rtl="0"/>
                  <a:endParaRPr lang="en-GB" sz="2400"/>
                </a:p>
              </p:txBody>
            </p:sp>
            <p:sp>
              <p:nvSpPr>
                <p:cNvPr id="26" name="Freeform: Shape 25">
                  <a:extLst>
                    <a:ext uri="{FF2B5EF4-FFF2-40B4-BE49-F238E27FC236}">
                      <a16:creationId xmlns:a16="http://schemas.microsoft.com/office/drawing/2014/main" id="{8D3E95F3-8D2F-DE07-628A-91D38C1F0BDE}"/>
                    </a:ext>
                  </a:extLst>
                </p:cNvPr>
                <p:cNvSpPr/>
                <p:nvPr userDrawn="1"/>
              </p:nvSpPr>
              <p:spPr>
                <a:xfrm rot="10800000" flipH="1" flipV="1">
                  <a:off x="1312806" y="4104174"/>
                  <a:ext cx="172895" cy="172895"/>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grpSp>
          <p:sp>
            <p:nvSpPr>
              <p:cNvPr id="24" name="Freeform: Shape 23">
                <a:extLst>
                  <a:ext uri="{FF2B5EF4-FFF2-40B4-BE49-F238E27FC236}">
                    <a16:creationId xmlns:a16="http://schemas.microsoft.com/office/drawing/2014/main" id="{CE790A2D-0B48-9182-E197-9EE2236EA85B}"/>
                  </a:ext>
                </a:extLst>
              </p:cNvPr>
              <p:cNvSpPr/>
              <p:nvPr userDrawn="1"/>
            </p:nvSpPr>
            <p:spPr>
              <a:xfrm flipH="1">
                <a:off x="1125852" y="3916280"/>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grpSp>
          <p:nvGrpSpPr>
            <p:cNvPr id="10" name="Group 9">
              <a:extLst>
                <a:ext uri="{FF2B5EF4-FFF2-40B4-BE49-F238E27FC236}">
                  <a16:creationId xmlns:a16="http://schemas.microsoft.com/office/drawing/2014/main" id="{10E4CBAF-D80A-0FA3-8CFE-E38E8FFFC51D}"/>
                </a:ext>
              </a:extLst>
            </p:cNvPr>
            <p:cNvGrpSpPr/>
            <p:nvPr userDrawn="1"/>
          </p:nvGrpSpPr>
          <p:grpSpPr>
            <a:xfrm flipH="1" flipV="1">
              <a:off x="8640439" y="0"/>
              <a:ext cx="503561" cy="328574"/>
              <a:chOff x="1125852" y="3916280"/>
              <a:chExt cx="553917" cy="361431"/>
            </a:xfrm>
          </p:grpSpPr>
          <p:sp>
            <p:nvSpPr>
              <p:cNvPr id="11" name="Freeform: Shape 10">
                <a:extLst>
                  <a:ext uri="{FF2B5EF4-FFF2-40B4-BE49-F238E27FC236}">
                    <a16:creationId xmlns:a16="http://schemas.microsoft.com/office/drawing/2014/main" id="{4EE13A2C-5669-35D1-0635-5A4770B96D4A}"/>
                  </a:ext>
                </a:extLst>
              </p:cNvPr>
              <p:cNvSpPr/>
              <p:nvPr userDrawn="1"/>
            </p:nvSpPr>
            <p:spPr>
              <a:xfrm flipH="1" flipV="1">
                <a:off x="1125853" y="4104175"/>
                <a:ext cx="172895" cy="172895"/>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12" name="Freeform: Shape 11">
                <a:extLst>
                  <a:ext uri="{FF2B5EF4-FFF2-40B4-BE49-F238E27FC236}">
                    <a16:creationId xmlns:a16="http://schemas.microsoft.com/office/drawing/2014/main" id="{9B31C437-C54D-2796-B623-EDF37A9C8B77}"/>
                  </a:ext>
                </a:extLst>
              </p:cNvPr>
              <p:cNvSpPr/>
              <p:nvPr userDrawn="1"/>
            </p:nvSpPr>
            <p:spPr>
              <a:xfrm flipH="1" flipV="1">
                <a:off x="1125853" y="4104175"/>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15" name="Freeform: Shape 14">
                <a:extLst>
                  <a:ext uri="{FF2B5EF4-FFF2-40B4-BE49-F238E27FC236}">
                    <a16:creationId xmlns:a16="http://schemas.microsoft.com/office/drawing/2014/main" id="{2A4DFB40-B5CD-6F68-5D2D-9B73AAD7F1EF}"/>
                  </a:ext>
                </a:extLst>
              </p:cNvPr>
              <p:cNvSpPr/>
              <p:nvPr userDrawn="1"/>
            </p:nvSpPr>
            <p:spPr>
              <a:xfrm flipH="1">
                <a:off x="1506874"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alpha val="50000"/>
                </a:schemeClr>
              </a:solidFill>
              <a:ln w="5838" cap="flat">
                <a:noFill/>
                <a:prstDash val="solid"/>
                <a:miter/>
              </a:ln>
            </p:spPr>
            <p:txBody>
              <a:bodyPr rtlCol="0" anchor="ctr"/>
              <a:lstStyle/>
              <a:p>
                <a:pPr rtl="0"/>
                <a:endParaRPr lang="en-GB" sz="2400"/>
              </a:p>
            </p:txBody>
          </p:sp>
          <p:grpSp>
            <p:nvGrpSpPr>
              <p:cNvPr id="16" name="Group 15">
                <a:extLst>
                  <a:ext uri="{FF2B5EF4-FFF2-40B4-BE49-F238E27FC236}">
                    <a16:creationId xmlns:a16="http://schemas.microsoft.com/office/drawing/2014/main" id="{BA83C7D9-EC1F-24EB-A8F8-46BF26A50F78}"/>
                  </a:ext>
                </a:extLst>
              </p:cNvPr>
              <p:cNvGrpSpPr/>
              <p:nvPr userDrawn="1"/>
            </p:nvGrpSpPr>
            <p:grpSpPr>
              <a:xfrm rot="16200000" flipV="1">
                <a:off x="1311523" y="4104174"/>
                <a:ext cx="174178" cy="172895"/>
                <a:chOff x="1311523" y="4104174"/>
                <a:chExt cx="174178" cy="172895"/>
              </a:xfrm>
            </p:grpSpPr>
            <p:sp>
              <p:nvSpPr>
                <p:cNvPr id="18" name="Freeform: Shape 17">
                  <a:extLst>
                    <a:ext uri="{FF2B5EF4-FFF2-40B4-BE49-F238E27FC236}">
                      <a16:creationId xmlns:a16="http://schemas.microsoft.com/office/drawing/2014/main" id="{7B0AB517-7013-C4E3-A7B5-DED5F3B68036}"/>
                    </a:ext>
                  </a:extLst>
                </p:cNvPr>
                <p:cNvSpPr/>
                <p:nvPr userDrawn="1"/>
              </p:nvSpPr>
              <p:spPr>
                <a:xfrm flipH="1" flipV="1">
                  <a:off x="1311523"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solidFill>
                <a:ln w="5838" cap="flat">
                  <a:noFill/>
                  <a:prstDash val="solid"/>
                  <a:miter/>
                </a:ln>
              </p:spPr>
              <p:txBody>
                <a:bodyPr rtlCol="0" anchor="ctr"/>
                <a:lstStyle/>
                <a:p>
                  <a:pPr rtl="0"/>
                  <a:endParaRPr lang="en-GB" sz="2400"/>
                </a:p>
              </p:txBody>
            </p:sp>
            <p:sp>
              <p:nvSpPr>
                <p:cNvPr id="19" name="Freeform: Shape 18">
                  <a:extLst>
                    <a:ext uri="{FF2B5EF4-FFF2-40B4-BE49-F238E27FC236}">
                      <a16:creationId xmlns:a16="http://schemas.microsoft.com/office/drawing/2014/main" id="{A076927D-81DF-5174-E262-82CE7A6E953B}"/>
                    </a:ext>
                  </a:extLst>
                </p:cNvPr>
                <p:cNvSpPr/>
                <p:nvPr userDrawn="1"/>
              </p:nvSpPr>
              <p:spPr>
                <a:xfrm rot="10800000" flipH="1" flipV="1">
                  <a:off x="1312806" y="4104174"/>
                  <a:ext cx="172895" cy="172895"/>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grpSp>
          <p:sp>
            <p:nvSpPr>
              <p:cNvPr id="17" name="Freeform: Shape 16">
                <a:extLst>
                  <a:ext uri="{FF2B5EF4-FFF2-40B4-BE49-F238E27FC236}">
                    <a16:creationId xmlns:a16="http://schemas.microsoft.com/office/drawing/2014/main" id="{9A750793-0DB7-2303-F57C-B996430D1D10}"/>
                  </a:ext>
                </a:extLst>
              </p:cNvPr>
              <p:cNvSpPr/>
              <p:nvPr userDrawn="1"/>
            </p:nvSpPr>
            <p:spPr>
              <a:xfrm flipH="1">
                <a:off x="1125852" y="3916280"/>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grpSp>
      <p:sp>
        <p:nvSpPr>
          <p:cNvPr id="48" name="PwCFirm">
            <a:extLst>
              <a:ext uri="{FF2B5EF4-FFF2-40B4-BE49-F238E27FC236}">
                <a16:creationId xmlns:a16="http://schemas.microsoft.com/office/drawing/2014/main" id="{C4898FEE-20A6-E713-4C14-14191AD0B17D}"/>
              </a:ext>
            </a:extLst>
          </p:cNvPr>
          <p:cNvSpPr txBox="1">
            <a:spLocks/>
          </p:cNvSpPr>
          <p:nvPr userDrawn="1"/>
        </p:nvSpPr>
        <p:spPr>
          <a:xfrm>
            <a:off x="1302867" y="6623107"/>
            <a:ext cx="365760" cy="182880"/>
          </a:xfrm>
          <a:prstGeom prst="rect">
            <a:avLst/>
          </a:prstGeom>
          <a:noFill/>
        </p:spPr>
        <p:txBody>
          <a:bodyPr wrap="square" lIns="0" tIns="0" rIns="0" bIns="0" rtlCol="0" anchor="b" anchorCtr="0">
            <a:noAutofit/>
          </a:bodyPr>
          <a:lstStyle>
            <a:defPPr>
              <a:defRPr lang="en-US"/>
            </a:defPPr>
            <a:lvl1pPr>
              <a:defRPr sz="750" b="0"/>
            </a:lvl1pPr>
          </a:lstStyle>
          <a:p>
            <a:pPr lvl="0" algn="ctr" rtl="0"/>
            <a:fld id="{0AD3E0D8-CFBC-40AF-89AB-97D5BF3C0506}" type="slidenum">
              <a:rPr lang="en-GB" sz="933" b="1" smtClean="0">
                <a:solidFill>
                  <a:schemeClr val="tx1">
                    <a:lumMod val="75000"/>
                    <a:lumOff val="25000"/>
                  </a:schemeClr>
                </a:solidFill>
                <a:latin typeface="Sakkal Majalla" panose="02000000000000000000" pitchFamily="2" charset="-78"/>
              </a:rPr>
              <a:pPr lvl="0" algn="ctr" rtl="0"/>
              <a:t>‹#›</a:t>
            </a:fld>
            <a:endParaRPr lang="en-GB" sz="933" b="1" i="0" u="none" strike="noStrike" cap="none" baseline="0" noProof="0">
              <a:solidFill>
                <a:schemeClr val="tx1">
                  <a:lumMod val="75000"/>
                  <a:lumOff val="25000"/>
                </a:schemeClr>
              </a:solidFill>
              <a:effectLst/>
              <a:uFillTx/>
              <a:latin typeface="Sakkal Majalla" panose="02000000000000000000" pitchFamily="2" charset="-78"/>
              <a:cs typeface="Traditional Arabic" panose="02020603050405020304" pitchFamily="18" charset="-78"/>
            </a:endParaRPr>
          </a:p>
        </p:txBody>
      </p:sp>
    </p:spTree>
    <p:extLst>
      <p:ext uri="{BB962C8B-B14F-4D97-AF65-F5344CB8AC3E}">
        <p14:creationId xmlns:p14="http://schemas.microsoft.com/office/powerpoint/2010/main" val="17457168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1_Main Title &amp; Subtitle" preserve="1">
  <p:cSld name="1_Main Title &amp; Subtitle">
    <p:spTree>
      <p:nvGrpSpPr>
        <p:cNvPr id="1" name="Shape 13"/>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EC5214-64F0-4412-A2C2-B8882E5B1A41}"/>
              </a:ext>
            </a:extLst>
          </p:cNvPr>
          <p:cNvGraphicFramePr>
            <a:graphicFrameLocks noChangeAspect="1"/>
          </p:cNvGraphicFramePr>
          <p:nvPr userDrawn="1">
            <p:custDataLst>
              <p:tags r:id="rId1"/>
            </p:custDataLst>
            <p:extLst>
              <p:ext uri="{D42A27DB-BD31-4B8C-83A1-F6EECF244321}">
                <p14:modId xmlns:p14="http://schemas.microsoft.com/office/powerpoint/2010/main" val="30368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B8EC5214-64F0-4412-A2C2-B8882E5B1A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3"/>
          <p:cNvSpPr>
            <a:spLocks noGrp="1"/>
          </p:cNvSpPr>
          <p:nvPr>
            <p:ph type="body" sz="half" idx="2" hasCustomPrompt="1"/>
          </p:nvPr>
        </p:nvSpPr>
        <p:spPr>
          <a:xfrm>
            <a:off x="517093" y="885781"/>
            <a:ext cx="11157817" cy="231007"/>
          </a:xfrm>
          <a:prstGeom prst="rect">
            <a:avLst/>
          </a:prstGeom>
        </p:spPr>
        <p:txBody>
          <a:bodyPr wrap="none" lIns="0" tIns="0" rIns="0" bIns="0" anchor="ctr">
            <a:noAutofit/>
          </a:bodyPr>
          <a:lstStyle>
            <a:lvl1pPr marL="0" indent="0" algn="ctr" rtl="0">
              <a:buNone/>
              <a:defRPr sz="1333" b="0" baseline="0">
                <a:solidFill>
                  <a:schemeClr val="tx1">
                    <a:lumMod val="75000"/>
                    <a:lumOff val="25000"/>
                  </a:schemeClr>
                </a:solidFill>
                <a:latin typeface="+mn-lt"/>
                <a:ea typeface="Roboto" panose="02000000000000000000" pitchFamily="2" charset="0"/>
              </a:defRPr>
            </a:lvl1pPr>
            <a:lvl2pPr marL="609555" indent="0">
              <a:buNone/>
              <a:defRPr sz="1600"/>
            </a:lvl2pPr>
            <a:lvl3pPr marL="1219108" indent="0">
              <a:buNone/>
              <a:defRPr sz="1333"/>
            </a:lvl3pPr>
            <a:lvl4pPr marL="1828664" indent="0">
              <a:buNone/>
              <a:defRPr sz="1200"/>
            </a:lvl4pPr>
            <a:lvl5pPr marL="2438218" indent="0">
              <a:buNone/>
              <a:defRPr sz="1200"/>
            </a:lvl5pPr>
            <a:lvl6pPr marL="3047772" indent="0">
              <a:buNone/>
              <a:defRPr sz="1200"/>
            </a:lvl6pPr>
            <a:lvl7pPr marL="3657325" indent="0">
              <a:buNone/>
              <a:defRPr sz="1200"/>
            </a:lvl7pPr>
            <a:lvl8pPr marL="4266880" indent="0">
              <a:buNone/>
              <a:defRPr sz="1200"/>
            </a:lvl8pPr>
            <a:lvl9pPr marL="4876435" indent="0">
              <a:buNone/>
              <a:defRPr sz="1200"/>
            </a:lvl9pPr>
          </a:lstStyle>
          <a:p>
            <a:pPr lvl="0"/>
            <a:r>
              <a:rPr lang="en-GB"/>
              <a:t>CLICK TO EDITE SUBTITLE</a:t>
            </a:r>
          </a:p>
        </p:txBody>
      </p:sp>
      <p:sp>
        <p:nvSpPr>
          <p:cNvPr id="12" name="Title 2"/>
          <p:cNvSpPr>
            <a:spLocks noGrp="1"/>
          </p:cNvSpPr>
          <p:nvPr>
            <p:ph type="title"/>
          </p:nvPr>
        </p:nvSpPr>
        <p:spPr>
          <a:xfrm>
            <a:off x="517093" y="299012"/>
            <a:ext cx="11157817" cy="480196"/>
          </a:xfrm>
          <a:prstGeom prst="rect">
            <a:avLst/>
          </a:prstGeom>
        </p:spPr>
        <p:txBody>
          <a:bodyPr vert="horz" lIns="0" tIns="0" rIns="0" bIns="0" anchor="ctr"/>
          <a:lstStyle>
            <a:lvl1pPr algn="ctr" rtl="0">
              <a:defRPr sz="3467">
                <a:solidFill>
                  <a:schemeClr val="tx1">
                    <a:lumMod val="75000"/>
                    <a:lumOff val="25000"/>
                  </a:schemeClr>
                </a:solidFill>
                <a:latin typeface="+mj-lt"/>
              </a:defRPr>
            </a:lvl1pPr>
          </a:lstStyle>
          <a:p>
            <a:r>
              <a:rPr lang="en-GB"/>
              <a:t>Click to edit Master title style</a:t>
            </a:r>
          </a:p>
        </p:txBody>
      </p:sp>
    </p:spTree>
    <p:extLst>
      <p:ext uri="{BB962C8B-B14F-4D97-AF65-F5344CB8AC3E}">
        <p14:creationId xmlns:p14="http://schemas.microsoft.com/office/powerpoint/2010/main" val="27140361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59106B2-8EA6-4AAB-914E-6130B09615DC}"/>
              </a:ext>
            </a:extLst>
          </p:cNvPr>
          <p:cNvGraphicFramePr>
            <a:graphicFrameLocks noChangeAspect="1"/>
          </p:cNvGraphicFramePr>
          <p:nvPr userDrawn="1">
            <p:custDataLst>
              <p:tags r:id="rId1"/>
            </p:custDataLst>
            <p:extLst>
              <p:ext uri="{D42A27DB-BD31-4B8C-83A1-F6EECF244321}">
                <p14:modId xmlns:p14="http://schemas.microsoft.com/office/powerpoint/2010/main" val="3135819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559106B2-8EA6-4AAB-914E-6130B09615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200" b="0" i="0" u="none" kern="1200" spc="0">
                <a:solidFill>
                  <a:srgbClr val="006C67"/>
                </a:solidFill>
                <a:latin typeface="+mj-lt"/>
                <a:sym typeface="Trebuchet MS" panose="020B0603020202020204" pitchFamily="34" charset="0"/>
              </a:defRPr>
            </a:lvl1pPr>
          </a:lstStyle>
          <a:p>
            <a:pPr lvl="0"/>
            <a:r>
              <a:rPr lang="en-GB"/>
              <a:t>Click to add title</a:t>
            </a:r>
          </a:p>
        </p:txBody>
      </p:sp>
      <p:pic>
        <p:nvPicPr>
          <p:cNvPr id="11" name="Picture 10">
            <a:extLst>
              <a:ext uri="{FF2B5EF4-FFF2-40B4-BE49-F238E27FC236}">
                <a16:creationId xmlns:a16="http://schemas.microsoft.com/office/drawing/2014/main" id="{2E48F3E8-12A6-4D73-B6F1-3359DA1DCD69}"/>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6C3E35-28CF-AF16-D740-32EDD00F7606}"/>
              </a:ext>
            </a:extLst>
          </p:cNvPr>
          <p:cNvGraphicFramePr>
            <a:graphicFrameLocks noChangeAspect="1"/>
          </p:cNvGraphicFramePr>
          <p:nvPr userDrawn="1">
            <p:custDataLst>
              <p:tags r:id="rId1"/>
            </p:custDataLst>
            <p:extLst>
              <p:ext uri="{D42A27DB-BD31-4B8C-83A1-F6EECF244321}">
                <p14:modId xmlns:p14="http://schemas.microsoft.com/office/powerpoint/2010/main" val="1588310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8C6C3E35-28CF-AF16-D740-32EDD00F7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FCBE32-20C7-D251-A26B-CB22D501C816}"/>
              </a:ext>
            </a:extLst>
          </p:cNvPr>
          <p:cNvSpPr>
            <a:spLocks noGrp="1"/>
          </p:cNvSpPr>
          <p:nvPr>
            <p:ph type="ctrTitle"/>
          </p:nvPr>
        </p:nvSpPr>
        <p:spPr>
          <a:xfrm>
            <a:off x="1524000" y="1122363"/>
            <a:ext cx="9144000" cy="2387600"/>
          </a:xfrm>
        </p:spPr>
        <p:txBody>
          <a:bodyPr vert="horz" anchor="b"/>
          <a:lstStyle>
            <a:lvl1pPr algn="ctr" rtl="0">
              <a:defRPr sz="6000"/>
            </a:lvl1pPr>
          </a:lstStyle>
          <a:p>
            <a:r>
              <a:rPr lang="en-GB"/>
              <a:t>Click to edit Master title style</a:t>
            </a:r>
          </a:p>
        </p:txBody>
      </p:sp>
      <p:sp>
        <p:nvSpPr>
          <p:cNvPr id="3" name="Subtitle 2">
            <a:extLst>
              <a:ext uri="{FF2B5EF4-FFF2-40B4-BE49-F238E27FC236}">
                <a16:creationId xmlns:a16="http://schemas.microsoft.com/office/drawing/2014/main" id="{EBE9EBED-149F-4D34-0FAD-FE255BAC9CF6}"/>
              </a:ext>
            </a:extLst>
          </p:cNvPr>
          <p:cNvSpPr>
            <a:spLocks noGrp="1"/>
          </p:cNvSpPr>
          <p:nvPr>
            <p:ph type="subTitle" idx="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35536852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19353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p:cNvPicPr>
            <a:picLocks noChangeAspect="1"/>
          </p:cNvPicPr>
          <p:nvPr userDrawn="1"/>
        </p:nvPicPr>
        <p:blipFill rotWithShape="1">
          <a:blip r:embed="rId6"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sp>
        <p:nvSpPr>
          <p:cNvPr id="16" name="Title 5"/>
          <p:cNvSpPr>
            <a:spLocks noGrp="1"/>
          </p:cNvSpPr>
          <p:nvPr>
            <p:ph type="ctrTitle"/>
          </p:nvPr>
        </p:nvSpPr>
        <p:spPr>
          <a:xfrm>
            <a:off x="667408" y="1659004"/>
            <a:ext cx="7344478" cy="1638300"/>
          </a:xfrm>
        </p:spPr>
        <p:txBody>
          <a:bodyPr vert="horz" lIns="0" tIns="0" rIns="0" bIns="0" anchor="b">
            <a:normAutofit/>
          </a:bodyPr>
          <a:lstStyle>
            <a:lvl1pPr algn="l" rtl="0">
              <a:defRPr sz="5400">
                <a:solidFill>
                  <a:srgbClr val="006C67"/>
                </a:solidFill>
                <a:latin typeface="+mj-lt"/>
                <a:ea typeface="+mj-ea"/>
                <a:cs typeface="+mj-cs"/>
                <a:sym typeface="+mj-lt"/>
              </a:defRPr>
            </a:lvl1pPr>
          </a:lstStyle>
          <a:p>
            <a:r>
              <a:rPr lang="en-GB"/>
              <a:t>Click to edit Master title style</a:t>
            </a:r>
          </a:p>
        </p:txBody>
      </p:sp>
      <p:sp>
        <p:nvSpPr>
          <p:cNvPr id="17" name="Text Placeholder 7"/>
          <p:cNvSpPr>
            <a:spLocks noGrp="1"/>
          </p:cNvSpPr>
          <p:nvPr>
            <p:ph type="body" sz="quarter" idx="10" hasCustomPrompt="1"/>
          </p:nvPr>
        </p:nvSpPr>
        <p:spPr>
          <a:xfrm>
            <a:off x="667407" y="3461188"/>
            <a:ext cx="7344478" cy="662940"/>
          </a:xfrm>
        </p:spPr>
        <p:txBody>
          <a:bodyPr lIns="0" tIns="0" rIns="0" bIns="0">
            <a:normAutofit/>
          </a:bodyPr>
          <a:lstStyle>
            <a:lvl1pPr marL="0" indent="0" rtl="0">
              <a:buNone/>
              <a:defRPr sz="2400">
                <a:solidFill>
                  <a:schemeClr val="tx1"/>
                </a:solidFill>
                <a:latin typeface="+mn-lt"/>
                <a:ea typeface="+mn-ea"/>
                <a:cs typeface="+mn-cs"/>
                <a:sym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subtitle style</a:t>
            </a:r>
          </a:p>
        </p:txBody>
      </p:sp>
      <p:sp>
        <p:nvSpPr>
          <p:cNvPr id="19" name="Text Placeholder 2"/>
          <p:cNvSpPr>
            <a:spLocks noGrp="1"/>
          </p:cNvSpPr>
          <p:nvPr>
            <p:ph type="body" sz="quarter" idx="11" hasCustomPrompt="1"/>
          </p:nvPr>
        </p:nvSpPr>
        <p:spPr>
          <a:xfrm>
            <a:off x="667407" y="4198448"/>
            <a:ext cx="7344478" cy="251460"/>
          </a:xfrm>
        </p:spPr>
        <p:txBody>
          <a:bodyPr anchor="ctr"/>
          <a:lstStyle>
            <a:lvl1pPr rtl="0">
              <a:defRPr sz="1600" cap="all" baseline="0">
                <a:solidFill>
                  <a:srgbClr val="7F7F7F"/>
                </a:solidFill>
              </a:defRPr>
            </a:lvl1pPr>
          </a:lstStyle>
          <a:p>
            <a:pPr lvl="0"/>
            <a:r>
              <a:rPr lang="en-GB"/>
              <a:t>Click to edit date/place</a:t>
            </a:r>
          </a:p>
        </p:txBody>
      </p:sp>
      <p:pic>
        <p:nvPicPr>
          <p:cNvPr id="23" name="Picture 22"/>
          <p:cNvPicPr>
            <a:picLocks noChangeAspect="1"/>
          </p:cNvPicPr>
          <p:nvPr userDrawn="1"/>
        </p:nvPicPr>
        <p:blipFill rotWithShape="1">
          <a:blip r:embed="rId7"/>
          <a:srcRect/>
          <a:stretch/>
        </p:blipFill>
        <p:spPr>
          <a:xfrm>
            <a:off x="562633" y="3343543"/>
            <a:ext cx="7260614" cy="71407"/>
          </a:xfrm>
          <a:prstGeom prst="rect">
            <a:avLst/>
          </a:prstGeom>
        </p:spPr>
      </p:pic>
      <p:pic>
        <p:nvPicPr>
          <p:cNvPr id="24" name="Picture 23"/>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25" name="Picture 24"/>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12" name="Graphic 11">
            <a:extLst>
              <a:ext uri="{FF2B5EF4-FFF2-40B4-BE49-F238E27FC236}">
                <a16:creationId xmlns:a16="http://schemas.microsoft.com/office/drawing/2014/main" id="{5AC87C00-4530-4921-946F-609091407DDD}"/>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197438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130282-3E3A-4C35-A11C-2D6C365A53EB}"/>
              </a:ext>
            </a:extLst>
          </p:cNvPr>
          <p:cNvGraphicFramePr>
            <a:graphicFrameLocks noChangeAspect="1"/>
          </p:cNvGraphicFramePr>
          <p:nvPr userDrawn="1">
            <p:custDataLst>
              <p:tags r:id="rId1"/>
            </p:custDataLst>
            <p:extLst>
              <p:ext uri="{D42A27DB-BD31-4B8C-83A1-F6EECF244321}">
                <p14:modId xmlns:p14="http://schemas.microsoft.com/office/powerpoint/2010/main" val="3974576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15130282-3E3A-4C35-A11C-2D6C365A53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2" name="PP Templet-09.jpg" descr="PP Templet-09.jpg">
            <a:extLst>
              <a:ext uri="{FF2B5EF4-FFF2-40B4-BE49-F238E27FC236}">
                <a16:creationId xmlns:a16="http://schemas.microsoft.com/office/drawing/2014/main" id="{CC628583-DFBA-A6D1-FC9C-0C0F4A454C64}"/>
              </a:ext>
            </a:extLst>
          </p:cNvPr>
          <p:cNvPicPr>
            <a:picLocks noChangeAspect="1"/>
          </p:cNvPicPr>
          <p:nvPr userDrawn="1"/>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11664708" y="652176"/>
            <a:ext cx="335360" cy="6148270"/>
          </a:xfrm>
          <a:prstGeom prst="rect">
            <a:avLst/>
          </a:prstGeom>
          <a:ln w="12700">
            <a:miter lim="400000"/>
          </a:ln>
        </p:spPr>
      </p:pic>
      <p:pic>
        <p:nvPicPr>
          <p:cNvPr id="3" name="Picture 2">
            <a:extLst>
              <a:ext uri="{FF2B5EF4-FFF2-40B4-BE49-F238E27FC236}">
                <a16:creationId xmlns:a16="http://schemas.microsoft.com/office/drawing/2014/main" id="{A4183087-2771-E6CD-E3C2-181653FDB009}"/>
              </a:ext>
            </a:extLst>
          </p:cNvPr>
          <p:cNvPicPr>
            <a:picLocks noChangeAspect="1"/>
          </p:cNvPicPr>
          <p:nvPr userDrawn="1"/>
        </p:nvPicPr>
        <p:blipFill>
          <a:blip r:embed="rId6"/>
          <a:stretch>
            <a:fillRect/>
          </a:stretch>
        </p:blipFill>
        <p:spPr>
          <a:xfrm>
            <a:off x="-3847599" y="2495634"/>
            <a:ext cx="3524250" cy="2695575"/>
          </a:xfrm>
          <a:prstGeom prst="rect">
            <a:avLst/>
          </a:prstGeom>
        </p:spPr>
      </p:pic>
      <p:sp>
        <p:nvSpPr>
          <p:cNvPr id="6" name="Title 4">
            <a:extLst>
              <a:ext uri="{FF2B5EF4-FFF2-40B4-BE49-F238E27FC236}">
                <a16:creationId xmlns:a16="http://schemas.microsoft.com/office/drawing/2014/main" id="{401FE1BF-7A96-A0F6-803D-89DF55CFD1E4}"/>
              </a:ext>
            </a:extLst>
          </p:cNvPr>
          <p:cNvSpPr>
            <a:spLocks noGrp="1"/>
          </p:cNvSpPr>
          <p:nvPr>
            <p:ph type="title" hasCustomPrompt="1"/>
          </p:nvPr>
        </p:nvSpPr>
        <p:spPr>
          <a:xfrm>
            <a:off x="382860" y="622800"/>
            <a:ext cx="10933200" cy="4431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200" b="0" i="0" u="none" kern="1200" spc="0">
                <a:solidFill>
                  <a:srgbClr val="006C67"/>
                </a:solidFill>
                <a:latin typeface="+mj-lt"/>
                <a:sym typeface="Trebuchet MS" panose="020B0603020202020204" pitchFamily="34" charset="0"/>
              </a:defRPr>
            </a:lvl1pPr>
          </a:lstStyle>
          <a:p>
            <a:pPr lvl="0"/>
            <a:r>
              <a:rPr lang="en-GB"/>
              <a:t>Click to add title</a:t>
            </a:r>
          </a:p>
        </p:txBody>
      </p:sp>
    </p:spTree>
    <p:extLst>
      <p:ext uri="{BB962C8B-B14F-4D97-AF65-F5344CB8AC3E}">
        <p14:creationId xmlns:p14="http://schemas.microsoft.com/office/powerpoint/2010/main" val="1353806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130282-3E3A-4C35-A11C-2D6C365A53EB}"/>
              </a:ext>
            </a:extLst>
          </p:cNvPr>
          <p:cNvGraphicFramePr>
            <a:graphicFrameLocks noChangeAspect="1"/>
          </p:cNvGraphicFramePr>
          <p:nvPr userDrawn="1">
            <p:custDataLst>
              <p:tags r:id="rId1"/>
            </p:custDataLst>
            <p:extLst>
              <p:ext uri="{D42A27DB-BD31-4B8C-83A1-F6EECF244321}">
                <p14:modId xmlns:p14="http://schemas.microsoft.com/office/powerpoint/2010/main" val="200880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15130282-3E3A-4C35-A11C-2D6C365A53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5" name="Title 4"/>
          <p:cNvSpPr>
            <a:spLocks noGrp="1"/>
          </p:cNvSpPr>
          <p:nvPr>
            <p:ph type="title" hasCustomPrompt="1"/>
          </p:nvPr>
        </p:nvSpPr>
        <p:spPr>
          <a:xfrm>
            <a:off x="382860" y="622800"/>
            <a:ext cx="10933200" cy="2769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000" b="0" i="0" u="none" kern="1200" spc="0">
                <a:solidFill>
                  <a:srgbClr val="006C67"/>
                </a:solidFill>
                <a:latin typeface="+mj-lt"/>
                <a:sym typeface="Trebuchet MS" panose="020B0603020202020204" pitchFamily="34" charset="0"/>
              </a:defRPr>
            </a:lvl1pPr>
          </a:lstStyle>
          <a:p>
            <a:pPr lvl="0"/>
            <a:r>
              <a:rPr lang="en-GB"/>
              <a:t>Click to add title</a:t>
            </a:r>
          </a:p>
        </p:txBody>
      </p:sp>
      <p:pic>
        <p:nvPicPr>
          <p:cNvPr id="2" name="PP Templet-09.jpg" descr="PP Templet-09.jpg">
            <a:extLst>
              <a:ext uri="{FF2B5EF4-FFF2-40B4-BE49-F238E27FC236}">
                <a16:creationId xmlns:a16="http://schemas.microsoft.com/office/drawing/2014/main" id="{CC628583-DFBA-A6D1-FC9C-0C0F4A454C64}"/>
              </a:ext>
            </a:extLst>
          </p:cNvPr>
          <p:cNvPicPr>
            <a:picLocks noChangeAspect="1"/>
          </p:cNvPicPr>
          <p:nvPr userDrawn="1"/>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11664708" y="652176"/>
            <a:ext cx="335360" cy="6148270"/>
          </a:xfrm>
          <a:prstGeom prst="rect">
            <a:avLst/>
          </a:prstGeom>
          <a:ln w="12700">
            <a:miter lim="400000"/>
          </a:ln>
        </p:spPr>
      </p:pic>
    </p:spTree>
    <p:extLst>
      <p:ext uri="{BB962C8B-B14F-4D97-AF65-F5344CB8AC3E}">
        <p14:creationId xmlns:p14="http://schemas.microsoft.com/office/powerpoint/2010/main" val="69714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91555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sp>
        <p:nvSpPr>
          <p:cNvPr id="3" name="Rectangle 2"/>
          <p:cNvSpPr/>
          <p:nvPr userDrawn="1"/>
        </p:nvSpPr>
        <p:spPr>
          <a:xfrm>
            <a:off x="667408" y="1659004"/>
            <a:ext cx="7344478" cy="16383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6C67"/>
                </a:solidFill>
              </a14:hiddenFill>
            </a:ext>
            <a:ext uri="{91240B29-F687-4F45-9708-019B960494DF}">
              <a14:hiddenLine xmlns:a14="http://schemas.microsoft.com/office/drawing/2010/main" w="9525" cap="rnd" cmpd="sng" algn="ctr">
                <a:solidFill>
                  <a:srgbClr val="006C6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l" defTabSz="914400" rtl="0" eaLnBrk="1" latinLnBrk="0" hangingPunct="1">
              <a:lnSpc>
                <a:spcPct val="90000"/>
              </a:lnSpc>
              <a:spcBef>
                <a:spcPct val="0"/>
              </a:spcBef>
              <a:buNone/>
            </a:pPr>
            <a:r>
              <a:rPr lang="en-GB" sz="5400" b="1" kern="1200">
                <a:solidFill>
                  <a:srgbClr val="006C67"/>
                </a:solidFill>
                <a:latin typeface="Sakkal Majalla" panose="02000000000000000000" pitchFamily="2" charset="-78"/>
                <a:ea typeface="+mj-ea"/>
                <a:cs typeface="Sakkal Majalla" panose="02000000000000000000" pitchFamily="2" charset="-78"/>
                <a:sym typeface="+mj-lt"/>
              </a:rPr>
              <a:t>Thank you</a:t>
            </a:r>
          </a:p>
        </p:txBody>
      </p:sp>
      <p:pic>
        <p:nvPicPr>
          <p:cNvPr id="14" name="Picture 13"/>
          <p:cNvPicPr>
            <a:picLocks noChangeAspect="1"/>
          </p:cNvPicPr>
          <p:nvPr userDrawn="1"/>
        </p:nvPicPr>
        <p:blipFill rotWithShape="1">
          <a:blip r:embed="rId6"/>
          <a:srcRect/>
          <a:stretch/>
        </p:blipFill>
        <p:spPr>
          <a:xfrm>
            <a:off x="562633" y="3343543"/>
            <a:ext cx="7260614" cy="71407"/>
          </a:xfrm>
          <a:prstGeom prst="rect">
            <a:avLst/>
          </a:prstGeom>
        </p:spPr>
      </p:pic>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17" name="Picture 16"/>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9" name="Graphic 8">
            <a:extLst>
              <a:ext uri="{FF2B5EF4-FFF2-40B4-BE49-F238E27FC236}">
                <a16:creationId xmlns:a16="http://schemas.microsoft.com/office/drawing/2014/main" id="{0875E17A-EBA8-45DB-B0D7-60C4290199C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4229427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41015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pic>
        <p:nvPicPr>
          <p:cNvPr id="14" name="Picture 13"/>
          <p:cNvPicPr>
            <a:picLocks noChangeAspect="1"/>
          </p:cNvPicPr>
          <p:nvPr userDrawn="1"/>
        </p:nvPicPr>
        <p:blipFill rotWithShape="1">
          <a:blip r:embed="rId6"/>
          <a:srcRect/>
          <a:stretch/>
        </p:blipFill>
        <p:spPr>
          <a:xfrm>
            <a:off x="562633" y="3343543"/>
            <a:ext cx="7260614" cy="71407"/>
          </a:xfrm>
          <a:prstGeom prst="rect">
            <a:avLst/>
          </a:prstGeom>
        </p:spPr>
      </p:pic>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17" name="Picture 16"/>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9" name="Graphic 8">
            <a:extLst>
              <a:ext uri="{FF2B5EF4-FFF2-40B4-BE49-F238E27FC236}">
                <a16:creationId xmlns:a16="http://schemas.microsoft.com/office/drawing/2014/main" id="{0875E17A-EBA8-45DB-B0D7-60C4290199C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3249020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61021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sp>
        <p:nvSpPr>
          <p:cNvPr id="17" name="Title 5"/>
          <p:cNvSpPr>
            <a:spLocks noGrp="1"/>
          </p:cNvSpPr>
          <p:nvPr>
            <p:ph type="ctrTitle"/>
          </p:nvPr>
        </p:nvSpPr>
        <p:spPr>
          <a:xfrm>
            <a:off x="667408" y="1659004"/>
            <a:ext cx="7344478" cy="1638300"/>
          </a:xfrm>
        </p:spPr>
        <p:txBody>
          <a:bodyPr vert="horz" lIns="0" tIns="0" rIns="0" bIns="0" anchor="b">
            <a:normAutofit/>
          </a:bodyPr>
          <a:lstStyle>
            <a:lvl1pPr algn="l" rtl="0">
              <a:defRPr sz="5400">
                <a:solidFill>
                  <a:srgbClr val="006C67"/>
                </a:solidFill>
                <a:latin typeface="+mj-lt"/>
                <a:ea typeface="+mj-ea"/>
                <a:cs typeface="+mj-cs"/>
                <a:sym typeface="+mj-lt"/>
              </a:defRPr>
            </a:lvl1pPr>
          </a:lstStyle>
          <a:p>
            <a:r>
              <a:rPr lang="en-GB"/>
              <a:t>Click to edit Master title style</a:t>
            </a:r>
          </a:p>
        </p:txBody>
      </p:sp>
      <p:sp>
        <p:nvSpPr>
          <p:cNvPr id="19" name="Text Placeholder 7"/>
          <p:cNvSpPr>
            <a:spLocks noGrp="1"/>
          </p:cNvSpPr>
          <p:nvPr>
            <p:ph type="body" sz="quarter" idx="10" hasCustomPrompt="1"/>
          </p:nvPr>
        </p:nvSpPr>
        <p:spPr>
          <a:xfrm>
            <a:off x="667407" y="3461188"/>
            <a:ext cx="7344478" cy="662940"/>
          </a:xfrm>
        </p:spPr>
        <p:txBody>
          <a:bodyPr lIns="0" tIns="0" rIns="0" bIns="0">
            <a:normAutofit/>
          </a:bodyPr>
          <a:lstStyle>
            <a:lvl1pPr marL="0" indent="0" rtl="0">
              <a:buNone/>
              <a:defRPr sz="2400">
                <a:solidFill>
                  <a:schemeClr val="tx1"/>
                </a:solidFill>
                <a:latin typeface="+mn-lt"/>
                <a:ea typeface="+mn-ea"/>
                <a:cs typeface="+mn-cs"/>
                <a:sym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subtitle style</a:t>
            </a:r>
          </a:p>
        </p:txBody>
      </p:sp>
      <p:sp>
        <p:nvSpPr>
          <p:cNvPr id="23" name="Text Placeholder 2"/>
          <p:cNvSpPr>
            <a:spLocks noGrp="1"/>
          </p:cNvSpPr>
          <p:nvPr>
            <p:ph type="body" sz="quarter" idx="11" hasCustomPrompt="1"/>
          </p:nvPr>
        </p:nvSpPr>
        <p:spPr>
          <a:xfrm>
            <a:off x="667407" y="4198448"/>
            <a:ext cx="7344478" cy="251460"/>
          </a:xfrm>
        </p:spPr>
        <p:txBody>
          <a:bodyPr anchor="ctr"/>
          <a:lstStyle>
            <a:lvl1pPr rtl="0">
              <a:defRPr sz="1600" cap="all" baseline="0">
                <a:solidFill>
                  <a:srgbClr val="7F7F7F"/>
                </a:solidFill>
              </a:defRPr>
            </a:lvl1pPr>
          </a:lstStyle>
          <a:p>
            <a:pPr lvl="0"/>
            <a:r>
              <a:rPr lang="en-GB"/>
              <a:t>Click to edit date/place</a:t>
            </a:r>
          </a:p>
        </p:txBody>
      </p:sp>
      <p:pic>
        <p:nvPicPr>
          <p:cNvPr id="24" name="Picture 23"/>
          <p:cNvPicPr>
            <a:picLocks noChangeAspect="1"/>
          </p:cNvPicPr>
          <p:nvPr userDrawn="1"/>
        </p:nvPicPr>
        <p:blipFill rotWithShape="1">
          <a:blip r:embed="rId7"/>
          <a:srcRect/>
          <a:stretch/>
        </p:blipFill>
        <p:spPr>
          <a:xfrm>
            <a:off x="562633" y="3343543"/>
            <a:ext cx="7260614" cy="71407"/>
          </a:xfrm>
          <a:prstGeom prst="rect">
            <a:avLst/>
          </a:prstGeom>
        </p:spPr>
      </p:pic>
      <p:pic>
        <p:nvPicPr>
          <p:cNvPr id="25" name="Picture 24"/>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28" name="Picture 27"/>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12" name="Graphic 11">
            <a:extLst>
              <a:ext uri="{FF2B5EF4-FFF2-40B4-BE49-F238E27FC236}">
                <a16:creationId xmlns:a16="http://schemas.microsoft.com/office/drawing/2014/main" id="{E5DB6A6D-0DD1-4546-860A-F4108A3FCA24}"/>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106958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624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a:xfrm>
            <a:off x="10110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solidFill>
                  <a:srgbClr val="006C67"/>
                </a:solidFill>
                <a:latin typeface="+mj-lt"/>
                <a:sym typeface="Trebuchet MS" panose="020B0603020202020204" pitchFamily="34" charset="0"/>
              </a:defRPr>
            </a:lvl1pPr>
          </a:lstStyle>
          <a:p>
            <a:r>
              <a:rPr lang="en-GB"/>
              <a:t>Click to add title</a:t>
            </a:r>
          </a:p>
        </p:txBody>
      </p:sp>
      <p:pic>
        <p:nvPicPr>
          <p:cNvPr id="11" name="PP Templet-09.jpg" descr="PP Templet-09.jpg"/>
          <p:cNvPicPr>
            <a:picLocks noChangeAspect="1"/>
          </p:cNvPicPr>
          <p:nvPr userDrawn="1"/>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11691954" y="652176"/>
            <a:ext cx="335360" cy="6148270"/>
          </a:xfrm>
          <a:prstGeom prst="rect">
            <a:avLst/>
          </a:prstGeom>
          <a:ln w="12700">
            <a:miter lim="400000"/>
          </a:ln>
        </p:spPr>
      </p:pic>
    </p:spTree>
    <p:extLst>
      <p:ext uri="{BB962C8B-B14F-4D97-AF65-F5344CB8AC3E}">
        <p14:creationId xmlns:p14="http://schemas.microsoft.com/office/powerpoint/2010/main" val="371133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71AE980-64FD-EBEF-E5A2-92F67D6622E0}"/>
              </a:ext>
            </a:extLst>
          </p:cNvPr>
          <p:cNvGraphicFramePr>
            <a:graphicFrameLocks noChangeAspect="1"/>
          </p:cNvGraphicFramePr>
          <p:nvPr userDrawn="1">
            <p:custDataLst>
              <p:tags r:id="rId1"/>
            </p:custDataLst>
            <p:extLst>
              <p:ext uri="{D42A27DB-BD31-4B8C-83A1-F6EECF244321}">
                <p14:modId xmlns:p14="http://schemas.microsoft.com/office/powerpoint/2010/main" val="294515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71AE980-64FD-EBEF-E5A2-92F67D6622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lgn="l" rtl="0">
              <a:defRPr>
                <a:solidFill>
                  <a:srgbClr val="006C67"/>
                </a:solidFill>
              </a:defRPr>
            </a:lvl1pPr>
          </a:lstStyle>
          <a:p>
            <a:r>
              <a:rPr lang="en-GB"/>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algn="l" rtl="0">
              <a:lnSpc>
                <a:spcPct val="100000"/>
              </a:lnSpc>
              <a:spcBef>
                <a:spcPts val="0"/>
              </a:spcBef>
              <a:spcAft>
                <a:spcPts val="0"/>
              </a:spcAft>
              <a:defRPr/>
            </a:lvl1pPr>
            <a:lvl2pPr algn="l" rtl="0">
              <a:lnSpc>
                <a:spcPct val="100000"/>
              </a:lnSpc>
              <a:spcBef>
                <a:spcPts val="0"/>
              </a:spcBef>
              <a:spcAft>
                <a:spcPts val="0"/>
              </a:spcAft>
              <a:defRPr/>
            </a:lvl2pPr>
            <a:lvl3pPr algn="l" rtl="0">
              <a:lnSpc>
                <a:spcPct val="100000"/>
              </a:lnSpc>
              <a:spcBef>
                <a:spcPts val="0"/>
              </a:spcBef>
              <a:spcAft>
                <a:spcPts val="0"/>
              </a:spcAft>
              <a:defRPr/>
            </a:lvl3pPr>
            <a:lvl4pPr algn="l" rtl="0">
              <a:lnSpc>
                <a:spcPct val="100000"/>
              </a:lnSpc>
              <a:spcBef>
                <a:spcPts val="0"/>
              </a:spcBef>
              <a:spcAft>
                <a:spcPts val="0"/>
              </a:spcAft>
              <a:defRPr/>
            </a:lvl4pPr>
            <a:lvl5pPr algn="l" rtl="0">
              <a:lnSpc>
                <a:spcPct val="100000"/>
              </a:lnSpc>
              <a:spcBef>
                <a:spcPts val="0"/>
              </a:spcBef>
              <a:spcAft>
                <a:spcPts val="0"/>
              </a:spcAft>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7" name="PP Templet-09.jpg" descr="PP Templet-09.jpg"/>
          <p:cNvPicPr>
            <a:picLocks noChangeAspect="1"/>
          </p:cNvPicPr>
          <p:nvPr userDrawn="1"/>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11691954" y="652176"/>
            <a:ext cx="335360" cy="6148270"/>
          </a:xfrm>
          <a:prstGeom prst="rect">
            <a:avLst/>
          </a:prstGeom>
          <a:ln w="12700">
            <a:miter lim="400000"/>
          </a:ln>
        </p:spPr>
      </p:pic>
    </p:spTree>
    <p:extLst>
      <p:ext uri="{BB962C8B-B14F-4D97-AF65-F5344CB8AC3E}">
        <p14:creationId xmlns:p14="http://schemas.microsoft.com/office/powerpoint/2010/main" val="2652801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58883A-538F-1045-0A8C-11923C8C4C7F}"/>
              </a:ext>
            </a:extLst>
          </p:cNvPr>
          <p:cNvGraphicFramePr>
            <a:graphicFrameLocks noChangeAspect="1"/>
          </p:cNvGraphicFramePr>
          <p:nvPr userDrawn="1">
            <p:custDataLst>
              <p:tags r:id="rId1"/>
            </p:custDataLst>
            <p:extLst>
              <p:ext uri="{D42A27DB-BD31-4B8C-83A1-F6EECF244321}">
                <p14:modId xmlns:p14="http://schemas.microsoft.com/office/powerpoint/2010/main" val="3728649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B358883A-538F-1045-0A8C-11923C8C4C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a:xfrm>
            <a:off x="10110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r" rtl="0">
              <a:buNone/>
              <a:defRPr sz="1600">
                <a:solidFill>
                  <a:srgbClr val="006C6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lgn="l" rtl="0">
              <a:defRPr sz="2400">
                <a:solidFill>
                  <a:srgbClr val="006C67"/>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727682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7FB2758-6FAA-B769-15B1-29DA013AE14C}"/>
              </a:ext>
            </a:extLst>
          </p:cNvPr>
          <p:cNvGraphicFramePr>
            <a:graphicFrameLocks noChangeAspect="1"/>
          </p:cNvGraphicFramePr>
          <p:nvPr userDrawn="1">
            <p:custDataLst>
              <p:tags r:id="rId1"/>
            </p:custDataLst>
            <p:extLst>
              <p:ext uri="{D42A27DB-BD31-4B8C-83A1-F6EECF244321}">
                <p14:modId xmlns:p14="http://schemas.microsoft.com/office/powerpoint/2010/main" val="4017303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C7FB2758-6FAA-B769-15B1-29DA013AE1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lgn="l" rtl="0">
              <a:defRPr sz="3200">
                <a:solidFill>
                  <a:schemeClr val="bg1"/>
                </a:solidFill>
                <a:latin typeface="+mj-lt"/>
                <a:sym typeface="Trebuchet MS" panose="020B0603020202020204" pitchFamily="34" charset="0"/>
              </a:defRPr>
            </a:lvl1pPr>
          </a:lstStyle>
          <a:p>
            <a:r>
              <a:rPr lang="en-GB"/>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14" name="Picture 13">
            <a:extLst>
              <a:ext uri="{FF2B5EF4-FFF2-40B4-BE49-F238E27FC236}">
                <a16:creationId xmlns:a16="http://schemas.microsoft.com/office/drawing/2014/main" id="{8DA38196-839C-4BD1-8293-D43A6F0AC2DB}"/>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DE2061F-BA57-7336-3509-703F75A5D9CE}"/>
              </a:ext>
            </a:extLst>
          </p:cNvPr>
          <p:cNvGraphicFramePr>
            <a:graphicFrameLocks noChangeAspect="1"/>
          </p:cNvGraphicFramePr>
          <p:nvPr userDrawn="1">
            <p:custDataLst>
              <p:tags r:id="rId1"/>
            </p:custDataLst>
            <p:extLst>
              <p:ext uri="{D42A27DB-BD31-4B8C-83A1-F6EECF244321}">
                <p14:modId xmlns:p14="http://schemas.microsoft.com/office/powerpoint/2010/main" val="2312701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ADE2061F-BA57-7336-3509-703F75A5D9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a:xfrm>
            <a:off x="10110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C67"/>
                </a:solidFill>
                <a:latin typeface="+mj-lt"/>
                <a:ea typeface="+mn-ea"/>
                <a:cs typeface="Arial" panose="020B0604020202020204" pitchFamily="34" charset="0"/>
                <a:sym typeface="Trebuchet MS" panose="020B0603020202020204" pitchFamily="34" charset="0"/>
              </a:defRPr>
            </a:lvl1pPr>
          </a:lstStyle>
          <a:p>
            <a:r>
              <a:rPr lang="en-GB"/>
              <a:t>Click to add section title</a:t>
            </a:r>
          </a:p>
        </p:txBody>
      </p:sp>
      <p:sp>
        <p:nvSpPr>
          <p:cNvPr id="11" name="Rectangle 10"/>
          <p:cNvSpPr/>
          <p:nvPr userDrawn="1"/>
        </p:nvSpPr>
        <p:spPr bwMode="white">
          <a:xfrm>
            <a:off x="1280693" y="1424081"/>
            <a:ext cx="951721" cy="951721"/>
          </a:xfrm>
          <a:prstGeom prst="rect">
            <a:avLst/>
          </a:prstGeom>
          <a:noFill/>
          <a:ln>
            <a:solidFill>
              <a:srgbClr val="009A9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86332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9B70E0-0FA2-5090-BEB7-58B1213EC8BA}"/>
              </a:ext>
            </a:extLst>
          </p:cNvPr>
          <p:cNvGraphicFramePr>
            <a:graphicFrameLocks noChangeAspect="1"/>
          </p:cNvGraphicFramePr>
          <p:nvPr userDrawn="1">
            <p:custDataLst>
              <p:tags r:id="rId1"/>
            </p:custDataLst>
            <p:extLst>
              <p:ext uri="{D42A27DB-BD31-4B8C-83A1-F6EECF244321}">
                <p14:modId xmlns:p14="http://schemas.microsoft.com/office/powerpoint/2010/main" val="22539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6D9B70E0-0FA2-5090-BEB7-58B1213EC8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a:xfrm>
            <a:off x="10110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lgn="l" rtl="0">
              <a:defRPr sz="5400">
                <a:solidFill>
                  <a:srgbClr val="006C67"/>
                </a:solidFill>
                <a:latin typeface="+mj-lt"/>
                <a:sym typeface="Trebuchet MS" panose="020B0603020202020204" pitchFamily="34" charset="0"/>
              </a:defRPr>
            </a:lvl1pPr>
          </a:lstStyle>
          <a:p>
            <a:r>
              <a:rPr lang="en-GB"/>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009A93"/>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2464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D085DE5-9281-299D-41F1-820F9FC0CF91}"/>
              </a:ext>
            </a:extLst>
          </p:cNvPr>
          <p:cNvGraphicFramePr>
            <a:graphicFrameLocks noChangeAspect="1"/>
          </p:cNvGraphicFramePr>
          <p:nvPr userDrawn="1">
            <p:custDataLst>
              <p:tags r:id="rId1"/>
            </p:custDataLst>
            <p:extLst>
              <p:ext uri="{D42A27DB-BD31-4B8C-83A1-F6EECF244321}">
                <p14:modId xmlns:p14="http://schemas.microsoft.com/office/powerpoint/2010/main" val="33166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D085DE5-9281-299D-41F1-820F9FC0CF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lgn="l" rtl="0">
              <a:defRPr sz="2400">
                <a:solidFill>
                  <a:srgbClr val="006C67"/>
                </a:solidFill>
                <a:latin typeface="+mj-lt"/>
                <a:sym typeface="Trebuchet MS" panose="020B0603020202020204" pitchFamily="34" charset="0"/>
              </a:defRPr>
            </a:lvl1pPr>
          </a:lstStyle>
          <a:p>
            <a:r>
              <a:rPr lang="en-GB"/>
              <a:t>Click to add title</a:t>
            </a:r>
          </a:p>
        </p:txBody>
      </p:sp>
      <p:pic>
        <p:nvPicPr>
          <p:cNvPr id="11" name="Picture 10">
            <a:extLst>
              <a:ext uri="{FF2B5EF4-FFF2-40B4-BE49-F238E27FC236}">
                <a16:creationId xmlns:a16="http://schemas.microsoft.com/office/drawing/2014/main" id="{CCF5566F-5DE7-44C7-8472-479F86C22CF7}"/>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22530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1EA5B2-CED9-2A42-D549-00B0B0BBAA91}"/>
              </a:ext>
            </a:extLst>
          </p:cNvPr>
          <p:cNvGraphicFramePr>
            <a:graphicFrameLocks noChangeAspect="1"/>
          </p:cNvGraphicFramePr>
          <p:nvPr userDrawn="1">
            <p:custDataLst>
              <p:tags r:id="rId1"/>
            </p:custDataLst>
            <p:extLst>
              <p:ext uri="{D42A27DB-BD31-4B8C-83A1-F6EECF244321}">
                <p14:modId xmlns:p14="http://schemas.microsoft.com/office/powerpoint/2010/main" val="1648409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611EA5B2-CED9-2A42-D549-00B0B0BBA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rtl="0">
              <a:defRPr>
                <a:solidFill>
                  <a:srgbClr val="006C67"/>
                </a:solidFill>
                <a:latin typeface="+mj-lt"/>
                <a:sym typeface="Trebuchet MS" panose="020B0603020202020204" pitchFamily="34" charset="0"/>
              </a:defRPr>
            </a:lvl1pPr>
          </a:lstStyle>
          <a:p>
            <a:r>
              <a:rPr lang="en-GB"/>
              <a:t>Click to add title</a:t>
            </a:r>
          </a:p>
        </p:txBody>
      </p:sp>
      <p:pic>
        <p:nvPicPr>
          <p:cNvPr id="11" name="Picture 10">
            <a:extLst>
              <a:ext uri="{FF2B5EF4-FFF2-40B4-BE49-F238E27FC236}">
                <a16:creationId xmlns:a16="http://schemas.microsoft.com/office/drawing/2014/main" id="{7E81D9EE-7DCA-4757-9805-463846A646DA}"/>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815055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D0416BE-B386-795B-EE77-034A471356B6}"/>
              </a:ext>
            </a:extLst>
          </p:cNvPr>
          <p:cNvGraphicFramePr>
            <a:graphicFrameLocks noChangeAspect="1"/>
          </p:cNvGraphicFramePr>
          <p:nvPr userDrawn="1">
            <p:custDataLst>
              <p:tags r:id="rId1"/>
            </p:custDataLst>
            <p:extLst>
              <p:ext uri="{D42A27DB-BD31-4B8C-83A1-F6EECF244321}">
                <p14:modId xmlns:p14="http://schemas.microsoft.com/office/powerpoint/2010/main" val="115327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ED0416BE-B386-795B-EE77-034A471356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lgn="l" rtl="0">
              <a:defRPr>
                <a:solidFill>
                  <a:srgbClr val="006C67"/>
                </a:solidFill>
                <a:latin typeface="+mj-lt"/>
                <a:sym typeface="Trebuchet MS" panose="020B0603020202020204" pitchFamily="34" charset="0"/>
              </a:defRPr>
            </a:lvl1pPr>
          </a:lstStyle>
          <a:p>
            <a:r>
              <a:rPr lang="en-GB"/>
              <a:t>Click to add title</a:t>
            </a:r>
          </a:p>
        </p:txBody>
      </p:sp>
      <p:pic>
        <p:nvPicPr>
          <p:cNvPr id="11" name="Picture 10">
            <a:extLst>
              <a:ext uri="{FF2B5EF4-FFF2-40B4-BE49-F238E27FC236}">
                <a16:creationId xmlns:a16="http://schemas.microsoft.com/office/drawing/2014/main" id="{C63B693B-4AD5-4D68-8296-3092FDBDAED9}"/>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362540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0401A71-FF3D-366D-C975-00334FB862B8}"/>
              </a:ext>
            </a:extLst>
          </p:cNvPr>
          <p:cNvGraphicFramePr>
            <a:graphicFrameLocks noChangeAspect="1"/>
          </p:cNvGraphicFramePr>
          <p:nvPr userDrawn="1">
            <p:custDataLst>
              <p:tags r:id="rId1"/>
            </p:custDataLst>
            <p:extLst>
              <p:ext uri="{D42A27DB-BD31-4B8C-83A1-F6EECF244321}">
                <p14:modId xmlns:p14="http://schemas.microsoft.com/office/powerpoint/2010/main" val="119909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30401A71-FF3D-366D-C975-00334FB862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en-GB"/>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10" name="Picture 9">
            <a:extLst>
              <a:ext uri="{FF2B5EF4-FFF2-40B4-BE49-F238E27FC236}">
                <a16:creationId xmlns:a16="http://schemas.microsoft.com/office/drawing/2014/main" id="{E05A7C20-AA08-4BFA-9709-9EAC1151E602}"/>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997125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A74B0F6-0ACC-6055-1BDE-6C77F7C95F70}"/>
              </a:ext>
            </a:extLst>
          </p:cNvPr>
          <p:cNvGraphicFramePr>
            <a:graphicFrameLocks noChangeAspect="1"/>
          </p:cNvGraphicFramePr>
          <p:nvPr userDrawn="1">
            <p:custDataLst>
              <p:tags r:id="rId1"/>
            </p:custDataLst>
            <p:extLst>
              <p:ext uri="{D42A27DB-BD31-4B8C-83A1-F6EECF244321}">
                <p14:modId xmlns:p14="http://schemas.microsoft.com/office/powerpoint/2010/main" val="149288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8A74B0F6-0ACC-6055-1BDE-6C77F7C95F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18" name="Picture 17">
            <a:extLst>
              <a:ext uri="{FF2B5EF4-FFF2-40B4-BE49-F238E27FC236}">
                <a16:creationId xmlns:a16="http://schemas.microsoft.com/office/drawing/2014/main" id="{3AA8C9F0-F04D-4944-BA87-3AAE11A470BF}"/>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232371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EC375E-9EA7-5D1F-CE4B-454167881014}"/>
              </a:ext>
            </a:extLst>
          </p:cNvPr>
          <p:cNvGraphicFramePr>
            <a:graphicFrameLocks noChangeAspect="1"/>
          </p:cNvGraphicFramePr>
          <p:nvPr userDrawn="1">
            <p:custDataLst>
              <p:tags r:id="rId1"/>
            </p:custDataLst>
            <p:extLst>
              <p:ext uri="{D42A27DB-BD31-4B8C-83A1-F6EECF244321}">
                <p14:modId xmlns:p14="http://schemas.microsoft.com/office/powerpoint/2010/main" val="2063422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21EC375E-9EA7-5D1F-CE4B-4541678810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0D08559D-B634-4DE1-B3CB-076B1A315F9E}"/>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435199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21071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2400">
                <a:solidFill>
                  <a:srgbClr val="006C67"/>
                </a:solidFill>
                <a:latin typeface="+mj-lt"/>
                <a:sym typeface="Trebuchet MS" panose="020B0603020202020204" pitchFamily="34" charset="0"/>
              </a:defRPr>
            </a:lvl1pPr>
          </a:lstStyle>
          <a:p>
            <a:r>
              <a:rPr lang="en-GB">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74B6C4EB-7234-49BE-933E-C47B1D627A51}"/>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12785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77B97D-5727-3D07-9FB6-3D8E954BF0F1}"/>
              </a:ext>
            </a:extLst>
          </p:cNvPr>
          <p:cNvGraphicFramePr>
            <a:graphicFrameLocks noChangeAspect="1"/>
          </p:cNvGraphicFramePr>
          <p:nvPr userDrawn="1">
            <p:custDataLst>
              <p:tags r:id="rId1"/>
            </p:custDataLst>
            <p:extLst>
              <p:ext uri="{D42A27DB-BD31-4B8C-83A1-F6EECF244321}">
                <p14:modId xmlns:p14="http://schemas.microsoft.com/office/powerpoint/2010/main" val="403497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CF77B97D-5727-3D07-9FB6-3D8E954BF0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rtl="0">
              <a:defRPr>
                <a:solidFill>
                  <a:srgbClr val="FFFFFF"/>
                </a:solidFill>
                <a:latin typeface="+mj-lt"/>
              </a:defRPr>
            </a:lvl1pPr>
          </a:lstStyle>
          <a:p>
            <a:r>
              <a:rPr lang="en-GB"/>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a:extLst>
              <a:ext uri="{FF2B5EF4-FFF2-40B4-BE49-F238E27FC236}">
                <a16:creationId xmlns:a16="http://schemas.microsoft.com/office/drawing/2014/main" id="{2D1FD59A-4685-48EA-99FE-D5D1F4A0DD97}"/>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934667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CC6A12-31EA-9597-7724-367299AD0E47}"/>
              </a:ext>
            </a:extLst>
          </p:cNvPr>
          <p:cNvGraphicFramePr>
            <a:graphicFrameLocks noChangeAspect="1"/>
          </p:cNvGraphicFramePr>
          <p:nvPr userDrawn="1">
            <p:custDataLst>
              <p:tags r:id="rId1"/>
            </p:custDataLst>
            <p:extLst>
              <p:ext uri="{D42A27DB-BD31-4B8C-83A1-F6EECF244321}">
                <p14:modId xmlns:p14="http://schemas.microsoft.com/office/powerpoint/2010/main" val="400944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79CC6A12-31EA-9597-7724-367299AD0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lgn="l" rtl="0">
              <a:defRPr sz="4400">
                <a:solidFill>
                  <a:schemeClr val="bg1"/>
                </a:solidFill>
                <a:latin typeface="+mj-lt"/>
                <a:sym typeface="Trebuchet MS" panose="020B0603020202020204" pitchFamily="34" charset="0"/>
              </a:defRPr>
            </a:lvl1pPr>
          </a:lstStyle>
          <a:p>
            <a:r>
              <a:rPr lang="en-GB"/>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17" name="Picture 16">
            <a:extLst>
              <a:ext uri="{FF2B5EF4-FFF2-40B4-BE49-F238E27FC236}">
                <a16:creationId xmlns:a16="http://schemas.microsoft.com/office/drawing/2014/main" id="{8C064DAF-F4D2-423A-A47C-0BEDF722ED0F}"/>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0EEC018-AC96-641E-814A-5BF087EF5C57}"/>
              </a:ext>
            </a:extLst>
          </p:cNvPr>
          <p:cNvGraphicFramePr>
            <a:graphicFrameLocks noChangeAspect="1"/>
          </p:cNvGraphicFramePr>
          <p:nvPr userDrawn="1">
            <p:custDataLst>
              <p:tags r:id="rId1"/>
            </p:custDataLst>
            <p:extLst>
              <p:ext uri="{D42A27DB-BD31-4B8C-83A1-F6EECF244321}">
                <p14:modId xmlns:p14="http://schemas.microsoft.com/office/powerpoint/2010/main" val="2845836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80EEC018-AC96-641E-814A-5BF087EF5C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006C67"/>
                </a:solidFill>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45C878E9-1B5E-4086-BF6E-E63942A82EEA}"/>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304986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7BDCD73-133F-ED5D-2A6F-408C52F59C07}"/>
              </a:ext>
            </a:extLst>
          </p:cNvPr>
          <p:cNvGraphicFramePr>
            <a:graphicFrameLocks noChangeAspect="1"/>
          </p:cNvGraphicFramePr>
          <p:nvPr userDrawn="1">
            <p:custDataLst>
              <p:tags r:id="rId1"/>
            </p:custDataLst>
            <p:extLst>
              <p:ext uri="{D42A27DB-BD31-4B8C-83A1-F6EECF244321}">
                <p14:modId xmlns:p14="http://schemas.microsoft.com/office/powerpoint/2010/main" val="93402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07BDCD73-133F-ED5D-2A6F-408C52F59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en-GB"/>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a:extLst>
              <a:ext uri="{FF2B5EF4-FFF2-40B4-BE49-F238E27FC236}">
                <a16:creationId xmlns:a16="http://schemas.microsoft.com/office/drawing/2014/main" id="{F15C7EC3-FAF7-423A-85C5-6C704DBD2D83}"/>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838542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9D22F9-3DDF-237D-57FC-B8D24CC4FEE0}"/>
              </a:ext>
            </a:extLst>
          </p:cNvPr>
          <p:cNvGraphicFramePr>
            <a:graphicFrameLocks noChangeAspect="1"/>
          </p:cNvGraphicFramePr>
          <p:nvPr userDrawn="1">
            <p:custDataLst>
              <p:tags r:id="rId1"/>
            </p:custDataLst>
            <p:extLst>
              <p:ext uri="{D42A27DB-BD31-4B8C-83A1-F6EECF244321}">
                <p14:modId xmlns:p14="http://schemas.microsoft.com/office/powerpoint/2010/main" val="3392409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A9D22F9-3DDF-237D-57FC-B8D24CC4FE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006C67"/>
                </a:solidFill>
                <a:latin typeface="+mj-lt"/>
                <a:sym typeface="Trebuchet MS" panose="020B0603020202020204" pitchFamily="34" charset="0"/>
              </a:defRPr>
            </a:lvl1pPr>
          </a:lstStyle>
          <a:p>
            <a:r>
              <a:rPr lang="en-GB"/>
              <a:t>Click to add title</a:t>
            </a: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558C5587-AA67-4CE8-ADFC-650D492A0DFF}"/>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237947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E4493E8-0726-C7DF-8CAC-9A51E849BCA1}"/>
              </a:ext>
            </a:extLst>
          </p:cNvPr>
          <p:cNvGraphicFramePr>
            <a:graphicFrameLocks noChangeAspect="1"/>
          </p:cNvGraphicFramePr>
          <p:nvPr userDrawn="1">
            <p:custDataLst>
              <p:tags r:id="rId1"/>
            </p:custDataLst>
            <p:extLst>
              <p:ext uri="{D42A27DB-BD31-4B8C-83A1-F6EECF244321}">
                <p14:modId xmlns:p14="http://schemas.microsoft.com/office/powerpoint/2010/main" val="3665070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DE4493E8-0726-C7DF-8CAC-9A51E849B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en-GB"/>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3" name="Picture 12">
            <a:extLst>
              <a:ext uri="{FF2B5EF4-FFF2-40B4-BE49-F238E27FC236}">
                <a16:creationId xmlns:a16="http://schemas.microsoft.com/office/drawing/2014/main" id="{41E1C2F9-3E4F-4853-B467-2BDA5842956F}"/>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830671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A57559C-9E5E-4C6E-E05C-89C632659EA6}"/>
              </a:ext>
            </a:extLst>
          </p:cNvPr>
          <p:cNvGraphicFramePr>
            <a:graphicFrameLocks noChangeAspect="1"/>
          </p:cNvGraphicFramePr>
          <p:nvPr userDrawn="1">
            <p:custDataLst>
              <p:tags r:id="rId1"/>
            </p:custDataLst>
            <p:extLst>
              <p:ext uri="{D42A27DB-BD31-4B8C-83A1-F6EECF244321}">
                <p14:modId xmlns:p14="http://schemas.microsoft.com/office/powerpoint/2010/main" val="3843818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5A57559C-9E5E-4C6E-E05C-89C632659E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006C67"/>
                </a:solidFill>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067780EB-A7EC-44AE-9321-8DA349D3E2C5}"/>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789280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73913A3-2356-ABF7-4AD8-26722A4510A4}"/>
              </a:ext>
            </a:extLst>
          </p:cNvPr>
          <p:cNvGraphicFramePr>
            <a:graphicFrameLocks noChangeAspect="1"/>
          </p:cNvGraphicFramePr>
          <p:nvPr userDrawn="1">
            <p:custDataLst>
              <p:tags r:id="rId1"/>
            </p:custDataLst>
            <p:extLst>
              <p:ext uri="{D42A27DB-BD31-4B8C-83A1-F6EECF244321}">
                <p14:modId xmlns:p14="http://schemas.microsoft.com/office/powerpoint/2010/main" val="3217909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873913A3-2356-ABF7-4AD8-26722A451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C67"/>
              </a:gs>
              <a:gs pos="100000">
                <a:srgbClr val="004C48"/>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en-GB"/>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a:extLst>
              <a:ext uri="{FF2B5EF4-FFF2-40B4-BE49-F238E27FC236}">
                <a16:creationId xmlns:a16="http://schemas.microsoft.com/office/drawing/2014/main" id="{3CBA65E1-29F4-47C1-8611-7C29BB873BEB}"/>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395052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7491802-E914-27DB-12A6-291AD8CA331B}"/>
              </a:ext>
            </a:extLst>
          </p:cNvPr>
          <p:cNvGraphicFramePr>
            <a:graphicFrameLocks noChangeAspect="1"/>
          </p:cNvGraphicFramePr>
          <p:nvPr userDrawn="1">
            <p:custDataLst>
              <p:tags r:id="rId1"/>
            </p:custDataLst>
            <p:extLst>
              <p:ext uri="{D42A27DB-BD31-4B8C-83A1-F6EECF244321}">
                <p14:modId xmlns:p14="http://schemas.microsoft.com/office/powerpoint/2010/main" val="1256033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77491802-E914-27DB-12A6-291AD8CA33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pic>
        <p:nvPicPr>
          <p:cNvPr id="8" name="Picture 7">
            <a:extLst>
              <a:ext uri="{FF2B5EF4-FFF2-40B4-BE49-F238E27FC236}">
                <a16:creationId xmlns:a16="http://schemas.microsoft.com/office/drawing/2014/main" id="{EA881E27-71F6-4BCC-8D52-6F57B33755FD}"/>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725141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880E80-037E-EBE3-ADD1-612270DAF3BF}"/>
              </a:ext>
            </a:extLst>
          </p:cNvPr>
          <p:cNvGraphicFramePr>
            <a:graphicFrameLocks noChangeAspect="1"/>
          </p:cNvGraphicFramePr>
          <p:nvPr userDrawn="1">
            <p:custDataLst>
              <p:tags r:id="rId1"/>
            </p:custDataLst>
            <p:extLst>
              <p:ext uri="{D42A27DB-BD31-4B8C-83A1-F6EECF244321}">
                <p14:modId xmlns:p14="http://schemas.microsoft.com/office/powerpoint/2010/main" val="3529739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B880E80-037E-EBE3-ADD1-612270DAF3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a:xfrm>
            <a:off x="1011000" y="6405036"/>
            <a:ext cx="1482051" cy="153888"/>
          </a:xfrm>
          <a:prstGeom prst="rect">
            <a:avLst/>
          </a:prstGeom>
        </p:spPr>
        <p:txBody>
          <a:bodyPr/>
          <a:lstStyle>
            <a:lvl1pPr rtl="0">
              <a:defRPr>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6" name="Rectangle 5"/>
          <p:cNvSpPr/>
          <p:nvPr userDrawn="1"/>
        </p:nvSpPr>
        <p:spPr bwMode="white">
          <a:xfrm>
            <a:off x="630000" y="625475"/>
            <a:ext cx="932688" cy="932688"/>
          </a:xfrm>
          <a:prstGeom prst="rect">
            <a:avLst/>
          </a:prstGeom>
          <a:noFill/>
          <a:ln>
            <a:solidFill>
              <a:srgbClr val="009A9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9A93"/>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2147786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3A3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16835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a:xfrm>
            <a:off x="10110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6C67"/>
          </a:solidFill>
          <a:ln>
            <a:noFill/>
          </a:ln>
          <a:effectLst/>
        </p:spPr>
        <p:txBody>
          <a:bodyPr vert="horz" wrap="square" lIns="91440" tIns="45720" rIns="91440" bIns="45720" numCol="1" anchor="t" anchorCtr="0" compatLnSpc="1">
            <a:prstTxWarp prst="textNoShape">
              <a:avLst/>
            </a:prstTxWarp>
            <a:noAutofit/>
          </a:bodyPr>
          <a:lstStyle/>
          <a:p>
            <a:pPr rtl="0"/>
            <a:endParaRPr lang="en-GB">
              <a:latin typeface="+mn-lt"/>
              <a:sym typeface="Trebuchet MS" panose="020B0603020202020204" pitchFamily="34" charset="0"/>
            </a:endParaRPr>
          </a:p>
        </p:txBody>
      </p:sp>
      <p:pic>
        <p:nvPicPr>
          <p:cNvPr id="9" name="Picture 8">
            <a:extLst>
              <a:ext uri="{FF2B5EF4-FFF2-40B4-BE49-F238E27FC236}">
                <a16:creationId xmlns:a16="http://schemas.microsoft.com/office/drawing/2014/main" id="{C021B772-7822-4263-889A-CC0F855DB35C}"/>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94440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A7CB194-AE60-27A2-F4E8-155AEC5977E9}"/>
              </a:ext>
            </a:extLst>
          </p:cNvPr>
          <p:cNvGraphicFramePr>
            <a:graphicFrameLocks noChangeAspect="1"/>
          </p:cNvGraphicFramePr>
          <p:nvPr userDrawn="1">
            <p:custDataLst>
              <p:tags r:id="rId1"/>
            </p:custDataLst>
            <p:extLst>
              <p:ext uri="{D42A27DB-BD31-4B8C-83A1-F6EECF244321}">
                <p14:modId xmlns:p14="http://schemas.microsoft.com/office/powerpoint/2010/main" val="120282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7A7CB194-AE60-27A2-F4E8-155AEC5977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10110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2" name="Title 1"/>
          <p:cNvSpPr>
            <a:spLocks noGrp="1"/>
          </p:cNvSpPr>
          <p:nvPr>
            <p:ph type="title" hasCustomPrompt="1"/>
          </p:nvPr>
        </p:nvSpPr>
        <p:spPr>
          <a:xfrm>
            <a:off x="630000" y="622800"/>
            <a:ext cx="10933200" cy="332399"/>
          </a:xfrm>
        </p:spPr>
        <p:txBody>
          <a:bodyPr vert="horz"/>
          <a:lstStyle>
            <a:lvl1pPr rtl="0">
              <a:defRPr>
                <a:solidFill>
                  <a:schemeClr val="bg1"/>
                </a:solidFill>
                <a:latin typeface="+mj-lt"/>
                <a:sym typeface="Trebuchet MS" panose="020B0603020202020204" pitchFamily="34" charset="0"/>
              </a:defRPr>
            </a:lvl1pPr>
          </a:lstStyle>
          <a:p>
            <a:r>
              <a:rPr lang="en-GB"/>
              <a:t>Click to add title</a:t>
            </a:r>
          </a:p>
        </p:txBody>
      </p:sp>
      <p:pic>
        <p:nvPicPr>
          <p:cNvPr id="8" name="Picture 7">
            <a:extLst>
              <a:ext uri="{FF2B5EF4-FFF2-40B4-BE49-F238E27FC236}">
                <a16:creationId xmlns:a16="http://schemas.microsoft.com/office/drawing/2014/main" id="{ED80C188-34C3-4D0B-A4C2-4CF092C76E52}"/>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605419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260187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14" name="Title 1"/>
          <p:cNvSpPr>
            <a:spLocks noGrp="1"/>
          </p:cNvSpPr>
          <p:nvPr>
            <p:ph type="title" hasCustomPrompt="1"/>
          </p:nvPr>
        </p:nvSpPr>
        <p:spPr bwMode="blackWhite">
          <a:xfrm>
            <a:off x="630000" y="1785600"/>
            <a:ext cx="6247552" cy="3286800"/>
          </a:xfrm>
          <a:prstGeom prst="rect">
            <a:avLst/>
          </a:prstGeom>
        </p:spPr>
        <p:txBody>
          <a:bodyPr vert="horz" anchor="ctr">
            <a:noAutofit/>
          </a:bodyPr>
          <a:lstStyle>
            <a:lvl1pPr algn="l" rtl="0">
              <a:defRPr sz="4400">
                <a:solidFill>
                  <a:schemeClr val="bg1"/>
                </a:solidFill>
                <a:latin typeface="+mj-lt"/>
                <a:sym typeface="Trebuchet MS" panose="020B0603020202020204" pitchFamily="34" charset="0"/>
              </a:defRPr>
            </a:lvl1pPr>
          </a:lstStyle>
          <a:p>
            <a:r>
              <a:rPr lang="en-GB"/>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7666F56A-541C-404D-BAFA-167172495B84}"/>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2C42D2E-5AD1-FFFA-8170-670AFD330BED}"/>
              </a:ext>
            </a:extLst>
          </p:cNvPr>
          <p:cNvGraphicFramePr>
            <a:graphicFrameLocks noChangeAspect="1"/>
          </p:cNvGraphicFramePr>
          <p:nvPr userDrawn="1">
            <p:custDataLst>
              <p:tags r:id="rId1"/>
            </p:custDataLst>
            <p:extLst>
              <p:ext uri="{D42A27DB-BD31-4B8C-83A1-F6EECF244321}">
                <p14:modId xmlns:p14="http://schemas.microsoft.com/office/powerpoint/2010/main" val="393507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E2C42D2E-5AD1-FFFA-8170-670AFD330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a:solidFill>
                  <a:srgbClr val="006C67"/>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E0359BA8-1A52-4A09-9C4A-A7646D16C613}"/>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741145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FB95D2C-2744-ABB1-432E-0744BF897E6C}"/>
              </a:ext>
            </a:extLst>
          </p:cNvPr>
          <p:cNvGraphicFramePr>
            <a:graphicFrameLocks noChangeAspect="1"/>
          </p:cNvGraphicFramePr>
          <p:nvPr userDrawn="1">
            <p:custDataLst>
              <p:tags r:id="rId1"/>
            </p:custDataLst>
            <p:extLst>
              <p:ext uri="{D42A27DB-BD31-4B8C-83A1-F6EECF244321}">
                <p14:modId xmlns:p14="http://schemas.microsoft.com/office/powerpoint/2010/main" val="376773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2FB95D2C-2744-ABB1-432E-0744BF897E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pic>
        <p:nvPicPr>
          <p:cNvPr id="4" name="Picture 3">
            <a:extLst>
              <a:ext uri="{FF2B5EF4-FFF2-40B4-BE49-F238E27FC236}">
                <a16:creationId xmlns:a16="http://schemas.microsoft.com/office/drawing/2014/main" id="{521D13C9-E3E2-E2E0-7125-8C1F1024BE68}"/>
              </a:ext>
            </a:extLst>
          </p:cNvPr>
          <p:cNvPicPr>
            <a:picLocks noChangeAspect="1"/>
          </p:cNvPicPr>
          <p:nvPr userDrawn="1"/>
        </p:nvPicPr>
        <p:blipFill>
          <a:blip r:embed="rId5">
            <a:biLevel thresh="25000"/>
          </a:blip>
          <a:stretch>
            <a:fillRect/>
          </a:stretch>
        </p:blipFill>
        <p:spPr>
          <a:xfrm>
            <a:off x="130967" y="86239"/>
            <a:ext cx="1190626" cy="350391"/>
          </a:xfrm>
          <a:prstGeom prst="rect">
            <a:avLst/>
          </a:prstGeom>
        </p:spPr>
      </p:pic>
      <p:sp>
        <p:nvSpPr>
          <p:cNvPr id="6" name="Title 8">
            <a:extLst>
              <a:ext uri="{FF2B5EF4-FFF2-40B4-BE49-F238E27FC236}">
                <a16:creationId xmlns:a16="http://schemas.microsoft.com/office/drawing/2014/main" id="{DD556A2B-14F9-1853-FDC9-4BE0C3FD583A}"/>
              </a:ext>
            </a:extLst>
          </p:cNvPr>
          <p:cNvSpPr txBox="1">
            <a:spLocks/>
          </p:cNvSpPr>
          <p:nvPr userDrawn="1"/>
        </p:nvSpPr>
        <p:spPr>
          <a:xfrm>
            <a:off x="10008224" y="6544322"/>
            <a:ext cx="1980110" cy="193938"/>
          </a:xfrm>
          <a:prstGeom prst="rect">
            <a:avLst/>
          </a:prstGeom>
          <a:noFill/>
          <a:ln w="9525">
            <a:noFill/>
            <a:miter lim="800000"/>
            <a:headEnd/>
            <a:tailEnd/>
          </a:ln>
        </p:spPr>
        <p:txBody>
          <a:bodyPr vert="horz" wrap="square" lIns="182880" tIns="0" rIns="182880" bIns="0" numCol="1" rtlCol="0" anchor="ctr" anchorCtr="0" compatLnSpc="1">
            <a:prstTxWarp prst="textNoShape">
              <a:avLst/>
            </a:prstTxWarp>
            <a:noAutofit/>
          </a:bodyPr>
          <a:lstStyle>
            <a:defPPr>
              <a:defRPr lang="en-US"/>
            </a:defPPr>
            <a:lvl1pPr lvl="0" algn="r" rtl="1">
              <a:lnSpc>
                <a:spcPct val="100000"/>
              </a:lnSpc>
              <a:spcBef>
                <a:spcPts val="0"/>
              </a:spcBef>
              <a:buNone/>
              <a:defRPr sz="2800" b="1" i="0">
                <a:solidFill>
                  <a:schemeClr val="accent6">
                    <a:lumMod val="75000"/>
                  </a:schemeClr>
                </a:solidFill>
                <a:latin typeface="Traditional Arabic" panose="02010000000000000000" pitchFamily="2" charset="-78"/>
                <a:ea typeface="+mj-ea"/>
                <a:cs typeface="Traditional Arabic Bold" panose="02010000000000000000" pitchFamily="2" charset="-78"/>
              </a:defRPr>
            </a:lvl1pPr>
          </a:lstStyle>
          <a:p>
            <a:pPr algn="l" defTabSz="954436" rtl="0">
              <a:defRPr/>
            </a:pPr>
            <a:r>
              <a:rPr lang="en-GB" sz="1000" b="0" err="1">
                <a:solidFill>
                  <a:schemeClr val="bg1"/>
                </a:solidFill>
                <a:latin typeface="+mj-lt"/>
                <a:cs typeface="Sakkal Majalla" panose="02000000000000000000" pitchFamily="2" charset="-78"/>
                <a:sym typeface="Georgia"/>
              </a:rPr>
              <a:t>مشروع</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بناء</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أدوات</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وأنظمة</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دعم</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القرار</a:t>
            </a:r>
            <a:r>
              <a:rPr lang="en-GB" sz="1000" b="0">
                <a:solidFill>
                  <a:schemeClr val="bg1"/>
                </a:solidFill>
                <a:latin typeface="+mj-lt"/>
                <a:cs typeface="Sakkal Majalla" panose="02000000000000000000" pitchFamily="2" charset="-78"/>
                <a:sym typeface="Georgia"/>
              </a:rPr>
              <a:t>​</a:t>
            </a:r>
          </a:p>
        </p:txBody>
      </p:sp>
      <p:sp>
        <p:nvSpPr>
          <p:cNvPr id="7" name="TextBox 6">
            <a:extLst>
              <a:ext uri="{FF2B5EF4-FFF2-40B4-BE49-F238E27FC236}">
                <a16:creationId xmlns:a16="http://schemas.microsoft.com/office/drawing/2014/main" id="{8DA942C1-7CEA-FBF8-3AC9-3654A029FA98}"/>
              </a:ext>
            </a:extLst>
          </p:cNvPr>
          <p:cNvSpPr txBox="1"/>
          <p:nvPr userDrawn="1"/>
        </p:nvSpPr>
        <p:spPr>
          <a:xfrm>
            <a:off x="203666" y="6545082"/>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50284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B511CC7-08F4-0B4B-DCCB-1205D0791691}"/>
              </a:ext>
            </a:extLst>
          </p:cNvPr>
          <p:cNvGraphicFramePr>
            <a:graphicFrameLocks noChangeAspect="1"/>
          </p:cNvGraphicFramePr>
          <p:nvPr userDrawn="1">
            <p:custDataLst>
              <p:tags r:id="rId1"/>
            </p:custDataLst>
            <p:extLst>
              <p:ext uri="{D42A27DB-BD31-4B8C-83A1-F6EECF244321}">
                <p14:modId xmlns:p14="http://schemas.microsoft.com/office/powerpoint/2010/main" val="1056856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8B511CC7-08F4-0B4B-DCCB-1205D0791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a:xfrm>
            <a:off x="1011000" y="6405036"/>
            <a:ext cx="1482051" cy="153888"/>
          </a:xfrm>
          <a:prstGeom prst="rect">
            <a:avLst/>
          </a:prstGeom>
        </p:spPr>
        <p:txBody>
          <a:bodyPr/>
          <a:lstStyle>
            <a:lvl1pPr rtl="0">
              <a:defRPr>
                <a:latin typeface="+mn-lt"/>
                <a:sym typeface="Trebuchet MS" panose="020B0603020202020204" pitchFamily="34" charset="0"/>
              </a:defRPr>
            </a:lvl1pPr>
          </a:lstStyle>
          <a:p>
            <a:endParaRPr lang="en-GB"/>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Tree>
    <p:extLst>
      <p:ext uri="{BB962C8B-B14F-4D97-AF65-F5344CB8AC3E}">
        <p14:creationId xmlns:p14="http://schemas.microsoft.com/office/powerpoint/2010/main" val="525756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2800DF-49CD-3771-915F-CFEB66CD2FF7}"/>
              </a:ext>
            </a:extLst>
          </p:cNvPr>
          <p:cNvGraphicFramePr>
            <a:graphicFrameLocks noChangeAspect="1"/>
          </p:cNvGraphicFramePr>
          <p:nvPr userDrawn="1">
            <p:custDataLst>
              <p:tags r:id="rId1"/>
            </p:custDataLst>
            <p:extLst>
              <p:ext uri="{D42A27DB-BD31-4B8C-83A1-F6EECF244321}">
                <p14:modId xmlns:p14="http://schemas.microsoft.com/office/powerpoint/2010/main" val="272586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212800DF-49CD-3771-915F-CFEB66CD2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1011000" y="6405036"/>
            <a:ext cx="1482051" cy="153888"/>
          </a:xfrm>
          <a:prstGeom prst="rect">
            <a:avLst/>
          </a:prstGeom>
        </p:spPr>
        <p:txBody>
          <a:bodyPr/>
          <a:lstStyle>
            <a:lvl1pPr rtl="0">
              <a:defRPr>
                <a:latin typeface="+mn-lt"/>
                <a:sym typeface="Trebuchet MS" panose="020B0603020202020204" pitchFamily="34" charset="0"/>
              </a:defRPr>
            </a:lvl1pPr>
          </a:lstStyle>
          <a:p>
            <a:endParaRPr lang="en-GB"/>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5" name="Title 6">
            <a:extLst>
              <a:ext uri="{FF2B5EF4-FFF2-40B4-BE49-F238E27FC236}">
                <a16:creationId xmlns:a16="http://schemas.microsoft.com/office/drawing/2014/main" id="{66FB03DE-C2B4-4054-8BFA-745FC38FC326}"/>
              </a:ext>
            </a:extLst>
          </p:cNvPr>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GB" sz="5100">
                <a:gradFill>
                  <a:gsLst>
                    <a:gs pos="100000">
                      <a:schemeClr val="tx2"/>
                    </a:gs>
                    <a:gs pos="2000">
                      <a:schemeClr val="accent2"/>
                    </a:gs>
                  </a:gsLst>
                  <a:lin ang="2700000" scaled="0"/>
                </a:gradFill>
                <a:latin typeface="+mn-lt"/>
                <a:sym typeface="Trebuchet MS" panose="020B0603020202020204" pitchFamily="34" charset="0"/>
              </a:rPr>
              <a:t>Disclaimer</a:t>
            </a:r>
          </a:p>
        </p:txBody>
      </p:sp>
      <p:sp>
        <p:nvSpPr>
          <p:cNvPr id="6" name="Rectangle 5">
            <a:extLst>
              <a:ext uri="{FF2B5EF4-FFF2-40B4-BE49-F238E27FC236}">
                <a16:creationId xmlns:a16="http://schemas.microsoft.com/office/drawing/2014/main" id="{DD3DB328-C67A-43C8-8A2E-A78DF8F8DD97}"/>
              </a:ext>
            </a:extLst>
          </p:cNvPr>
          <p:cNvSpPr/>
          <p:nvPr userDrawn="1"/>
        </p:nvSpPr>
        <p:spPr>
          <a:xfrm>
            <a:off x="5021826" y="1387258"/>
            <a:ext cx="6209072" cy="3877985"/>
          </a:xfrm>
          <a:prstGeom prst="rect">
            <a:avLst/>
          </a:prstGeom>
        </p:spPr>
        <p:txBody>
          <a:bodyPr wrap="square" lIns="0" tIns="0" rIns="0" bIns="0" anchor="ctr">
            <a:spAutoFit/>
          </a:bodyPr>
          <a:lstStyle/>
          <a:p>
            <a:pPr indent="0" rtl="0">
              <a:lnSpc>
                <a:spcPct val="100000"/>
              </a:lnSpc>
            </a:pPr>
            <a:r>
              <a:rPr lang="en-GB" sz="900" b="0">
                <a:latin typeface="+mn-lt"/>
                <a:sym typeface="Trebuchet MS" panose="020B0603020202020204" pitchFamily="34" charset="0"/>
              </a:rPr>
              <a:t>Disclaimer &amp; Non-reliance </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services and materials provided by the issuer of the report are subject to the issuer of the report's Standard Terms and Conditions (a copy of which is available upon request) or such other agreement as may have been previously executed by the issuer of the report.  The issuer of the report does not provide legal, accounting, or tax advice.  Client is responsible for obtaining independent advice concerning these matters, which advice may affect the guidance given by the issuer of the report.  Further, the issuer of the report has made no undertaking to update these materials after the date hereof notwithstanding that such information may become outdated or inaccurate.</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material contained in this presentation are designed for the sole use by the Board of Directors or senior management of the Client and solely for the limited purposes described in the proposal.  The materials shall not be copied, disclosed or given to any person or entity other than the Client (“Third-Parties”) without the prior written consent being provided.  These materials serve only as the focus for discussion and are incomplete without the accompanying oral commentary and may not be relied on as a stand-alone document.  Further, Third-Parties may not, and it is unreasonable for any Third-Party to, rely on these materials for any purpose whatsoever.  To the fullest extent permitted by law (and except to the extent otherwise agreed in a signed writing the issuer of this report), issuer of this report shall have no liability whatsoever to any Third-Party, and any Third-Party hereby waives any rights and claims it may, have at any time against the issuer of this report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issuer of this report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the issuer of the report. Issuer of the report has used public and/or confidential data and assumptions provided to it by the Client which the issuer of the report has not independently verified the data and assumptions used in these analyses. Changes in the underlying data or operating assumptions will clearly impact the analyses and conclusions.</a:t>
            </a:r>
          </a:p>
        </p:txBody>
      </p:sp>
      <p:cxnSp>
        <p:nvCxnSpPr>
          <p:cNvPr id="7" name="Straight Connector 6">
            <a:extLst>
              <a:ext uri="{FF2B5EF4-FFF2-40B4-BE49-F238E27FC236}">
                <a16:creationId xmlns:a16="http://schemas.microsoft.com/office/drawing/2014/main" id="{6AA8A27B-7BE5-4FAB-96B0-D384108FEEBA}"/>
              </a:ext>
            </a:extLst>
          </p:cNvPr>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9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556786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sp>
        <p:nvSpPr>
          <p:cNvPr id="11" name="Rectangle 10"/>
          <p:cNvSpPr/>
          <p:nvPr userDrawn="1"/>
        </p:nvSpPr>
        <p:spPr>
          <a:xfrm>
            <a:off x="667408" y="1659004"/>
            <a:ext cx="7344478" cy="16383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6C67"/>
                </a:solidFill>
              </a14:hiddenFill>
            </a:ext>
            <a:ext uri="{91240B29-F687-4F45-9708-019B960494DF}">
              <a14:hiddenLine xmlns:a14="http://schemas.microsoft.com/office/drawing/2010/main" w="9525" cap="rnd" cmpd="sng" algn="ctr">
                <a:solidFill>
                  <a:srgbClr val="006C6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l" defTabSz="914400" rtl="0" eaLnBrk="1" latinLnBrk="0" hangingPunct="1">
              <a:lnSpc>
                <a:spcPct val="90000"/>
              </a:lnSpc>
              <a:spcBef>
                <a:spcPct val="0"/>
              </a:spcBef>
              <a:buNone/>
            </a:pPr>
            <a:r>
              <a:rPr lang="en-GB" sz="5400" kern="1200">
                <a:solidFill>
                  <a:srgbClr val="006C67"/>
                </a:solidFill>
                <a:latin typeface="+mj-lt"/>
                <a:ea typeface="+mj-ea"/>
                <a:cs typeface="+mj-cs"/>
                <a:sym typeface="+mj-lt"/>
              </a:rPr>
              <a:t>Thank you</a:t>
            </a:r>
          </a:p>
        </p:txBody>
      </p:sp>
      <p:pic>
        <p:nvPicPr>
          <p:cNvPr id="12" name="Picture 11"/>
          <p:cNvPicPr>
            <a:picLocks noChangeAspect="1"/>
          </p:cNvPicPr>
          <p:nvPr userDrawn="1"/>
        </p:nvPicPr>
        <p:blipFill rotWithShape="1">
          <a:blip r:embed="rId6"/>
          <a:srcRect/>
          <a:stretch/>
        </p:blipFill>
        <p:spPr>
          <a:xfrm>
            <a:off x="562633" y="3343543"/>
            <a:ext cx="7260614" cy="71407"/>
          </a:xfrm>
          <a:prstGeom prst="rect">
            <a:avLst/>
          </a:prstGeom>
        </p:spPr>
      </p:pic>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14" name="Picture 1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9" name="Graphic 8">
            <a:extLst>
              <a:ext uri="{FF2B5EF4-FFF2-40B4-BE49-F238E27FC236}">
                <a16:creationId xmlns:a16="http://schemas.microsoft.com/office/drawing/2014/main" id="{6AD2E01B-64DC-4C33-9BE3-56040786355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1098090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75490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en-GB"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rtl="0" fontAlgn="auto">
              <a:lnSpc>
                <a:spcPct val="95000"/>
              </a:lnSpc>
              <a:spcBef>
                <a:spcPts val="0"/>
              </a:spcBef>
              <a:spcAft>
                <a:spcPts val="0"/>
              </a:spcAft>
            </a:pPr>
            <a:r>
              <a:rPr lang="en-GB" sz="5400">
                <a:solidFill>
                  <a:schemeClr val="bg1"/>
                </a:solidFill>
                <a:latin typeface="+mj-lt"/>
              </a:rPr>
              <a:t>Agenda</a:t>
            </a:r>
          </a:p>
        </p:txBody>
      </p:sp>
      <p:pic>
        <p:nvPicPr>
          <p:cNvPr id="14" name="Picture 13">
            <a:extLst>
              <a:ext uri="{FF2B5EF4-FFF2-40B4-BE49-F238E27FC236}">
                <a16:creationId xmlns:a16="http://schemas.microsoft.com/office/drawing/2014/main" id="{DAC6128D-88B6-4D14-8635-3103664EFE1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941855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6656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pic>
        <p:nvPicPr>
          <p:cNvPr id="11" name="Picture 10">
            <a:extLst>
              <a:ext uri="{FF2B5EF4-FFF2-40B4-BE49-F238E27FC236}">
                <a16:creationId xmlns:a16="http://schemas.microsoft.com/office/drawing/2014/main" id="{6E55DDE3-6C87-45BB-B976-4AE82BCA328D}"/>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097589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3867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0" name="Title 1"/>
          <p:cNvSpPr txBox="1">
            <a:spLocks/>
          </p:cNvSpPr>
          <p:nvPr userDrawn="1"/>
        </p:nvSpPr>
        <p:spPr>
          <a:xfrm>
            <a:off x="4275722" y="622800"/>
            <a:ext cx="7189998" cy="56938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algn="l" rtl="0"/>
            <a:r>
              <a:rPr lang="en-GB" sz="4000" b="1" err="1">
                <a:solidFill>
                  <a:schemeClr val="bg1"/>
                </a:solidFill>
                <a:latin typeface="Sakkal Majalla" panose="02000000000000000000" pitchFamily="2" charset="-78"/>
                <a:cs typeface="Sakkal Majalla" panose="02000000000000000000" pitchFamily="2" charset="-78"/>
              </a:rPr>
              <a:t>الأجندة</a:t>
            </a:r>
            <a:endParaRPr lang="en-GB" sz="4000" b="1">
              <a:solidFill>
                <a:schemeClr val="bg1"/>
              </a:solidFill>
              <a:latin typeface="Sakkal Majalla" panose="02000000000000000000" pitchFamily="2" charset="-78"/>
              <a:cs typeface="Sakkal Majalla" panose="02000000000000000000" pitchFamily="2" charset="-78"/>
            </a:endParaRPr>
          </a:p>
        </p:txBody>
      </p:sp>
      <p:cxnSp>
        <p:nvCxnSpPr>
          <p:cNvPr id="13" name="Straight Connector 12"/>
          <p:cNvCxnSpPr/>
          <p:nvPr userDrawn="1"/>
        </p:nvCxnSpPr>
        <p:spPr bwMode="white">
          <a:xfrm>
            <a:off x="-10665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207A83B2-0391-3A45-D02F-1B1C715FFE22}"/>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30967" y="86239"/>
            <a:ext cx="1190626" cy="350391"/>
          </a:xfrm>
          <a:prstGeom prst="rect">
            <a:avLst/>
          </a:prstGeom>
        </p:spPr>
      </p:pic>
      <p:sp>
        <p:nvSpPr>
          <p:cNvPr id="6" name="Title 8">
            <a:extLst>
              <a:ext uri="{FF2B5EF4-FFF2-40B4-BE49-F238E27FC236}">
                <a16:creationId xmlns:a16="http://schemas.microsoft.com/office/drawing/2014/main" id="{10099F2C-9199-2B69-BFE5-785F0F955D96}"/>
              </a:ext>
            </a:extLst>
          </p:cNvPr>
          <p:cNvSpPr txBox="1">
            <a:spLocks/>
          </p:cNvSpPr>
          <p:nvPr userDrawn="1"/>
        </p:nvSpPr>
        <p:spPr>
          <a:xfrm>
            <a:off x="10008224" y="6544322"/>
            <a:ext cx="1980110" cy="193938"/>
          </a:xfrm>
          <a:prstGeom prst="rect">
            <a:avLst/>
          </a:prstGeom>
          <a:noFill/>
          <a:ln w="9525">
            <a:noFill/>
            <a:miter lim="800000"/>
            <a:headEnd/>
            <a:tailEnd/>
          </a:ln>
        </p:spPr>
        <p:txBody>
          <a:bodyPr vert="horz" wrap="square" lIns="182880" tIns="0" rIns="182880" bIns="0" numCol="1" rtlCol="0" anchor="ctr" anchorCtr="0" compatLnSpc="1">
            <a:prstTxWarp prst="textNoShape">
              <a:avLst/>
            </a:prstTxWarp>
            <a:noAutofit/>
          </a:bodyPr>
          <a:lstStyle>
            <a:defPPr>
              <a:defRPr lang="en-US"/>
            </a:defPPr>
            <a:lvl1pPr lvl="0" algn="r" rtl="1">
              <a:lnSpc>
                <a:spcPct val="100000"/>
              </a:lnSpc>
              <a:spcBef>
                <a:spcPts val="0"/>
              </a:spcBef>
              <a:buNone/>
              <a:defRPr sz="2800" b="1" i="0">
                <a:solidFill>
                  <a:schemeClr val="accent6">
                    <a:lumMod val="75000"/>
                  </a:schemeClr>
                </a:solidFill>
                <a:latin typeface="Traditional Arabic" panose="02010000000000000000" pitchFamily="2" charset="-78"/>
                <a:ea typeface="+mj-ea"/>
                <a:cs typeface="Traditional Arabic Bold" panose="02010000000000000000" pitchFamily="2" charset="-78"/>
              </a:defRPr>
            </a:lvl1pPr>
          </a:lstStyle>
          <a:p>
            <a:pPr algn="l" defTabSz="954436" rtl="0">
              <a:defRPr/>
            </a:pPr>
            <a:r>
              <a:rPr lang="en-GB" sz="1000" b="0" err="1">
                <a:solidFill>
                  <a:schemeClr val="bg1"/>
                </a:solidFill>
                <a:latin typeface="+mj-lt"/>
                <a:cs typeface="Sakkal Majalla" panose="02000000000000000000" pitchFamily="2" charset="-78"/>
                <a:sym typeface="Georgia"/>
              </a:rPr>
              <a:t>مشروع</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بناء</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أدوات</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وأنظمة</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دعم</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القرار</a:t>
            </a:r>
            <a:r>
              <a:rPr lang="en-GB" sz="1000" b="0">
                <a:solidFill>
                  <a:schemeClr val="bg1"/>
                </a:solidFill>
                <a:latin typeface="+mj-lt"/>
                <a:cs typeface="Sakkal Majalla" panose="02000000000000000000" pitchFamily="2" charset="-78"/>
                <a:sym typeface="Georgia"/>
              </a:rPr>
              <a:t>​</a:t>
            </a:r>
          </a:p>
        </p:txBody>
      </p:sp>
      <p:sp>
        <p:nvSpPr>
          <p:cNvPr id="7" name="TextBox 6">
            <a:extLst>
              <a:ext uri="{FF2B5EF4-FFF2-40B4-BE49-F238E27FC236}">
                <a16:creationId xmlns:a16="http://schemas.microsoft.com/office/drawing/2014/main" id="{A5A505AF-F49C-53E3-5589-6D8A53EED73B}"/>
              </a:ext>
            </a:extLst>
          </p:cNvPr>
          <p:cNvSpPr txBox="1"/>
          <p:nvPr userDrawn="1"/>
        </p:nvSpPr>
        <p:spPr bwMode="white">
          <a:xfrm>
            <a:off x="203666" y="6544322"/>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783299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633394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rtl="0">
              <a:lnSpc>
                <a:spcPct val="90000"/>
              </a:lnSpc>
              <a:spcAft>
                <a:spcPts val="600"/>
              </a:spcAft>
            </a:pPr>
            <a:r>
              <a:rPr lang="en-GB" sz="3200">
                <a:solidFill>
                  <a:schemeClr val="bg1"/>
                </a:solidFill>
              </a:rPr>
              <a:t>Agenda</a:t>
            </a:r>
          </a:p>
        </p:txBody>
      </p:sp>
      <p:pic>
        <p:nvPicPr>
          <p:cNvPr id="11" name="Picture 10">
            <a:extLst>
              <a:ext uri="{FF2B5EF4-FFF2-40B4-BE49-F238E27FC236}">
                <a16:creationId xmlns:a16="http://schemas.microsoft.com/office/drawing/2014/main" id="{3EDAD095-F36A-4FD1-9FF5-374BADD56511}"/>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944537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97491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5. All rights reserved.</a:t>
            </a:r>
          </a:p>
        </p:txBody>
      </p:sp>
      <p:sp>
        <p:nvSpPr>
          <p:cNvPr id="8" name="Rectangle 7"/>
          <p:cNvSpPr/>
          <p:nvPr userDrawn="1"/>
        </p:nvSpPr>
        <p:spPr bwMode="invGray">
          <a:xfrm>
            <a:off x="1388145" y="4691187"/>
            <a:ext cx="929337" cy="995874"/>
          </a:xfrm>
          <a:prstGeom prst="rect">
            <a:avLst/>
          </a:prstGeom>
          <a:noFill/>
          <a:ln w="9525">
            <a:solidFill>
              <a:srgbClr val="009A9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09A93"/>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1220467"/>
          </a:xfrm>
          <a:prstGeom prst="rect">
            <a:avLst/>
          </a:prstGeom>
          <a:noFill/>
          <a:ln>
            <a:solidFill>
              <a:srgbClr val="009A93"/>
            </a:solidFill>
          </a:ln>
        </p:spPr>
        <p:txBody>
          <a:bodyPr wrap="square" lIns="612000" tIns="468000" rIns="0" bIns="0" rtlCol="0" anchor="t">
            <a:spAutoFit/>
          </a:bodyPr>
          <a:lstStyle/>
          <a:p>
            <a:pPr rtl="0">
              <a:lnSpc>
                <a:spcPct val="90000"/>
              </a:lnSpc>
              <a:spcAft>
                <a:spcPts val="600"/>
              </a:spcAft>
            </a:pPr>
            <a:endParaRPr lang="en-GB"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GB">
                <a:solidFill>
                  <a:srgbClr val="009A93"/>
                </a:solidFill>
              </a:rPr>
              <a:t>Agenda</a:t>
            </a:r>
          </a:p>
        </p:txBody>
      </p:sp>
    </p:spTree>
    <p:extLst>
      <p:ext uri="{BB962C8B-B14F-4D97-AF65-F5344CB8AC3E}">
        <p14:creationId xmlns:p14="http://schemas.microsoft.com/office/powerpoint/2010/main" val="2571963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8E9E188-AB75-C5B1-9C6E-FAAA0FECFA19}"/>
              </a:ext>
            </a:extLst>
          </p:cNvPr>
          <p:cNvGraphicFramePr>
            <a:graphicFrameLocks noChangeAspect="1"/>
          </p:cNvGraphicFramePr>
          <p:nvPr userDrawn="1">
            <p:custDataLst>
              <p:tags r:id="rId1"/>
            </p:custDataLst>
            <p:extLst>
              <p:ext uri="{D42A27DB-BD31-4B8C-83A1-F6EECF244321}">
                <p14:modId xmlns:p14="http://schemas.microsoft.com/office/powerpoint/2010/main" val="75860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8E9E188-AB75-C5B1-9C6E-FAAA0FECFA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lgn="l" rtl="0">
              <a:defRPr sz="3200" baseline="0">
                <a:solidFill>
                  <a:srgbClr val="006C67"/>
                </a:solidFill>
                <a:latin typeface="+mj-lt"/>
                <a:sym typeface="Trebuchet MS" panose="020B0603020202020204" pitchFamily="34" charset="0"/>
              </a:defRPr>
            </a:lvl1pPr>
          </a:lstStyle>
          <a:p>
            <a:r>
              <a:rPr lang="en-GB">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1637966F-530E-458E-8FBF-3E072CB3F190}"/>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03986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5. All rights reserved.</a:t>
            </a:r>
          </a:p>
        </p:txBody>
      </p:sp>
      <p:sp>
        <p:nvSpPr>
          <p:cNvPr id="8" name="Rectangle 7"/>
          <p:cNvSpPr/>
          <p:nvPr userDrawn="1"/>
        </p:nvSpPr>
        <p:spPr bwMode="white">
          <a:xfrm>
            <a:off x="1284743" y="1428131"/>
            <a:ext cx="947672" cy="947672"/>
          </a:xfrm>
          <a:prstGeom prst="rect">
            <a:avLst/>
          </a:prstGeom>
          <a:noFill/>
          <a:ln w="9525">
            <a:solidFill>
              <a:srgbClr val="009A9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09A9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18528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74675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5.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GB">
                <a:solidFill>
                  <a:srgbClr val="009A93"/>
                </a:solidFill>
              </a:rPr>
              <a:t>Agenda</a:t>
            </a:r>
          </a:p>
        </p:txBody>
      </p:sp>
      <p:cxnSp>
        <p:nvCxnSpPr>
          <p:cNvPr id="9" name="Straight Connector 8"/>
          <p:cNvCxnSpPr/>
          <p:nvPr userDrawn="1"/>
        </p:nvCxnSpPr>
        <p:spPr bwMode="white">
          <a:xfrm>
            <a:off x="618898" y="1206000"/>
            <a:ext cx="11576304" cy="0"/>
          </a:xfrm>
          <a:prstGeom prst="line">
            <a:avLst/>
          </a:prstGeom>
          <a:ln w="9525" cmpd="sng">
            <a:solidFill>
              <a:srgbClr val="009A93"/>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5110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7833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rtl="0">
              <a:lnSpc>
                <a:spcPct val="90000"/>
              </a:lnSpc>
              <a:spcAft>
                <a:spcPts val="600"/>
              </a:spcAft>
            </a:pPr>
            <a:r>
              <a:rPr lang="en-GB" sz="2400">
                <a:solidFill>
                  <a:schemeClr val="bg1"/>
                </a:solidFill>
              </a:rPr>
              <a:t>Agenda</a:t>
            </a:r>
          </a:p>
        </p:txBody>
      </p:sp>
      <p:pic>
        <p:nvPicPr>
          <p:cNvPr id="11" name="Picture 10">
            <a:extLst>
              <a:ext uri="{FF2B5EF4-FFF2-40B4-BE49-F238E27FC236}">
                <a16:creationId xmlns:a16="http://schemas.microsoft.com/office/drawing/2014/main" id="{984BAE71-B081-4B71-9295-84D1CE06E4CA}"/>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406820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05839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a:solidFill>
                  <a:srgbClr val="009A93"/>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A92C33A0-3885-4F80-ACAD-7837E31E00B4}"/>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188357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_Title slide-1">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E22D126-2F90-F3B1-1660-C26C6513B64C}"/>
              </a:ext>
            </a:extLst>
          </p:cNvPr>
          <p:cNvGraphicFramePr>
            <a:graphicFrameLocks noChangeAspect="1"/>
          </p:cNvGraphicFramePr>
          <p:nvPr userDrawn="1">
            <p:custDataLst>
              <p:tags r:id="rId1"/>
            </p:custDataLst>
            <p:extLst>
              <p:ext uri="{D42A27DB-BD31-4B8C-83A1-F6EECF244321}">
                <p14:modId xmlns:p14="http://schemas.microsoft.com/office/powerpoint/2010/main" val="4015785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9E22D126-2F90-F3B1-1660-C26C6513B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Text Placeholder 56">
            <a:extLst>
              <a:ext uri="{FF2B5EF4-FFF2-40B4-BE49-F238E27FC236}">
                <a16:creationId xmlns:a16="http://schemas.microsoft.com/office/drawing/2014/main" id="{0ECCAB34-A6CA-F9B3-E542-5840E8CABB14}"/>
              </a:ext>
            </a:extLst>
          </p:cNvPr>
          <p:cNvSpPr>
            <a:spLocks noGrp="1"/>
          </p:cNvSpPr>
          <p:nvPr>
            <p:ph type="body" sz="quarter" idx="10" hasCustomPrompt="1"/>
          </p:nvPr>
        </p:nvSpPr>
        <p:spPr>
          <a:xfrm>
            <a:off x="533402" y="1235143"/>
            <a:ext cx="11125200" cy="332399"/>
          </a:xfrm>
          <a:prstGeom prst="rect">
            <a:avLst/>
          </a:prstGeom>
        </p:spPr>
        <p:txBody>
          <a:bodyPr lIns="0" tIns="0" rIns="0" bIns="0" anchor="t"/>
          <a:lstStyle>
            <a:lvl1pPr marL="0" indent="0" algn="r" rtl="0">
              <a:buNone/>
              <a:defRPr sz="1600">
                <a:solidFill>
                  <a:schemeClr val="tx1"/>
                </a:solidFill>
                <a:latin typeface="+mj-lt"/>
              </a:defRPr>
            </a:lvl1pPr>
          </a:lstStyle>
          <a:p>
            <a:pPr lvl="0"/>
            <a:r>
              <a:rPr lang="en-GB"/>
              <a:t>Sub-title</a:t>
            </a:r>
          </a:p>
        </p:txBody>
      </p:sp>
      <p:sp>
        <p:nvSpPr>
          <p:cNvPr id="15" name="Title 14">
            <a:extLst>
              <a:ext uri="{FF2B5EF4-FFF2-40B4-BE49-F238E27FC236}">
                <a16:creationId xmlns:a16="http://schemas.microsoft.com/office/drawing/2014/main" id="{80FC7BFF-DE01-F918-D384-3542A951E3D5}"/>
              </a:ext>
            </a:extLst>
          </p:cNvPr>
          <p:cNvSpPr>
            <a:spLocks noGrp="1"/>
          </p:cNvSpPr>
          <p:nvPr>
            <p:ph type="title" hasCustomPrompt="1"/>
          </p:nvPr>
        </p:nvSpPr>
        <p:spPr>
          <a:xfrm>
            <a:off x="533400" y="419341"/>
            <a:ext cx="10386060" cy="724081"/>
          </a:xfrm>
          <a:prstGeom prst="rect">
            <a:avLst/>
          </a:prstGeom>
        </p:spPr>
        <p:txBody>
          <a:bodyPr vert="horz" lIns="0" tIns="0" rIns="0" bIns="0">
            <a:noAutofit/>
          </a:bodyPr>
          <a:lstStyle>
            <a:lvl1pPr algn="r" rtl="0">
              <a:defRPr sz="2200" b="1">
                <a:solidFill>
                  <a:schemeClr val="accent1"/>
                </a:solidFill>
              </a:defRPr>
            </a:lvl1pPr>
          </a:lstStyle>
          <a:p>
            <a:r>
              <a:rPr lang="en-GB"/>
              <a:t>Title</a:t>
            </a:r>
          </a:p>
        </p:txBody>
      </p:sp>
      <p:sp>
        <p:nvSpPr>
          <p:cNvPr id="19" name="Text Placeholder 18">
            <a:extLst>
              <a:ext uri="{FF2B5EF4-FFF2-40B4-BE49-F238E27FC236}">
                <a16:creationId xmlns:a16="http://schemas.microsoft.com/office/drawing/2014/main" id="{58FA55E6-8F0D-4AB4-36F2-B2DA541D14E7}"/>
              </a:ext>
            </a:extLst>
          </p:cNvPr>
          <p:cNvSpPr>
            <a:spLocks noGrp="1"/>
          </p:cNvSpPr>
          <p:nvPr>
            <p:ph type="body" sz="quarter" idx="11"/>
          </p:nvPr>
        </p:nvSpPr>
        <p:spPr>
          <a:xfrm>
            <a:off x="533402" y="1752600"/>
            <a:ext cx="11125200" cy="4343399"/>
          </a:xfrm>
          <a:prstGeom prst="rect">
            <a:avLst/>
          </a:prstGeom>
        </p:spPr>
        <p:txBody>
          <a:bodyPr lIns="0" tIns="0" rIns="0" bIns="0"/>
          <a:lstStyle>
            <a:lvl1pPr marL="180002" indent="-180002" algn="r" rtl="0">
              <a:lnSpc>
                <a:spcPct val="100000"/>
              </a:lnSpc>
              <a:spcBef>
                <a:spcPts val="0"/>
              </a:spcBef>
              <a:spcAft>
                <a:spcPts val="600"/>
              </a:spcAft>
              <a:defRPr sz="1800"/>
            </a:lvl1pPr>
            <a:lvl2pPr marL="516156" indent="-285753" algn="l">
              <a:defRPr sz="1800"/>
            </a:lvl2pPr>
            <a:lvl3pPr marL="540007" indent="-180002" algn="r" rtl="0">
              <a:lnSpc>
                <a:spcPct val="100000"/>
              </a:lnSpc>
              <a:spcBef>
                <a:spcPts val="0"/>
              </a:spcBef>
              <a:spcAft>
                <a:spcPts val="600"/>
              </a:spcAft>
              <a:defRPr lang="en-US" sz="1800" kern="1200" dirty="0" smtClean="0">
                <a:solidFill>
                  <a:schemeClr val="tx1"/>
                </a:solidFill>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951762" indent="-285753" algn="l">
              <a:defRPr sz="1800"/>
            </a:lvl4pPr>
            <a:lvl5pPr marL="900011" indent="-180002" algn="r" rtl="0">
              <a:lnSpc>
                <a:spcPct val="100000"/>
              </a:lnSpc>
              <a:spcBef>
                <a:spcPts val="0"/>
              </a:spcBef>
              <a:spcAft>
                <a:spcPts val="600"/>
              </a:spcAft>
              <a:defRPr lang="en-US" sz="1800" kern="1200" dirty="0" smtClean="0">
                <a:solidFill>
                  <a:schemeClr val="tx1"/>
                </a:solidFill>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stStyle>
          <a:p>
            <a:pPr lvl="0"/>
            <a:r>
              <a:rPr lang="en-GB"/>
              <a:t>Click to edit Master text styles</a:t>
            </a:r>
          </a:p>
          <a:p>
            <a:pPr marL="439206" lvl="2" indent="-208803" algn="l" defTabSz="914411" rtl="0" eaLnBrk="1" latinLnBrk="0" hangingPunct="1">
              <a:lnSpc>
                <a:spcPct val="100000"/>
              </a:lnSpc>
              <a:spcBef>
                <a:spcPts val="0"/>
              </a:spcBef>
              <a:spcAft>
                <a:spcPts val="300"/>
              </a:spcAft>
              <a:buSzPct val="110000"/>
              <a:buFont typeface="Arial" panose="020B0604020202020204" pitchFamily="34" charset="0"/>
              <a:buChar char="‒"/>
            </a:pPr>
            <a:r>
              <a:rPr lang="en-GB"/>
              <a:t>Second level</a:t>
            </a:r>
          </a:p>
          <a:p>
            <a:pPr lvl="2"/>
            <a:r>
              <a:rPr lang="en-GB"/>
              <a:t>Third level</a:t>
            </a:r>
          </a:p>
          <a:p>
            <a:pPr marL="813610" lvl="4" indent="-147602" algn="l" defTabSz="914411" rtl="0" eaLnBrk="1" latinLnBrk="0" hangingPunct="1">
              <a:lnSpc>
                <a:spcPct val="100000"/>
              </a:lnSpc>
              <a:spcBef>
                <a:spcPts val="0"/>
              </a:spcBef>
              <a:spcAft>
                <a:spcPts val="300"/>
              </a:spcAft>
              <a:buSzPct val="100000"/>
              <a:buFont typeface="Arial" panose="020B0604020202020204" pitchFamily="34" charset="0"/>
              <a:buChar char="̶"/>
            </a:pPr>
            <a:r>
              <a:rPr lang="en-GB"/>
              <a:t>Fourth level</a:t>
            </a:r>
          </a:p>
        </p:txBody>
      </p:sp>
      <p:sp>
        <p:nvSpPr>
          <p:cNvPr id="30" name="Text Placeholder 29">
            <a:extLst>
              <a:ext uri="{FF2B5EF4-FFF2-40B4-BE49-F238E27FC236}">
                <a16:creationId xmlns:a16="http://schemas.microsoft.com/office/drawing/2014/main" id="{CF5B1B72-F00F-6139-E29F-46870D31571B}"/>
              </a:ext>
            </a:extLst>
          </p:cNvPr>
          <p:cNvSpPr>
            <a:spLocks noGrp="1"/>
          </p:cNvSpPr>
          <p:nvPr>
            <p:ph type="body" sz="quarter" idx="12" hasCustomPrompt="1"/>
          </p:nvPr>
        </p:nvSpPr>
        <p:spPr>
          <a:xfrm>
            <a:off x="533402" y="6438900"/>
            <a:ext cx="10096500" cy="200025"/>
          </a:xfrm>
          <a:prstGeom prst="rect">
            <a:avLst/>
          </a:prstGeom>
        </p:spPr>
        <p:txBody>
          <a:bodyPr lIns="0" tIns="0" rIns="0" bIns="0"/>
          <a:lstStyle>
            <a:lvl1pPr marL="0" indent="0" algn="r" rtl="0">
              <a:buNone/>
              <a:defRPr sz="800"/>
            </a:lvl1pPr>
          </a:lstStyle>
          <a:p>
            <a:pPr lvl="0"/>
            <a:r>
              <a:rPr lang="en-GB"/>
              <a:t>Source</a:t>
            </a:r>
          </a:p>
        </p:txBody>
      </p:sp>
      <p:sp>
        <p:nvSpPr>
          <p:cNvPr id="5" name="Rectangle 4">
            <a:extLst>
              <a:ext uri="{FF2B5EF4-FFF2-40B4-BE49-F238E27FC236}">
                <a16:creationId xmlns:a16="http://schemas.microsoft.com/office/drawing/2014/main" id="{07330E49-09C5-D143-055A-89E940141120}"/>
              </a:ext>
            </a:extLst>
          </p:cNvPr>
          <p:cNvSpPr/>
          <p:nvPr userDrawn="1"/>
        </p:nvSpPr>
        <p:spPr>
          <a:xfrm>
            <a:off x="10919462" y="6439081"/>
            <a:ext cx="739138" cy="199664"/>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r" defTabSz="914411" rtl="0" eaLnBrk="1" fontAlgn="auto" latinLnBrk="0" hangingPunct="0">
              <a:lnSpc>
                <a:spcPct val="100000"/>
              </a:lnSpc>
              <a:spcBef>
                <a:spcPts val="0"/>
              </a:spcBef>
              <a:spcAft>
                <a:spcPts val="0"/>
              </a:spcAft>
              <a:buClrTx/>
              <a:buSzTx/>
              <a:buFontTx/>
              <a:buNone/>
              <a:tabLst/>
              <a:defRPr/>
            </a:pPr>
            <a:fld id="{7D714CAC-FCAC-4601-B85B-8D52F293D633}" type="slidenum">
              <a:rPr kumimoji="0" lang="en-GB" sz="1200" b="0" i="0" u="none" strike="noStrike" kern="1200" cap="none" spc="0" normalizeH="0" baseline="0" noProof="0" smtClean="0">
                <a:ln>
                  <a:noFill/>
                </a:ln>
                <a:solidFill>
                  <a:srgbClr val="026D68"/>
                </a:solidFill>
                <a:effectLst/>
                <a:uLnTx/>
                <a:uFillTx/>
                <a:latin typeface="Arial"/>
                <a:ea typeface="+mn-ea"/>
                <a:cs typeface="DIN Next LT Arabic"/>
              </a:rPr>
              <a:pPr marL="0" marR="0" lvl="0" indent="0" algn="r" defTabSz="914411" rtl="0" eaLnBrk="1" fontAlgn="auto" latinLnBrk="0" hangingPunct="0">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srgbClr val="026D68"/>
              </a:solidFill>
              <a:effectLst/>
              <a:uLnTx/>
              <a:uFillTx/>
              <a:latin typeface="Arial"/>
              <a:ea typeface="+mn-ea"/>
              <a:cs typeface="DIN Next LT Arabic"/>
              <a:sym typeface="TheSansArab-Light"/>
            </a:endParaRPr>
          </a:p>
        </p:txBody>
      </p:sp>
      <p:sp>
        <p:nvSpPr>
          <p:cNvPr id="7" name="Rectangle 6">
            <a:extLst>
              <a:ext uri="{FF2B5EF4-FFF2-40B4-BE49-F238E27FC236}">
                <a16:creationId xmlns:a16="http://schemas.microsoft.com/office/drawing/2014/main" id="{AF7DAE31-D2F4-DF7A-D43D-6FB1E568B831}"/>
              </a:ext>
            </a:extLst>
          </p:cNvPr>
          <p:cNvSpPr/>
          <p:nvPr userDrawn="1"/>
        </p:nvSpPr>
        <p:spPr>
          <a:xfrm>
            <a:off x="533402" y="6683314"/>
            <a:ext cx="739138" cy="199664"/>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l" defTabSz="914411" rtl="0" eaLnBrk="1" fontAlgn="auto" latinLnBrk="0" hangingPunct="0">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26D68"/>
              </a:solidFill>
              <a:effectLst/>
              <a:uLnTx/>
              <a:uFillTx/>
              <a:latin typeface="Arial"/>
              <a:ea typeface="+mn-ea"/>
              <a:cs typeface="DIN Next LT Arabic"/>
            </a:endParaRPr>
          </a:p>
        </p:txBody>
      </p:sp>
      <p:cxnSp>
        <p:nvCxnSpPr>
          <p:cNvPr id="4" name="Straight Connector 3">
            <a:extLst>
              <a:ext uri="{FF2B5EF4-FFF2-40B4-BE49-F238E27FC236}">
                <a16:creationId xmlns:a16="http://schemas.microsoft.com/office/drawing/2014/main" id="{29AB7012-8AE2-EA69-B12D-569851AAF675}"/>
              </a:ext>
            </a:extLst>
          </p:cNvPr>
          <p:cNvCxnSpPr>
            <a:cxnSpLocks/>
          </p:cNvCxnSpPr>
          <p:nvPr userDrawn="1"/>
        </p:nvCxnSpPr>
        <p:spPr>
          <a:xfrm flipH="1">
            <a:off x="533402" y="6312286"/>
            <a:ext cx="11125200" cy="0"/>
          </a:xfrm>
          <a:prstGeom prst="line">
            <a:avLst/>
          </a:prstGeom>
          <a:noFill/>
          <a:ln w="12700" cap="flat">
            <a:gradFill flip="none" rotWithShape="1">
              <a:gsLst>
                <a:gs pos="0">
                  <a:schemeClr val="accent2"/>
                </a:gs>
                <a:gs pos="100000">
                  <a:schemeClr val="accent1"/>
                </a:gs>
              </a:gsLst>
              <a:path path="circle">
                <a:fillToRect l="100000" t="100000"/>
              </a:path>
              <a:tileRect r="-100000" b="-100000"/>
            </a:gradFill>
            <a:prstDash val="solid"/>
            <a:miter lim="800000"/>
          </a:ln>
          <a:effectLst/>
          <a:sp3d/>
        </p:spPr>
        <p:style>
          <a:lnRef idx="0">
            <a:scrgbClr r="0" g="0" b="0"/>
          </a:lnRef>
          <a:fillRef idx="0">
            <a:scrgbClr r="0" g="0" b="0"/>
          </a:fillRef>
          <a:effectRef idx="0">
            <a:scrgbClr r="0" g="0" b="0"/>
          </a:effectRef>
          <a:fontRef idx="none"/>
        </p:style>
      </p:cxnSp>
      <p:grpSp>
        <p:nvGrpSpPr>
          <p:cNvPr id="3" name="Group 2">
            <a:extLst>
              <a:ext uri="{FF2B5EF4-FFF2-40B4-BE49-F238E27FC236}">
                <a16:creationId xmlns:a16="http://schemas.microsoft.com/office/drawing/2014/main" id="{655F4DC6-0D89-7BC2-A095-9799E10E2CC0}"/>
              </a:ext>
            </a:extLst>
          </p:cNvPr>
          <p:cNvGrpSpPr/>
          <p:nvPr userDrawn="1"/>
        </p:nvGrpSpPr>
        <p:grpSpPr>
          <a:xfrm>
            <a:off x="-326713" y="0"/>
            <a:ext cx="257205" cy="6829500"/>
            <a:chOff x="-326714" y="0"/>
            <a:chExt cx="257205" cy="6829500"/>
          </a:xfrm>
        </p:grpSpPr>
        <p:grpSp>
          <p:nvGrpSpPr>
            <p:cNvPr id="10" name="Group 9">
              <a:extLst>
                <a:ext uri="{FF2B5EF4-FFF2-40B4-BE49-F238E27FC236}">
                  <a16:creationId xmlns:a16="http://schemas.microsoft.com/office/drawing/2014/main" id="{857F337F-91DD-DFF9-D4C6-913964325D10}"/>
                </a:ext>
              </a:extLst>
            </p:cNvPr>
            <p:cNvGrpSpPr/>
            <p:nvPr userDrawn="1"/>
          </p:nvGrpSpPr>
          <p:grpSpPr>
            <a:xfrm>
              <a:off x="-326714" y="0"/>
              <a:ext cx="257205" cy="565199"/>
              <a:chOff x="-326714" y="0"/>
              <a:chExt cx="257205" cy="565199"/>
            </a:xfrm>
          </p:grpSpPr>
          <p:sp>
            <p:nvSpPr>
              <p:cNvPr id="40" name="Rectangle 39">
                <a:extLst>
                  <a:ext uri="{FF2B5EF4-FFF2-40B4-BE49-F238E27FC236}">
                    <a16:creationId xmlns:a16="http://schemas.microsoft.com/office/drawing/2014/main" id="{A148C18A-0B31-AD7D-EBC2-861C2808C3D2}"/>
                  </a:ext>
                </a:extLst>
              </p:cNvPr>
              <p:cNvSpPr/>
              <p:nvPr userDrawn="1"/>
            </p:nvSpPr>
            <p:spPr>
              <a:xfrm>
                <a:off x="-326714" y="0"/>
                <a:ext cx="257205" cy="268349"/>
              </a:xfrm>
              <a:prstGeom prst="rect">
                <a:avLst/>
              </a:prstGeom>
              <a:solidFill>
                <a:schemeClr val="accent1">
                  <a:lumMod val="5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41" name="Rectangle 40">
                <a:extLst>
                  <a:ext uri="{FF2B5EF4-FFF2-40B4-BE49-F238E27FC236}">
                    <a16:creationId xmlns:a16="http://schemas.microsoft.com/office/drawing/2014/main" id="{00A1DA07-9C77-8D1C-9305-7A881EE45400}"/>
                  </a:ext>
                </a:extLst>
              </p:cNvPr>
              <p:cNvSpPr/>
              <p:nvPr userDrawn="1"/>
            </p:nvSpPr>
            <p:spPr>
              <a:xfrm>
                <a:off x="-326714" y="296850"/>
                <a:ext cx="257205" cy="268349"/>
              </a:xfrm>
              <a:prstGeom prst="rect">
                <a:avLst/>
              </a:prstGeom>
              <a:solidFill>
                <a:schemeClr val="accent1"/>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1" name="Group 10">
              <a:extLst>
                <a:ext uri="{FF2B5EF4-FFF2-40B4-BE49-F238E27FC236}">
                  <a16:creationId xmlns:a16="http://schemas.microsoft.com/office/drawing/2014/main" id="{B4125109-7D6D-6E5C-1D96-F8ACB6184125}"/>
                </a:ext>
              </a:extLst>
            </p:cNvPr>
            <p:cNvGrpSpPr/>
            <p:nvPr userDrawn="1"/>
          </p:nvGrpSpPr>
          <p:grpSpPr>
            <a:xfrm>
              <a:off x="-326714" y="682864"/>
              <a:ext cx="257205" cy="565199"/>
              <a:chOff x="-326714" y="593700"/>
              <a:chExt cx="257205" cy="565199"/>
            </a:xfrm>
          </p:grpSpPr>
          <p:sp>
            <p:nvSpPr>
              <p:cNvPr id="38" name="Rectangle 37">
                <a:extLst>
                  <a:ext uri="{FF2B5EF4-FFF2-40B4-BE49-F238E27FC236}">
                    <a16:creationId xmlns:a16="http://schemas.microsoft.com/office/drawing/2014/main" id="{CA8A6890-395D-5BE6-82EB-C9A9BE469611}"/>
                  </a:ext>
                </a:extLst>
              </p:cNvPr>
              <p:cNvSpPr/>
              <p:nvPr userDrawn="1"/>
            </p:nvSpPr>
            <p:spPr>
              <a:xfrm>
                <a:off x="-326714" y="890550"/>
                <a:ext cx="257205" cy="268349"/>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9" name="Rectangle 38">
                <a:extLst>
                  <a:ext uri="{FF2B5EF4-FFF2-40B4-BE49-F238E27FC236}">
                    <a16:creationId xmlns:a16="http://schemas.microsoft.com/office/drawing/2014/main" id="{D4644D42-F801-8F77-111E-AE85E49818D5}"/>
                  </a:ext>
                </a:extLst>
              </p:cNvPr>
              <p:cNvSpPr/>
              <p:nvPr userDrawn="1"/>
            </p:nvSpPr>
            <p:spPr>
              <a:xfrm>
                <a:off x="-326714" y="593700"/>
                <a:ext cx="257205" cy="268349"/>
              </a:xfrm>
              <a:prstGeom prst="rect">
                <a:avLst/>
              </a:prstGeom>
              <a:solidFill>
                <a:schemeClr val="accent2">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2" name="Group 11">
              <a:extLst>
                <a:ext uri="{FF2B5EF4-FFF2-40B4-BE49-F238E27FC236}">
                  <a16:creationId xmlns:a16="http://schemas.microsoft.com/office/drawing/2014/main" id="{AA25D14D-1FA7-0927-E387-B737C54B1189}"/>
                </a:ext>
              </a:extLst>
            </p:cNvPr>
            <p:cNvGrpSpPr/>
            <p:nvPr userDrawn="1"/>
          </p:nvGrpSpPr>
          <p:grpSpPr>
            <a:xfrm>
              <a:off x="-326714" y="1365728"/>
              <a:ext cx="257205" cy="565201"/>
              <a:chOff x="-326714" y="1187399"/>
              <a:chExt cx="257205" cy="565201"/>
            </a:xfrm>
          </p:grpSpPr>
          <p:sp>
            <p:nvSpPr>
              <p:cNvPr id="36" name="Rectangle 35">
                <a:extLst>
                  <a:ext uri="{FF2B5EF4-FFF2-40B4-BE49-F238E27FC236}">
                    <a16:creationId xmlns:a16="http://schemas.microsoft.com/office/drawing/2014/main" id="{3D408C80-A421-0B61-EF5E-E1D90C30924F}"/>
                  </a:ext>
                </a:extLst>
              </p:cNvPr>
              <p:cNvSpPr/>
              <p:nvPr userDrawn="1"/>
            </p:nvSpPr>
            <p:spPr>
              <a:xfrm>
                <a:off x="-326714" y="1187399"/>
                <a:ext cx="257205" cy="268349"/>
              </a:xfrm>
              <a:prstGeom prst="rect">
                <a:avLst/>
              </a:prstGeom>
              <a:solidFill>
                <a:schemeClr val="accent3">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7" name="Rectangle 36">
                <a:extLst>
                  <a:ext uri="{FF2B5EF4-FFF2-40B4-BE49-F238E27FC236}">
                    <a16:creationId xmlns:a16="http://schemas.microsoft.com/office/drawing/2014/main" id="{45DD87E2-02B4-CA8A-84D1-06BB37F18D13}"/>
                  </a:ext>
                </a:extLst>
              </p:cNvPr>
              <p:cNvSpPr/>
              <p:nvPr userDrawn="1"/>
            </p:nvSpPr>
            <p:spPr>
              <a:xfrm>
                <a:off x="-326714" y="1484251"/>
                <a:ext cx="257205" cy="268349"/>
              </a:xfrm>
              <a:prstGeom prst="rect">
                <a:avLst/>
              </a:prstGeom>
              <a:solidFill>
                <a:schemeClr val="accent3"/>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3" name="Group 12">
              <a:extLst>
                <a:ext uri="{FF2B5EF4-FFF2-40B4-BE49-F238E27FC236}">
                  <a16:creationId xmlns:a16="http://schemas.microsoft.com/office/drawing/2014/main" id="{5D407563-E70D-554E-3F44-56F0BC489616}"/>
                </a:ext>
              </a:extLst>
            </p:cNvPr>
            <p:cNvGrpSpPr/>
            <p:nvPr userDrawn="1"/>
          </p:nvGrpSpPr>
          <p:grpSpPr>
            <a:xfrm>
              <a:off x="-326714" y="2048594"/>
              <a:ext cx="257205" cy="862049"/>
              <a:chOff x="-326714" y="1781103"/>
              <a:chExt cx="257205" cy="862049"/>
            </a:xfrm>
          </p:grpSpPr>
          <p:sp>
            <p:nvSpPr>
              <p:cNvPr id="33" name="Rectangle 32">
                <a:extLst>
                  <a:ext uri="{FF2B5EF4-FFF2-40B4-BE49-F238E27FC236}">
                    <a16:creationId xmlns:a16="http://schemas.microsoft.com/office/drawing/2014/main" id="{C3139AAD-2AE3-A8F2-C74B-DC39DD0F2BEF}"/>
                  </a:ext>
                </a:extLst>
              </p:cNvPr>
              <p:cNvSpPr/>
              <p:nvPr userDrawn="1"/>
            </p:nvSpPr>
            <p:spPr>
              <a:xfrm>
                <a:off x="-326714" y="1781103"/>
                <a:ext cx="257205" cy="268349"/>
              </a:xfrm>
              <a:prstGeom prst="rect">
                <a:avLst/>
              </a:prstGeom>
              <a:solidFill>
                <a:schemeClr val="accent4">
                  <a:lumMod val="5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4" name="Rectangle 33">
                <a:extLst>
                  <a:ext uri="{FF2B5EF4-FFF2-40B4-BE49-F238E27FC236}">
                    <a16:creationId xmlns:a16="http://schemas.microsoft.com/office/drawing/2014/main" id="{20A01CA8-2A54-80E3-5F24-1867A04AC1A2}"/>
                  </a:ext>
                </a:extLst>
              </p:cNvPr>
              <p:cNvSpPr/>
              <p:nvPr userDrawn="1"/>
            </p:nvSpPr>
            <p:spPr>
              <a:xfrm>
                <a:off x="-326714" y="2077953"/>
                <a:ext cx="257205" cy="268349"/>
              </a:xfrm>
              <a:prstGeom prst="rect">
                <a:avLst/>
              </a:prstGeom>
              <a:solidFill>
                <a:schemeClr val="accent4">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5" name="Rectangle 34">
                <a:extLst>
                  <a:ext uri="{FF2B5EF4-FFF2-40B4-BE49-F238E27FC236}">
                    <a16:creationId xmlns:a16="http://schemas.microsoft.com/office/drawing/2014/main" id="{8D136C36-64F5-0450-EFA6-C60719517F14}"/>
                  </a:ext>
                </a:extLst>
              </p:cNvPr>
              <p:cNvSpPr/>
              <p:nvPr userDrawn="1"/>
            </p:nvSpPr>
            <p:spPr>
              <a:xfrm>
                <a:off x="-326714" y="2374803"/>
                <a:ext cx="257205" cy="268349"/>
              </a:xfrm>
              <a:prstGeom prst="rect">
                <a:avLst/>
              </a:prstGeom>
              <a:solidFill>
                <a:schemeClr val="accent4"/>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4" name="Group 13">
              <a:extLst>
                <a:ext uri="{FF2B5EF4-FFF2-40B4-BE49-F238E27FC236}">
                  <a16:creationId xmlns:a16="http://schemas.microsoft.com/office/drawing/2014/main" id="{69068054-56F5-540F-B87C-EE7F1037750C}"/>
                </a:ext>
              </a:extLst>
            </p:cNvPr>
            <p:cNvGrpSpPr/>
            <p:nvPr userDrawn="1"/>
          </p:nvGrpSpPr>
          <p:grpSpPr>
            <a:xfrm>
              <a:off x="-326714" y="3028308"/>
              <a:ext cx="257205" cy="862050"/>
              <a:chOff x="-326714" y="2671653"/>
              <a:chExt cx="257205" cy="862050"/>
            </a:xfrm>
          </p:grpSpPr>
          <p:sp>
            <p:nvSpPr>
              <p:cNvPr id="29" name="Rectangle 28">
                <a:extLst>
                  <a:ext uri="{FF2B5EF4-FFF2-40B4-BE49-F238E27FC236}">
                    <a16:creationId xmlns:a16="http://schemas.microsoft.com/office/drawing/2014/main" id="{728879C4-2FEB-ED84-DDD3-F5E97A93B8A5}"/>
                  </a:ext>
                </a:extLst>
              </p:cNvPr>
              <p:cNvSpPr/>
              <p:nvPr userDrawn="1"/>
            </p:nvSpPr>
            <p:spPr>
              <a:xfrm>
                <a:off x="-326714" y="2671653"/>
                <a:ext cx="257205" cy="268349"/>
              </a:xfrm>
              <a:prstGeom prst="rect">
                <a:avLst/>
              </a:prstGeom>
              <a:solidFill>
                <a:schemeClr val="accent5">
                  <a:lumMod val="5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1" name="Rectangle 30">
                <a:extLst>
                  <a:ext uri="{FF2B5EF4-FFF2-40B4-BE49-F238E27FC236}">
                    <a16:creationId xmlns:a16="http://schemas.microsoft.com/office/drawing/2014/main" id="{2FC4AC54-7ECE-003F-CBE1-98686811E65E}"/>
                  </a:ext>
                </a:extLst>
              </p:cNvPr>
              <p:cNvSpPr/>
              <p:nvPr userDrawn="1"/>
            </p:nvSpPr>
            <p:spPr>
              <a:xfrm>
                <a:off x="-326714" y="2968502"/>
                <a:ext cx="257205" cy="268349"/>
              </a:xfrm>
              <a:prstGeom prst="rect">
                <a:avLst/>
              </a:prstGeom>
              <a:solidFill>
                <a:schemeClr val="accent5"/>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2" name="Rectangle 31">
                <a:extLst>
                  <a:ext uri="{FF2B5EF4-FFF2-40B4-BE49-F238E27FC236}">
                    <a16:creationId xmlns:a16="http://schemas.microsoft.com/office/drawing/2014/main" id="{76C5D677-D68D-6A1D-6AE6-BE0084542F50}"/>
                  </a:ext>
                </a:extLst>
              </p:cNvPr>
              <p:cNvSpPr/>
              <p:nvPr userDrawn="1"/>
            </p:nvSpPr>
            <p:spPr>
              <a:xfrm>
                <a:off x="-326714" y="3265354"/>
                <a:ext cx="257205" cy="268349"/>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6" name="Group 15">
              <a:extLst>
                <a:ext uri="{FF2B5EF4-FFF2-40B4-BE49-F238E27FC236}">
                  <a16:creationId xmlns:a16="http://schemas.microsoft.com/office/drawing/2014/main" id="{11AFC8E7-6BB2-8084-D61A-98C2BE2BFC48}"/>
                </a:ext>
              </a:extLst>
            </p:cNvPr>
            <p:cNvGrpSpPr/>
            <p:nvPr userDrawn="1"/>
          </p:nvGrpSpPr>
          <p:grpSpPr>
            <a:xfrm>
              <a:off x="-326714" y="4008023"/>
              <a:ext cx="257205" cy="862049"/>
              <a:chOff x="-326714" y="3562206"/>
              <a:chExt cx="257205" cy="862049"/>
            </a:xfrm>
          </p:grpSpPr>
          <p:sp>
            <p:nvSpPr>
              <p:cNvPr id="26" name="Rectangle 25">
                <a:extLst>
                  <a:ext uri="{FF2B5EF4-FFF2-40B4-BE49-F238E27FC236}">
                    <a16:creationId xmlns:a16="http://schemas.microsoft.com/office/drawing/2014/main" id="{2AEBF6AF-B050-A7AF-9ABF-B40C03623D6D}"/>
                  </a:ext>
                </a:extLst>
              </p:cNvPr>
              <p:cNvSpPr/>
              <p:nvPr userDrawn="1"/>
            </p:nvSpPr>
            <p:spPr>
              <a:xfrm>
                <a:off x="-326714" y="3562206"/>
                <a:ext cx="257205" cy="268349"/>
              </a:xfrm>
              <a:prstGeom prst="rect">
                <a:avLst/>
              </a:prstGeom>
              <a:solidFill>
                <a:schemeClr val="accent6">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7" name="Rectangle 26">
                <a:extLst>
                  <a:ext uri="{FF2B5EF4-FFF2-40B4-BE49-F238E27FC236}">
                    <a16:creationId xmlns:a16="http://schemas.microsoft.com/office/drawing/2014/main" id="{5E92805B-5E11-37F2-5C87-7832C191D141}"/>
                  </a:ext>
                </a:extLst>
              </p:cNvPr>
              <p:cNvSpPr/>
              <p:nvPr userDrawn="1"/>
            </p:nvSpPr>
            <p:spPr>
              <a:xfrm>
                <a:off x="-326714" y="3859056"/>
                <a:ext cx="257205" cy="268349"/>
              </a:xfrm>
              <a:prstGeom prst="rect">
                <a:avLst/>
              </a:prstGeom>
              <a:solidFill>
                <a:schemeClr val="accent6"/>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8" name="Rectangle 27">
                <a:extLst>
                  <a:ext uri="{FF2B5EF4-FFF2-40B4-BE49-F238E27FC236}">
                    <a16:creationId xmlns:a16="http://schemas.microsoft.com/office/drawing/2014/main" id="{BAFDB944-42AA-E6A1-72B0-25417E665240}"/>
                  </a:ext>
                </a:extLst>
              </p:cNvPr>
              <p:cNvSpPr/>
              <p:nvPr userDrawn="1"/>
            </p:nvSpPr>
            <p:spPr>
              <a:xfrm>
                <a:off x="-326714" y="4155906"/>
                <a:ext cx="257205" cy="268349"/>
              </a:xfrm>
              <a:prstGeom prst="rect">
                <a:avLst/>
              </a:prstGeom>
              <a:solidFill>
                <a:schemeClr val="accent6">
                  <a:lumMod val="20000"/>
                  <a:lumOff val="8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7" name="Group 16">
              <a:extLst>
                <a:ext uri="{FF2B5EF4-FFF2-40B4-BE49-F238E27FC236}">
                  <a16:creationId xmlns:a16="http://schemas.microsoft.com/office/drawing/2014/main" id="{F5E40496-8EF5-2132-05E0-88F2DC6E187D}"/>
                </a:ext>
              </a:extLst>
            </p:cNvPr>
            <p:cNvGrpSpPr/>
            <p:nvPr userDrawn="1"/>
          </p:nvGrpSpPr>
          <p:grpSpPr>
            <a:xfrm>
              <a:off x="-326714" y="4987737"/>
              <a:ext cx="257205" cy="862049"/>
              <a:chOff x="-326714" y="4452756"/>
              <a:chExt cx="257205" cy="862049"/>
            </a:xfrm>
          </p:grpSpPr>
          <p:sp>
            <p:nvSpPr>
              <p:cNvPr id="23" name="Rectangle 22">
                <a:extLst>
                  <a:ext uri="{FF2B5EF4-FFF2-40B4-BE49-F238E27FC236}">
                    <a16:creationId xmlns:a16="http://schemas.microsoft.com/office/drawing/2014/main" id="{1E505D23-9704-954E-0DD7-A55A8BBBBA7D}"/>
                  </a:ext>
                </a:extLst>
              </p:cNvPr>
              <p:cNvSpPr/>
              <p:nvPr userDrawn="1"/>
            </p:nvSpPr>
            <p:spPr>
              <a:xfrm>
                <a:off x="-326714" y="4452756"/>
                <a:ext cx="257205" cy="268349"/>
              </a:xfrm>
              <a:prstGeom prst="rect">
                <a:avLst/>
              </a:prstGeom>
              <a:solidFill>
                <a:srgbClr val="EF5F07">
                  <a:lumMod val="75000"/>
                </a:srgb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4" name="Rectangle 23">
                <a:extLst>
                  <a:ext uri="{FF2B5EF4-FFF2-40B4-BE49-F238E27FC236}">
                    <a16:creationId xmlns:a16="http://schemas.microsoft.com/office/drawing/2014/main" id="{B3C9864F-473D-2318-F942-418BA58AC4F7}"/>
                  </a:ext>
                </a:extLst>
              </p:cNvPr>
              <p:cNvSpPr/>
              <p:nvPr userDrawn="1"/>
            </p:nvSpPr>
            <p:spPr>
              <a:xfrm>
                <a:off x="-326714" y="4749606"/>
                <a:ext cx="257205" cy="268349"/>
              </a:xfrm>
              <a:prstGeom prst="rect">
                <a:avLst/>
              </a:prstGeom>
              <a:solidFill>
                <a:srgbClr val="F36107"/>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5" name="Rectangle 24">
                <a:extLst>
                  <a:ext uri="{FF2B5EF4-FFF2-40B4-BE49-F238E27FC236}">
                    <a16:creationId xmlns:a16="http://schemas.microsoft.com/office/drawing/2014/main" id="{FF9E4117-43A7-B10C-C6BC-8723FC6B7F4F}"/>
                  </a:ext>
                </a:extLst>
              </p:cNvPr>
              <p:cNvSpPr/>
              <p:nvPr userDrawn="1"/>
            </p:nvSpPr>
            <p:spPr>
              <a:xfrm>
                <a:off x="-326714" y="5046456"/>
                <a:ext cx="257205" cy="268349"/>
              </a:xfrm>
              <a:prstGeom prst="rect">
                <a:avLst/>
              </a:prstGeom>
              <a:solidFill>
                <a:srgbClr val="FBAB79"/>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8" name="Group 17">
              <a:extLst>
                <a:ext uri="{FF2B5EF4-FFF2-40B4-BE49-F238E27FC236}">
                  <a16:creationId xmlns:a16="http://schemas.microsoft.com/office/drawing/2014/main" id="{41ED7C40-31D8-421F-33A3-290491FB7321}"/>
                </a:ext>
              </a:extLst>
            </p:cNvPr>
            <p:cNvGrpSpPr/>
            <p:nvPr userDrawn="1"/>
          </p:nvGrpSpPr>
          <p:grpSpPr>
            <a:xfrm>
              <a:off x="-326714" y="5967450"/>
              <a:ext cx="257205" cy="862050"/>
              <a:chOff x="-326714" y="5343306"/>
              <a:chExt cx="257205" cy="862050"/>
            </a:xfrm>
          </p:grpSpPr>
          <p:sp>
            <p:nvSpPr>
              <p:cNvPr id="20" name="Rectangle 19">
                <a:extLst>
                  <a:ext uri="{FF2B5EF4-FFF2-40B4-BE49-F238E27FC236}">
                    <a16:creationId xmlns:a16="http://schemas.microsoft.com/office/drawing/2014/main" id="{78A607E8-5CD6-C0D2-1200-B8600DCB47BC}"/>
                  </a:ext>
                </a:extLst>
              </p:cNvPr>
              <p:cNvSpPr/>
              <p:nvPr userDrawn="1"/>
            </p:nvSpPr>
            <p:spPr>
              <a:xfrm>
                <a:off x="-326714" y="5343306"/>
                <a:ext cx="257205" cy="268349"/>
              </a:xfrm>
              <a:prstGeom prst="rect">
                <a:avLst/>
              </a:prstGeom>
              <a:solidFill>
                <a:srgbClr val="6C89A8"/>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1" name="Rectangle 20">
                <a:extLst>
                  <a:ext uri="{FF2B5EF4-FFF2-40B4-BE49-F238E27FC236}">
                    <a16:creationId xmlns:a16="http://schemas.microsoft.com/office/drawing/2014/main" id="{D4789B35-6228-4F26-CBE2-CA79FEBD6B6A}"/>
                  </a:ext>
                </a:extLst>
              </p:cNvPr>
              <p:cNvSpPr/>
              <p:nvPr userDrawn="1"/>
            </p:nvSpPr>
            <p:spPr>
              <a:xfrm>
                <a:off x="-326714" y="5640155"/>
                <a:ext cx="257205" cy="268349"/>
              </a:xfrm>
              <a:prstGeom prst="rect">
                <a:avLst/>
              </a:prstGeom>
              <a:solidFill>
                <a:srgbClr val="ADBDCF"/>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2" name="Rectangle 21">
                <a:extLst>
                  <a:ext uri="{FF2B5EF4-FFF2-40B4-BE49-F238E27FC236}">
                    <a16:creationId xmlns:a16="http://schemas.microsoft.com/office/drawing/2014/main" id="{46DFE7B4-D3DE-D47D-CFE1-3C36A5AC7A86}"/>
                  </a:ext>
                </a:extLst>
              </p:cNvPr>
              <p:cNvSpPr/>
              <p:nvPr userDrawn="1"/>
            </p:nvSpPr>
            <p:spPr>
              <a:xfrm>
                <a:off x="-326714" y="5937007"/>
                <a:ext cx="257205" cy="268349"/>
              </a:xfrm>
              <a:prstGeom prst="rect">
                <a:avLst/>
              </a:prstGeom>
              <a:solidFill>
                <a:srgbClr val="D2DBE4"/>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grpSp>
        <p:nvGrpSpPr>
          <p:cNvPr id="46" name="Group 45">
            <a:extLst>
              <a:ext uri="{FF2B5EF4-FFF2-40B4-BE49-F238E27FC236}">
                <a16:creationId xmlns:a16="http://schemas.microsoft.com/office/drawing/2014/main" id="{82A290D1-633E-B85E-3C2D-B0A0E874D5C7}"/>
              </a:ext>
            </a:extLst>
          </p:cNvPr>
          <p:cNvGrpSpPr>
            <a:grpSpLocks noChangeAspect="1"/>
          </p:cNvGrpSpPr>
          <p:nvPr userDrawn="1"/>
        </p:nvGrpSpPr>
        <p:grpSpPr>
          <a:xfrm>
            <a:off x="10945987" y="425640"/>
            <a:ext cx="708141" cy="711483"/>
            <a:chOff x="10271050" y="2141138"/>
            <a:chExt cx="799204" cy="795027"/>
          </a:xfrm>
        </p:grpSpPr>
        <p:pic>
          <p:nvPicPr>
            <p:cNvPr id="47" name="Picture 2" descr="Ministry of Municipal and Rural Affairs">
              <a:extLst>
                <a:ext uri="{FF2B5EF4-FFF2-40B4-BE49-F238E27FC236}">
                  <a16:creationId xmlns:a16="http://schemas.microsoft.com/office/drawing/2014/main" id="{3E60DF68-C3C6-DB31-3E1D-D574B8F24D7C}"/>
                </a:ext>
              </a:extLst>
            </p:cNvPr>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10397719" y="2141138"/>
              <a:ext cx="545866" cy="51290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Ministry of Municipal and Rural Affairs">
              <a:extLst>
                <a:ext uri="{FF2B5EF4-FFF2-40B4-BE49-F238E27FC236}">
                  <a16:creationId xmlns:a16="http://schemas.microsoft.com/office/drawing/2014/main" id="{C6183503-7560-8C44-481F-CE4430D3EBE7}"/>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10271050" y="2589268"/>
              <a:ext cx="799204" cy="34689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76140101"/>
      </p:ext>
    </p:extLst>
  </p:cSld>
  <p:clrMapOvr>
    <a:masterClrMapping/>
  </p:clrMapOvr>
  <p:transition spd="med"/>
  <p:hf hdr="0" ft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7333">
          <p15:clr>
            <a:srgbClr val="FBAE40"/>
          </p15:clr>
        </p15:guide>
        <p15:guide id="4" pos="325">
          <p15:clr>
            <a:srgbClr val="FBAE40"/>
          </p15:clr>
        </p15:guide>
        <p15:guide id="5" orient="horz" pos="323">
          <p15:clr>
            <a:srgbClr val="FBAE40"/>
          </p15:clr>
        </p15:guide>
        <p15:guide id="6" orient="horz" pos="397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قيمتنا المضافة">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EBA4A4F6-A938-ADC7-DFCA-AA74FAB46549}"/>
              </a:ext>
            </a:extLst>
          </p:cNvPr>
          <p:cNvPicPr>
            <a:picLocks noChangeAspect="1"/>
          </p:cNvPicPr>
          <p:nvPr userDrawn="1"/>
        </p:nvPicPr>
        <p:blipFill>
          <a:blip r:embed="rId3" cstate="print">
            <a:grayscl/>
            <a:alphaModFix amt="4000"/>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96811881"/>
              </p:ext>
            </p:extLst>
          </p:nvPr>
        </p:nvGraphicFramePr>
        <p:xfrm>
          <a:off x="1957" y="1589"/>
          <a:ext cx="1953" cy="1587"/>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2" name="Object 1" hidden="1"/>
                      <p:cNvPicPr/>
                      <p:nvPr/>
                    </p:nvPicPr>
                    <p:blipFill>
                      <a:blip r:embed="rId6"/>
                      <a:stretch>
                        <a:fillRect/>
                      </a:stretch>
                    </p:blipFill>
                    <p:spPr>
                      <a:xfrm>
                        <a:off x="1957" y="1589"/>
                        <a:ext cx="1953"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3C2E91B9-E4C7-A826-D750-E8E3DBD36CE8}"/>
              </a:ext>
            </a:extLst>
          </p:cNvPr>
          <p:cNvGrpSpPr/>
          <p:nvPr userDrawn="1"/>
        </p:nvGrpSpPr>
        <p:grpSpPr>
          <a:xfrm>
            <a:off x="0" y="0"/>
            <a:ext cx="12192000" cy="6858000"/>
            <a:chOff x="0" y="0"/>
            <a:chExt cx="9144000" cy="5143500"/>
          </a:xfrm>
        </p:grpSpPr>
        <p:sp>
          <p:nvSpPr>
            <p:cNvPr id="6" name="PwCFirm">
              <a:extLst>
                <a:ext uri="{FF2B5EF4-FFF2-40B4-BE49-F238E27FC236}">
                  <a16:creationId xmlns:a16="http://schemas.microsoft.com/office/drawing/2014/main" id="{D85DE0DF-D0FB-36DC-6746-155BA3B8A7B3}"/>
                </a:ext>
              </a:extLst>
            </p:cNvPr>
            <p:cNvSpPr txBox="1"/>
            <p:nvPr userDrawn="1"/>
          </p:nvSpPr>
          <p:spPr>
            <a:xfrm>
              <a:off x="6418684" y="4992981"/>
              <a:ext cx="2194560" cy="137160"/>
            </a:xfrm>
            <a:prstGeom prst="rect">
              <a:avLst/>
            </a:prstGeom>
            <a:noFill/>
          </p:spPr>
          <p:txBody>
            <a:bodyPr wrap="square" lIns="0" tIns="0" rIns="0" bIns="0" rtlCol="0" anchor="b" anchorCtr="0">
              <a:noAutofit/>
            </a:bodyPr>
            <a:lstStyle>
              <a:defPPr>
                <a:defRPr lang="en-US"/>
              </a:defPPr>
              <a:lvl1pPr>
                <a:defRPr sz="750" b="0"/>
              </a:lvl1pPr>
            </a:lstStyle>
            <a:p>
              <a:pPr lvl="0" algn="l" rtl="0"/>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مشروع</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بناء</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أدوات</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وأنظمة</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دعم</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القرار</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برايس</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وترهاوس</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كوبرز</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p>
          </p:txBody>
        </p:sp>
        <p:grpSp>
          <p:nvGrpSpPr>
            <p:cNvPr id="8" name="Group 7">
              <a:extLst>
                <a:ext uri="{FF2B5EF4-FFF2-40B4-BE49-F238E27FC236}">
                  <a16:creationId xmlns:a16="http://schemas.microsoft.com/office/drawing/2014/main" id="{B1252400-666F-233F-BF0E-137FDDD38155}"/>
                </a:ext>
              </a:extLst>
            </p:cNvPr>
            <p:cNvGrpSpPr/>
            <p:nvPr userDrawn="1"/>
          </p:nvGrpSpPr>
          <p:grpSpPr>
            <a:xfrm>
              <a:off x="0" y="4622022"/>
              <a:ext cx="1000036" cy="521478"/>
              <a:chOff x="-3713" y="6158552"/>
              <a:chExt cx="1342492" cy="700055"/>
            </a:xfrm>
          </p:grpSpPr>
          <p:sp>
            <p:nvSpPr>
              <p:cNvPr id="27" name="Freeform: Shape 26">
                <a:extLst>
                  <a:ext uri="{FF2B5EF4-FFF2-40B4-BE49-F238E27FC236}">
                    <a16:creationId xmlns:a16="http://schemas.microsoft.com/office/drawing/2014/main" id="{150BE25D-43B2-1954-D8D2-8BD8511763BA}"/>
                  </a:ext>
                </a:extLst>
              </p:cNvPr>
              <p:cNvSpPr/>
              <p:nvPr/>
            </p:nvSpPr>
            <p:spPr>
              <a:xfrm flipH="1">
                <a:off x="-2321" y="6647606"/>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alpha val="50000"/>
                </a:schemeClr>
              </a:solidFill>
              <a:ln w="5838" cap="flat">
                <a:noFill/>
                <a:prstDash val="solid"/>
                <a:miter/>
              </a:ln>
            </p:spPr>
            <p:txBody>
              <a:bodyPr rtlCol="0" anchor="ctr"/>
              <a:lstStyle/>
              <a:p>
                <a:pPr rtl="0"/>
                <a:endParaRPr lang="en-GB" sz="2400"/>
              </a:p>
            </p:txBody>
          </p:sp>
          <p:sp>
            <p:nvSpPr>
              <p:cNvPr id="28" name="Freeform: Shape 27">
                <a:extLst>
                  <a:ext uri="{FF2B5EF4-FFF2-40B4-BE49-F238E27FC236}">
                    <a16:creationId xmlns:a16="http://schemas.microsoft.com/office/drawing/2014/main" id="{D78E358F-40E4-C327-743A-F37CC8BE109A}"/>
                  </a:ext>
                </a:extLst>
              </p:cNvPr>
              <p:cNvSpPr/>
              <p:nvPr/>
            </p:nvSpPr>
            <p:spPr>
              <a:xfrm flipH="1">
                <a:off x="-3713" y="6647606"/>
                <a:ext cx="211002" cy="211001"/>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bg2"/>
              </a:solidFill>
              <a:ln w="5838" cap="flat">
                <a:noFill/>
                <a:prstDash val="solid"/>
                <a:miter/>
              </a:ln>
            </p:spPr>
            <p:txBody>
              <a:bodyPr rtlCol="0" anchor="ctr"/>
              <a:lstStyle/>
              <a:p>
                <a:pPr rtl="0"/>
                <a:endParaRPr lang="en-GB" sz="2400"/>
              </a:p>
            </p:txBody>
          </p:sp>
          <p:sp>
            <p:nvSpPr>
              <p:cNvPr id="29" name="Freeform: Shape 28">
                <a:extLst>
                  <a:ext uri="{FF2B5EF4-FFF2-40B4-BE49-F238E27FC236}">
                    <a16:creationId xmlns:a16="http://schemas.microsoft.com/office/drawing/2014/main" id="{10CC0EAE-6B46-5FEB-3801-54A37CF951FF}"/>
                  </a:ext>
                </a:extLst>
              </p:cNvPr>
              <p:cNvSpPr/>
              <p:nvPr/>
            </p:nvSpPr>
            <p:spPr>
              <a:xfrm flipH="1">
                <a:off x="228305" y="6647606"/>
                <a:ext cx="211002" cy="211001"/>
              </a:xfrm>
              <a:custGeom>
                <a:avLst/>
                <a:gdLst>
                  <a:gd name="connsiteX0" fmla="*/ 817307 w 817306"/>
                  <a:gd name="connsiteY0" fmla="*/ 817306 h 817306"/>
                  <a:gd name="connsiteX1" fmla="*/ 0 w 817306"/>
                  <a:gd name="connsiteY1" fmla="*/ 0 h 817306"/>
                  <a:gd name="connsiteX2" fmla="*/ 817307 w 817306"/>
                  <a:gd name="connsiteY2" fmla="*/ 0 h 817306"/>
                </a:gdLst>
                <a:ahLst/>
                <a:cxnLst>
                  <a:cxn ang="0">
                    <a:pos x="connsiteX0" y="connsiteY0"/>
                  </a:cxn>
                  <a:cxn ang="0">
                    <a:pos x="connsiteX1" y="connsiteY1"/>
                  </a:cxn>
                  <a:cxn ang="0">
                    <a:pos x="connsiteX2" y="connsiteY2"/>
                  </a:cxn>
                </a:cxnLst>
                <a:rect l="l" t="t" r="r" b="b"/>
                <a:pathLst>
                  <a:path w="817306" h="817306">
                    <a:moveTo>
                      <a:pt x="817307" y="817306"/>
                    </a:moveTo>
                    <a:lnTo>
                      <a:pt x="0" y="0"/>
                    </a:lnTo>
                    <a:lnTo>
                      <a:pt x="817307" y="0"/>
                    </a:lnTo>
                    <a:close/>
                  </a:path>
                </a:pathLst>
              </a:custGeom>
              <a:solidFill>
                <a:schemeClr val="accent3"/>
              </a:solidFill>
              <a:ln w="5838" cap="flat">
                <a:noFill/>
                <a:prstDash val="solid"/>
                <a:miter/>
              </a:ln>
            </p:spPr>
            <p:txBody>
              <a:bodyPr rtlCol="0" anchor="ctr"/>
              <a:lstStyle/>
              <a:p>
                <a:pPr rtl="0"/>
                <a:endParaRPr lang="en-GB" sz="2400"/>
              </a:p>
            </p:txBody>
          </p:sp>
          <p:sp>
            <p:nvSpPr>
              <p:cNvPr id="33" name="Freeform: Shape 32">
                <a:extLst>
                  <a:ext uri="{FF2B5EF4-FFF2-40B4-BE49-F238E27FC236}">
                    <a16:creationId xmlns:a16="http://schemas.microsoft.com/office/drawing/2014/main" id="{9FFA8048-7DF7-5118-0A24-928035D5EB4E}"/>
                  </a:ext>
                </a:extLst>
              </p:cNvPr>
              <p:cNvSpPr/>
              <p:nvPr/>
            </p:nvSpPr>
            <p:spPr>
              <a:xfrm flipH="1">
                <a:off x="439307" y="6647606"/>
                <a:ext cx="211002" cy="211001"/>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accent3"/>
              </a:solidFill>
              <a:ln w="5838" cap="flat">
                <a:noFill/>
                <a:prstDash val="solid"/>
                <a:miter/>
              </a:ln>
            </p:spPr>
            <p:txBody>
              <a:bodyPr rtlCol="0" anchor="ctr"/>
              <a:lstStyle/>
              <a:p>
                <a:pPr rtl="0"/>
                <a:endParaRPr lang="en-GB" sz="2400"/>
              </a:p>
            </p:txBody>
          </p:sp>
          <p:sp>
            <p:nvSpPr>
              <p:cNvPr id="34" name="Freeform: Shape 33">
                <a:extLst>
                  <a:ext uri="{FF2B5EF4-FFF2-40B4-BE49-F238E27FC236}">
                    <a16:creationId xmlns:a16="http://schemas.microsoft.com/office/drawing/2014/main" id="{9D3C8F14-C33E-065C-2065-E0F5C0AA7FD7}"/>
                  </a:ext>
                </a:extLst>
              </p:cNvPr>
              <p:cNvSpPr/>
              <p:nvPr userDrawn="1"/>
            </p:nvSpPr>
            <p:spPr>
              <a:xfrm rot="16200000" flipH="1">
                <a:off x="226593" y="6647606"/>
                <a:ext cx="211001" cy="211002"/>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nvGrpSpPr>
              <p:cNvPr id="35" name="Group 34">
                <a:extLst>
                  <a:ext uri="{FF2B5EF4-FFF2-40B4-BE49-F238E27FC236}">
                    <a16:creationId xmlns:a16="http://schemas.microsoft.com/office/drawing/2014/main" id="{76349818-B5B1-FCFF-90B2-972D98DF1B40}"/>
                  </a:ext>
                </a:extLst>
              </p:cNvPr>
              <p:cNvGrpSpPr/>
              <p:nvPr userDrawn="1"/>
            </p:nvGrpSpPr>
            <p:grpSpPr>
              <a:xfrm>
                <a:off x="662717" y="6647606"/>
                <a:ext cx="451301" cy="211001"/>
                <a:chOff x="650309" y="6647606"/>
                <a:chExt cx="451301" cy="211001"/>
              </a:xfrm>
            </p:grpSpPr>
            <p:sp>
              <p:nvSpPr>
                <p:cNvPr id="43" name="Freeform: Shape 42">
                  <a:extLst>
                    <a:ext uri="{FF2B5EF4-FFF2-40B4-BE49-F238E27FC236}">
                      <a16:creationId xmlns:a16="http://schemas.microsoft.com/office/drawing/2014/main" id="{628520C7-1ECB-E19F-BF98-F2505823BA2E}"/>
                    </a:ext>
                  </a:extLst>
                </p:cNvPr>
                <p:cNvSpPr/>
                <p:nvPr/>
              </p:nvSpPr>
              <p:spPr>
                <a:xfrm flipH="1">
                  <a:off x="650309" y="6647606"/>
                  <a:ext cx="211002" cy="211001"/>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44" name="Freeform: Shape 43">
                  <a:extLst>
                    <a:ext uri="{FF2B5EF4-FFF2-40B4-BE49-F238E27FC236}">
                      <a16:creationId xmlns:a16="http://schemas.microsoft.com/office/drawing/2014/main" id="{737A8C62-BE1B-E46C-D081-29D5A7020DA1}"/>
                    </a:ext>
                  </a:extLst>
                </p:cNvPr>
                <p:cNvSpPr/>
                <p:nvPr/>
              </p:nvSpPr>
              <p:spPr>
                <a:xfrm flipH="1">
                  <a:off x="650309" y="6647606"/>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45" name="Freeform: Shape 44">
                  <a:extLst>
                    <a:ext uri="{FF2B5EF4-FFF2-40B4-BE49-F238E27FC236}">
                      <a16:creationId xmlns:a16="http://schemas.microsoft.com/office/drawing/2014/main" id="{312A25A2-9475-92BE-98B0-4712B07E63A1}"/>
                    </a:ext>
                  </a:extLst>
                </p:cNvPr>
                <p:cNvSpPr/>
                <p:nvPr/>
              </p:nvSpPr>
              <p:spPr>
                <a:xfrm flipH="1">
                  <a:off x="889042" y="6647606"/>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solidFill>
                <a:ln w="5838" cap="flat">
                  <a:noFill/>
                  <a:prstDash val="solid"/>
                  <a:miter/>
                </a:ln>
              </p:spPr>
              <p:txBody>
                <a:bodyPr rtlCol="0" anchor="ctr"/>
                <a:lstStyle/>
                <a:p>
                  <a:pPr rtl="0"/>
                  <a:endParaRPr lang="en-GB" sz="2400"/>
                </a:p>
              </p:txBody>
            </p:sp>
            <p:sp>
              <p:nvSpPr>
                <p:cNvPr id="46" name="Freeform: Shape 45">
                  <a:extLst>
                    <a:ext uri="{FF2B5EF4-FFF2-40B4-BE49-F238E27FC236}">
                      <a16:creationId xmlns:a16="http://schemas.microsoft.com/office/drawing/2014/main" id="{B56E6C62-2D06-9611-27FD-D5EF3310C917}"/>
                    </a:ext>
                  </a:extLst>
                </p:cNvPr>
                <p:cNvSpPr/>
                <p:nvPr userDrawn="1"/>
              </p:nvSpPr>
              <p:spPr>
                <a:xfrm flipH="1">
                  <a:off x="890608" y="6647606"/>
                  <a:ext cx="211002" cy="211001"/>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tx2">
                    <a:alpha val="50000"/>
                  </a:schemeClr>
                </a:solidFill>
                <a:ln w="5838" cap="flat">
                  <a:noFill/>
                  <a:prstDash val="solid"/>
                  <a:miter/>
                </a:ln>
              </p:spPr>
              <p:txBody>
                <a:bodyPr rtlCol="0" anchor="ctr"/>
                <a:lstStyle/>
                <a:p>
                  <a:pPr rtl="0"/>
                  <a:endParaRPr lang="en-GB" sz="2400"/>
                </a:p>
              </p:txBody>
            </p:sp>
          </p:grpSp>
          <p:sp>
            <p:nvSpPr>
              <p:cNvPr id="36" name="Freeform: Shape 35">
                <a:extLst>
                  <a:ext uri="{FF2B5EF4-FFF2-40B4-BE49-F238E27FC236}">
                    <a16:creationId xmlns:a16="http://schemas.microsoft.com/office/drawing/2014/main" id="{EDEB86B0-EED0-45EA-E2AA-910EA4D8F24F}"/>
                  </a:ext>
                </a:extLst>
              </p:cNvPr>
              <p:cNvSpPr/>
              <p:nvPr userDrawn="1"/>
            </p:nvSpPr>
            <p:spPr>
              <a:xfrm rot="16200000" flipH="1">
                <a:off x="1127777" y="6647606"/>
                <a:ext cx="211001" cy="211002"/>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sp>
            <p:nvSpPr>
              <p:cNvPr id="37" name="Freeform: Shape 36">
                <a:extLst>
                  <a:ext uri="{FF2B5EF4-FFF2-40B4-BE49-F238E27FC236}">
                    <a16:creationId xmlns:a16="http://schemas.microsoft.com/office/drawing/2014/main" id="{4730C6FB-C605-77B5-BF96-159D2D1B9A03}"/>
                  </a:ext>
                </a:extLst>
              </p:cNvPr>
              <p:cNvSpPr/>
              <p:nvPr userDrawn="1"/>
            </p:nvSpPr>
            <p:spPr>
              <a:xfrm flipH="1" flipV="1">
                <a:off x="1" y="6401809"/>
                <a:ext cx="211002" cy="211001"/>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38" name="Freeform: Shape 37">
                <a:extLst>
                  <a:ext uri="{FF2B5EF4-FFF2-40B4-BE49-F238E27FC236}">
                    <a16:creationId xmlns:a16="http://schemas.microsoft.com/office/drawing/2014/main" id="{C6B823C9-91E1-52F3-0C13-157CE60920D1}"/>
                  </a:ext>
                </a:extLst>
              </p:cNvPr>
              <p:cNvSpPr/>
              <p:nvPr userDrawn="1"/>
            </p:nvSpPr>
            <p:spPr>
              <a:xfrm flipH="1" flipV="1">
                <a:off x="1" y="6401809"/>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39" name="Freeform: Shape 38">
                <a:extLst>
                  <a:ext uri="{FF2B5EF4-FFF2-40B4-BE49-F238E27FC236}">
                    <a16:creationId xmlns:a16="http://schemas.microsoft.com/office/drawing/2014/main" id="{C39F2685-4DC6-A54B-0588-F19B7964F9D4}"/>
                  </a:ext>
                </a:extLst>
              </p:cNvPr>
              <p:cNvSpPr/>
              <p:nvPr userDrawn="1"/>
            </p:nvSpPr>
            <p:spPr>
              <a:xfrm rot="16200000" flipH="1">
                <a:off x="451715" y="6401808"/>
                <a:ext cx="211001" cy="211002"/>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alpha val="50000"/>
                </a:schemeClr>
              </a:solidFill>
              <a:ln w="5838" cap="flat">
                <a:noFill/>
                <a:prstDash val="solid"/>
                <a:miter/>
              </a:ln>
            </p:spPr>
            <p:txBody>
              <a:bodyPr rtlCol="0" anchor="ctr"/>
              <a:lstStyle/>
              <a:p>
                <a:pPr rtl="0"/>
                <a:endParaRPr lang="en-GB" sz="2400"/>
              </a:p>
            </p:txBody>
          </p:sp>
          <p:sp>
            <p:nvSpPr>
              <p:cNvPr id="40" name="Freeform: Shape 39">
                <a:extLst>
                  <a:ext uri="{FF2B5EF4-FFF2-40B4-BE49-F238E27FC236}">
                    <a16:creationId xmlns:a16="http://schemas.microsoft.com/office/drawing/2014/main" id="{FE817D66-C888-5BE1-6934-8C1DE2FC3897}"/>
                  </a:ext>
                </a:extLst>
              </p:cNvPr>
              <p:cNvSpPr/>
              <p:nvPr userDrawn="1"/>
            </p:nvSpPr>
            <p:spPr>
              <a:xfrm flipH="1" flipV="1">
                <a:off x="226593" y="6401808"/>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solidFill>
              <a:ln w="5838" cap="flat">
                <a:noFill/>
                <a:prstDash val="solid"/>
                <a:miter/>
              </a:ln>
            </p:spPr>
            <p:txBody>
              <a:bodyPr rtlCol="0" anchor="ctr"/>
              <a:lstStyle/>
              <a:p>
                <a:pPr rtl="0"/>
                <a:endParaRPr lang="en-GB" sz="2400"/>
              </a:p>
            </p:txBody>
          </p:sp>
          <p:sp>
            <p:nvSpPr>
              <p:cNvPr id="41" name="Freeform: Shape 40">
                <a:extLst>
                  <a:ext uri="{FF2B5EF4-FFF2-40B4-BE49-F238E27FC236}">
                    <a16:creationId xmlns:a16="http://schemas.microsoft.com/office/drawing/2014/main" id="{2C6964FB-0B6B-3117-EA3C-B4CA17258437}"/>
                  </a:ext>
                </a:extLst>
              </p:cNvPr>
              <p:cNvSpPr/>
              <p:nvPr userDrawn="1"/>
            </p:nvSpPr>
            <p:spPr>
              <a:xfrm rot="10800000" flipH="1" flipV="1">
                <a:off x="228159" y="6401808"/>
                <a:ext cx="211002" cy="211001"/>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sp>
            <p:nvSpPr>
              <p:cNvPr id="42" name="Freeform: Shape 41">
                <a:extLst>
                  <a:ext uri="{FF2B5EF4-FFF2-40B4-BE49-F238E27FC236}">
                    <a16:creationId xmlns:a16="http://schemas.microsoft.com/office/drawing/2014/main" id="{35C1FB24-AB12-1927-88B0-5829441AEF00}"/>
                  </a:ext>
                </a:extLst>
              </p:cNvPr>
              <p:cNvSpPr/>
              <p:nvPr userDrawn="1"/>
            </p:nvSpPr>
            <p:spPr>
              <a:xfrm flipH="1">
                <a:off x="0" y="6158552"/>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grpSp>
          <p:nvGrpSpPr>
            <p:cNvPr id="9" name="Group 8">
              <a:extLst>
                <a:ext uri="{FF2B5EF4-FFF2-40B4-BE49-F238E27FC236}">
                  <a16:creationId xmlns:a16="http://schemas.microsoft.com/office/drawing/2014/main" id="{F4803A56-02B8-8CD6-D482-C0947F9C576A}"/>
                </a:ext>
              </a:extLst>
            </p:cNvPr>
            <p:cNvGrpSpPr/>
            <p:nvPr userDrawn="1"/>
          </p:nvGrpSpPr>
          <p:grpSpPr>
            <a:xfrm flipH="1">
              <a:off x="8640439" y="4814926"/>
              <a:ext cx="503561" cy="328574"/>
              <a:chOff x="1125852" y="3916280"/>
              <a:chExt cx="553917" cy="361431"/>
            </a:xfrm>
          </p:grpSpPr>
          <p:sp>
            <p:nvSpPr>
              <p:cNvPr id="20" name="Freeform: Shape 19">
                <a:extLst>
                  <a:ext uri="{FF2B5EF4-FFF2-40B4-BE49-F238E27FC236}">
                    <a16:creationId xmlns:a16="http://schemas.microsoft.com/office/drawing/2014/main" id="{5857DF8B-CD33-1DDD-A3DB-353B59FEF2B9}"/>
                  </a:ext>
                </a:extLst>
              </p:cNvPr>
              <p:cNvSpPr/>
              <p:nvPr userDrawn="1"/>
            </p:nvSpPr>
            <p:spPr>
              <a:xfrm flipH="1" flipV="1">
                <a:off x="1125853" y="4104175"/>
                <a:ext cx="172895" cy="172895"/>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21" name="Freeform: Shape 20">
                <a:extLst>
                  <a:ext uri="{FF2B5EF4-FFF2-40B4-BE49-F238E27FC236}">
                    <a16:creationId xmlns:a16="http://schemas.microsoft.com/office/drawing/2014/main" id="{60C2707B-C30D-2FAE-84D5-4803D4102889}"/>
                  </a:ext>
                </a:extLst>
              </p:cNvPr>
              <p:cNvSpPr/>
              <p:nvPr userDrawn="1"/>
            </p:nvSpPr>
            <p:spPr>
              <a:xfrm flipH="1" flipV="1">
                <a:off x="1125853" y="4104175"/>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22" name="Freeform: Shape 21">
                <a:extLst>
                  <a:ext uri="{FF2B5EF4-FFF2-40B4-BE49-F238E27FC236}">
                    <a16:creationId xmlns:a16="http://schemas.microsoft.com/office/drawing/2014/main" id="{04F415E2-AD89-1FBE-D209-9DB461472E73}"/>
                  </a:ext>
                </a:extLst>
              </p:cNvPr>
              <p:cNvSpPr/>
              <p:nvPr userDrawn="1"/>
            </p:nvSpPr>
            <p:spPr>
              <a:xfrm flipH="1">
                <a:off x="1506874"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alpha val="50000"/>
                </a:schemeClr>
              </a:solidFill>
              <a:ln w="5838" cap="flat">
                <a:noFill/>
                <a:prstDash val="solid"/>
                <a:miter/>
              </a:ln>
            </p:spPr>
            <p:txBody>
              <a:bodyPr rtlCol="0" anchor="ctr"/>
              <a:lstStyle/>
              <a:p>
                <a:pPr rtl="0"/>
                <a:endParaRPr lang="en-GB" sz="2400"/>
              </a:p>
            </p:txBody>
          </p:sp>
          <p:grpSp>
            <p:nvGrpSpPr>
              <p:cNvPr id="23" name="Group 22">
                <a:extLst>
                  <a:ext uri="{FF2B5EF4-FFF2-40B4-BE49-F238E27FC236}">
                    <a16:creationId xmlns:a16="http://schemas.microsoft.com/office/drawing/2014/main" id="{7A9EC0EC-1AEA-8581-D4D3-97FCEBE316F2}"/>
                  </a:ext>
                </a:extLst>
              </p:cNvPr>
              <p:cNvGrpSpPr/>
              <p:nvPr userDrawn="1"/>
            </p:nvGrpSpPr>
            <p:grpSpPr>
              <a:xfrm rot="16200000" flipV="1">
                <a:off x="1311523" y="4104174"/>
                <a:ext cx="174178" cy="172895"/>
                <a:chOff x="1311523" y="4104174"/>
                <a:chExt cx="174178" cy="172895"/>
              </a:xfrm>
            </p:grpSpPr>
            <p:sp>
              <p:nvSpPr>
                <p:cNvPr id="25" name="Freeform: Shape 24">
                  <a:extLst>
                    <a:ext uri="{FF2B5EF4-FFF2-40B4-BE49-F238E27FC236}">
                      <a16:creationId xmlns:a16="http://schemas.microsoft.com/office/drawing/2014/main" id="{23828EF1-F427-349A-0E1B-BD4B734E687B}"/>
                    </a:ext>
                  </a:extLst>
                </p:cNvPr>
                <p:cNvSpPr/>
                <p:nvPr userDrawn="1"/>
              </p:nvSpPr>
              <p:spPr>
                <a:xfrm flipH="1" flipV="1">
                  <a:off x="1311523"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solidFill>
                <a:ln w="5838" cap="flat">
                  <a:noFill/>
                  <a:prstDash val="solid"/>
                  <a:miter/>
                </a:ln>
              </p:spPr>
              <p:txBody>
                <a:bodyPr rtlCol="0" anchor="ctr"/>
                <a:lstStyle/>
                <a:p>
                  <a:pPr rtl="0"/>
                  <a:endParaRPr lang="en-GB" sz="2400"/>
                </a:p>
              </p:txBody>
            </p:sp>
            <p:sp>
              <p:nvSpPr>
                <p:cNvPr id="26" name="Freeform: Shape 25">
                  <a:extLst>
                    <a:ext uri="{FF2B5EF4-FFF2-40B4-BE49-F238E27FC236}">
                      <a16:creationId xmlns:a16="http://schemas.microsoft.com/office/drawing/2014/main" id="{8D3E95F3-8D2F-DE07-628A-91D38C1F0BDE}"/>
                    </a:ext>
                  </a:extLst>
                </p:cNvPr>
                <p:cNvSpPr/>
                <p:nvPr userDrawn="1"/>
              </p:nvSpPr>
              <p:spPr>
                <a:xfrm rot="10800000" flipH="1" flipV="1">
                  <a:off x="1312806" y="4104174"/>
                  <a:ext cx="172895" cy="172895"/>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grpSp>
          <p:sp>
            <p:nvSpPr>
              <p:cNvPr id="24" name="Freeform: Shape 23">
                <a:extLst>
                  <a:ext uri="{FF2B5EF4-FFF2-40B4-BE49-F238E27FC236}">
                    <a16:creationId xmlns:a16="http://schemas.microsoft.com/office/drawing/2014/main" id="{CE790A2D-0B48-9182-E197-9EE2236EA85B}"/>
                  </a:ext>
                </a:extLst>
              </p:cNvPr>
              <p:cNvSpPr/>
              <p:nvPr userDrawn="1"/>
            </p:nvSpPr>
            <p:spPr>
              <a:xfrm flipH="1">
                <a:off x="1125852" y="3916280"/>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grpSp>
          <p:nvGrpSpPr>
            <p:cNvPr id="10" name="Group 9">
              <a:extLst>
                <a:ext uri="{FF2B5EF4-FFF2-40B4-BE49-F238E27FC236}">
                  <a16:creationId xmlns:a16="http://schemas.microsoft.com/office/drawing/2014/main" id="{10E4CBAF-D80A-0FA3-8CFE-E38E8FFFC51D}"/>
                </a:ext>
              </a:extLst>
            </p:cNvPr>
            <p:cNvGrpSpPr/>
            <p:nvPr userDrawn="1"/>
          </p:nvGrpSpPr>
          <p:grpSpPr>
            <a:xfrm flipH="1" flipV="1">
              <a:off x="8640439" y="0"/>
              <a:ext cx="503561" cy="328574"/>
              <a:chOff x="1125852" y="3916280"/>
              <a:chExt cx="553917" cy="361431"/>
            </a:xfrm>
          </p:grpSpPr>
          <p:sp>
            <p:nvSpPr>
              <p:cNvPr id="11" name="Freeform: Shape 10">
                <a:extLst>
                  <a:ext uri="{FF2B5EF4-FFF2-40B4-BE49-F238E27FC236}">
                    <a16:creationId xmlns:a16="http://schemas.microsoft.com/office/drawing/2014/main" id="{4EE13A2C-5669-35D1-0635-5A4770B96D4A}"/>
                  </a:ext>
                </a:extLst>
              </p:cNvPr>
              <p:cNvSpPr/>
              <p:nvPr userDrawn="1"/>
            </p:nvSpPr>
            <p:spPr>
              <a:xfrm flipH="1" flipV="1">
                <a:off x="1125853" y="4104175"/>
                <a:ext cx="172895" cy="172895"/>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12" name="Freeform: Shape 11">
                <a:extLst>
                  <a:ext uri="{FF2B5EF4-FFF2-40B4-BE49-F238E27FC236}">
                    <a16:creationId xmlns:a16="http://schemas.microsoft.com/office/drawing/2014/main" id="{9B31C437-C54D-2796-B623-EDF37A9C8B77}"/>
                  </a:ext>
                </a:extLst>
              </p:cNvPr>
              <p:cNvSpPr/>
              <p:nvPr userDrawn="1"/>
            </p:nvSpPr>
            <p:spPr>
              <a:xfrm flipH="1" flipV="1">
                <a:off x="1125853" y="4104175"/>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15" name="Freeform: Shape 14">
                <a:extLst>
                  <a:ext uri="{FF2B5EF4-FFF2-40B4-BE49-F238E27FC236}">
                    <a16:creationId xmlns:a16="http://schemas.microsoft.com/office/drawing/2014/main" id="{2A4DFB40-B5CD-6F68-5D2D-9B73AAD7F1EF}"/>
                  </a:ext>
                </a:extLst>
              </p:cNvPr>
              <p:cNvSpPr/>
              <p:nvPr userDrawn="1"/>
            </p:nvSpPr>
            <p:spPr>
              <a:xfrm flipH="1">
                <a:off x="1506874"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alpha val="50000"/>
                </a:schemeClr>
              </a:solidFill>
              <a:ln w="5838" cap="flat">
                <a:noFill/>
                <a:prstDash val="solid"/>
                <a:miter/>
              </a:ln>
            </p:spPr>
            <p:txBody>
              <a:bodyPr rtlCol="0" anchor="ctr"/>
              <a:lstStyle/>
              <a:p>
                <a:pPr rtl="0"/>
                <a:endParaRPr lang="en-GB" sz="2400"/>
              </a:p>
            </p:txBody>
          </p:sp>
          <p:grpSp>
            <p:nvGrpSpPr>
              <p:cNvPr id="16" name="Group 15">
                <a:extLst>
                  <a:ext uri="{FF2B5EF4-FFF2-40B4-BE49-F238E27FC236}">
                    <a16:creationId xmlns:a16="http://schemas.microsoft.com/office/drawing/2014/main" id="{BA83C7D9-EC1F-24EB-A8F8-46BF26A50F78}"/>
                  </a:ext>
                </a:extLst>
              </p:cNvPr>
              <p:cNvGrpSpPr/>
              <p:nvPr userDrawn="1"/>
            </p:nvGrpSpPr>
            <p:grpSpPr>
              <a:xfrm rot="16200000" flipV="1">
                <a:off x="1311523" y="4104174"/>
                <a:ext cx="174178" cy="172895"/>
                <a:chOff x="1311523" y="4104174"/>
                <a:chExt cx="174178" cy="172895"/>
              </a:xfrm>
            </p:grpSpPr>
            <p:sp>
              <p:nvSpPr>
                <p:cNvPr id="18" name="Freeform: Shape 17">
                  <a:extLst>
                    <a:ext uri="{FF2B5EF4-FFF2-40B4-BE49-F238E27FC236}">
                      <a16:creationId xmlns:a16="http://schemas.microsoft.com/office/drawing/2014/main" id="{7B0AB517-7013-C4E3-A7B5-DED5F3B68036}"/>
                    </a:ext>
                  </a:extLst>
                </p:cNvPr>
                <p:cNvSpPr/>
                <p:nvPr userDrawn="1"/>
              </p:nvSpPr>
              <p:spPr>
                <a:xfrm flipH="1" flipV="1">
                  <a:off x="1311523"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solidFill>
                <a:ln w="5838" cap="flat">
                  <a:noFill/>
                  <a:prstDash val="solid"/>
                  <a:miter/>
                </a:ln>
              </p:spPr>
              <p:txBody>
                <a:bodyPr rtlCol="0" anchor="ctr"/>
                <a:lstStyle/>
                <a:p>
                  <a:pPr rtl="0"/>
                  <a:endParaRPr lang="en-GB" sz="2400"/>
                </a:p>
              </p:txBody>
            </p:sp>
            <p:sp>
              <p:nvSpPr>
                <p:cNvPr id="19" name="Freeform: Shape 18">
                  <a:extLst>
                    <a:ext uri="{FF2B5EF4-FFF2-40B4-BE49-F238E27FC236}">
                      <a16:creationId xmlns:a16="http://schemas.microsoft.com/office/drawing/2014/main" id="{A076927D-81DF-5174-E262-82CE7A6E953B}"/>
                    </a:ext>
                  </a:extLst>
                </p:cNvPr>
                <p:cNvSpPr/>
                <p:nvPr userDrawn="1"/>
              </p:nvSpPr>
              <p:spPr>
                <a:xfrm rot="10800000" flipH="1" flipV="1">
                  <a:off x="1312806" y="4104174"/>
                  <a:ext cx="172895" cy="172895"/>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grpSp>
          <p:sp>
            <p:nvSpPr>
              <p:cNvPr id="17" name="Freeform: Shape 16">
                <a:extLst>
                  <a:ext uri="{FF2B5EF4-FFF2-40B4-BE49-F238E27FC236}">
                    <a16:creationId xmlns:a16="http://schemas.microsoft.com/office/drawing/2014/main" id="{9A750793-0DB7-2303-F57C-B996430D1D10}"/>
                  </a:ext>
                </a:extLst>
              </p:cNvPr>
              <p:cNvSpPr/>
              <p:nvPr userDrawn="1"/>
            </p:nvSpPr>
            <p:spPr>
              <a:xfrm flipH="1">
                <a:off x="1125852" y="3916280"/>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grpSp>
      <p:sp>
        <p:nvSpPr>
          <p:cNvPr id="48" name="PwCFirm">
            <a:extLst>
              <a:ext uri="{FF2B5EF4-FFF2-40B4-BE49-F238E27FC236}">
                <a16:creationId xmlns:a16="http://schemas.microsoft.com/office/drawing/2014/main" id="{C4898FEE-20A6-E713-4C14-14191AD0B17D}"/>
              </a:ext>
            </a:extLst>
          </p:cNvPr>
          <p:cNvSpPr txBox="1">
            <a:spLocks/>
          </p:cNvSpPr>
          <p:nvPr userDrawn="1"/>
        </p:nvSpPr>
        <p:spPr>
          <a:xfrm>
            <a:off x="1302867" y="6623107"/>
            <a:ext cx="365760" cy="182880"/>
          </a:xfrm>
          <a:prstGeom prst="rect">
            <a:avLst/>
          </a:prstGeom>
          <a:noFill/>
        </p:spPr>
        <p:txBody>
          <a:bodyPr wrap="square" lIns="0" tIns="0" rIns="0" bIns="0" rtlCol="0" anchor="b" anchorCtr="0">
            <a:noAutofit/>
          </a:bodyPr>
          <a:lstStyle>
            <a:defPPr>
              <a:defRPr lang="en-US"/>
            </a:defPPr>
            <a:lvl1pPr>
              <a:defRPr sz="750" b="0"/>
            </a:lvl1pPr>
          </a:lstStyle>
          <a:p>
            <a:pPr lvl="0" algn="ctr" rtl="0"/>
            <a:fld id="{0AD3E0D8-CFBC-40AF-89AB-97D5BF3C0506}" type="slidenum">
              <a:rPr lang="en-GB" sz="933" b="1" smtClean="0">
                <a:solidFill>
                  <a:schemeClr val="tx1">
                    <a:lumMod val="75000"/>
                    <a:lumOff val="25000"/>
                  </a:schemeClr>
                </a:solidFill>
                <a:latin typeface="Sakkal Majalla" panose="02000000000000000000" pitchFamily="2" charset="-78"/>
              </a:rPr>
              <a:pPr lvl="0" algn="ctr" rtl="0"/>
              <a:t>‹#›</a:t>
            </a:fld>
            <a:endParaRPr lang="en-GB" sz="933" b="1" i="0" u="none" strike="noStrike" cap="none" baseline="0" noProof="0">
              <a:solidFill>
                <a:schemeClr val="tx1">
                  <a:lumMod val="75000"/>
                  <a:lumOff val="25000"/>
                </a:schemeClr>
              </a:solidFill>
              <a:effectLst/>
              <a:uFillTx/>
              <a:latin typeface="Sakkal Majalla" panose="02000000000000000000" pitchFamily="2" charset="-78"/>
              <a:cs typeface="Traditional Arabic" panose="02020603050405020304" pitchFamily="18" charset="-78"/>
            </a:endParaRPr>
          </a:p>
        </p:txBody>
      </p:sp>
    </p:spTree>
    <p:extLst>
      <p:ext uri="{BB962C8B-B14F-4D97-AF65-F5344CB8AC3E}">
        <p14:creationId xmlns:p14="http://schemas.microsoft.com/office/powerpoint/2010/main" val="340431867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1_Main Title &amp; Subtitle" preserve="1">
  <p:cSld name="1_Main Title &amp; Subtitle">
    <p:spTree>
      <p:nvGrpSpPr>
        <p:cNvPr id="1" name="Shape 13"/>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0E99E20-2B77-ADC9-933C-71622B43ADB7}"/>
              </a:ext>
            </a:extLst>
          </p:cNvPr>
          <p:cNvGraphicFramePr>
            <a:graphicFrameLocks noChangeAspect="1"/>
          </p:cNvGraphicFramePr>
          <p:nvPr userDrawn="1">
            <p:custDataLst>
              <p:tags r:id="rId1"/>
            </p:custDataLst>
            <p:extLst>
              <p:ext uri="{D42A27DB-BD31-4B8C-83A1-F6EECF244321}">
                <p14:modId xmlns:p14="http://schemas.microsoft.com/office/powerpoint/2010/main" val="2894376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20E99E20-2B77-ADC9-933C-71622B43AD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3"/>
          <p:cNvSpPr>
            <a:spLocks noGrp="1"/>
          </p:cNvSpPr>
          <p:nvPr>
            <p:ph type="body" sz="half" idx="2" hasCustomPrompt="1"/>
          </p:nvPr>
        </p:nvSpPr>
        <p:spPr>
          <a:xfrm>
            <a:off x="517093" y="885781"/>
            <a:ext cx="11157817" cy="231007"/>
          </a:xfrm>
          <a:prstGeom prst="rect">
            <a:avLst/>
          </a:prstGeom>
        </p:spPr>
        <p:txBody>
          <a:bodyPr wrap="none" lIns="0" tIns="0" rIns="0" bIns="0" anchor="ctr">
            <a:noAutofit/>
          </a:bodyPr>
          <a:lstStyle>
            <a:lvl1pPr marL="0" indent="0" algn="ctr" rtl="0">
              <a:buNone/>
              <a:defRPr sz="1333" b="0" baseline="0">
                <a:solidFill>
                  <a:schemeClr val="tx1">
                    <a:lumMod val="75000"/>
                    <a:lumOff val="25000"/>
                  </a:schemeClr>
                </a:solidFill>
                <a:latin typeface="+mn-lt"/>
                <a:ea typeface="Roboto" panose="02000000000000000000" pitchFamily="2" charset="0"/>
              </a:defRPr>
            </a:lvl1pPr>
            <a:lvl2pPr marL="609555" indent="0">
              <a:buNone/>
              <a:defRPr sz="1600"/>
            </a:lvl2pPr>
            <a:lvl3pPr marL="1219108" indent="0">
              <a:buNone/>
              <a:defRPr sz="1333"/>
            </a:lvl3pPr>
            <a:lvl4pPr marL="1828664" indent="0">
              <a:buNone/>
              <a:defRPr sz="1200"/>
            </a:lvl4pPr>
            <a:lvl5pPr marL="2438218" indent="0">
              <a:buNone/>
              <a:defRPr sz="1200"/>
            </a:lvl5pPr>
            <a:lvl6pPr marL="3047772" indent="0">
              <a:buNone/>
              <a:defRPr sz="1200"/>
            </a:lvl6pPr>
            <a:lvl7pPr marL="3657325" indent="0">
              <a:buNone/>
              <a:defRPr sz="1200"/>
            </a:lvl7pPr>
            <a:lvl8pPr marL="4266880" indent="0">
              <a:buNone/>
              <a:defRPr sz="1200"/>
            </a:lvl8pPr>
            <a:lvl9pPr marL="4876435" indent="0">
              <a:buNone/>
              <a:defRPr sz="1200"/>
            </a:lvl9pPr>
          </a:lstStyle>
          <a:p>
            <a:pPr lvl="0"/>
            <a:r>
              <a:rPr lang="en-GB"/>
              <a:t>CLICK TO EDITE SUBTITLE</a:t>
            </a:r>
          </a:p>
        </p:txBody>
      </p:sp>
      <p:sp>
        <p:nvSpPr>
          <p:cNvPr id="12" name="Title 2"/>
          <p:cNvSpPr>
            <a:spLocks noGrp="1"/>
          </p:cNvSpPr>
          <p:nvPr>
            <p:ph type="title"/>
          </p:nvPr>
        </p:nvSpPr>
        <p:spPr>
          <a:xfrm>
            <a:off x="517093" y="299012"/>
            <a:ext cx="11157817" cy="480196"/>
          </a:xfrm>
          <a:prstGeom prst="rect">
            <a:avLst/>
          </a:prstGeom>
        </p:spPr>
        <p:txBody>
          <a:bodyPr vert="horz" lIns="0" tIns="0" rIns="0" bIns="0" anchor="ctr"/>
          <a:lstStyle>
            <a:lvl1pPr algn="ctr" rtl="0">
              <a:defRPr sz="3467">
                <a:solidFill>
                  <a:schemeClr val="tx1">
                    <a:lumMod val="75000"/>
                    <a:lumOff val="25000"/>
                  </a:schemeClr>
                </a:solidFill>
                <a:latin typeface="+mj-lt"/>
              </a:defRPr>
            </a:lvl1pPr>
          </a:lstStyle>
          <a:p>
            <a:r>
              <a:rPr lang="en-GB"/>
              <a:t>Click to edit Master title style</a:t>
            </a:r>
          </a:p>
        </p:txBody>
      </p:sp>
    </p:spTree>
    <p:extLst>
      <p:ext uri="{BB962C8B-B14F-4D97-AF65-F5344CB8AC3E}">
        <p14:creationId xmlns:p14="http://schemas.microsoft.com/office/powerpoint/2010/main" val="15904791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145CB-2B75-474A-1F60-832DB74512F9}"/>
              </a:ext>
            </a:extLst>
          </p:cNvPr>
          <p:cNvGraphicFramePr>
            <a:graphicFrameLocks noChangeAspect="1"/>
          </p:cNvGraphicFramePr>
          <p:nvPr userDrawn="1">
            <p:custDataLst>
              <p:tags r:id="rId1"/>
            </p:custDataLst>
            <p:extLst>
              <p:ext uri="{D42A27DB-BD31-4B8C-83A1-F6EECF244321}">
                <p14:modId xmlns:p14="http://schemas.microsoft.com/office/powerpoint/2010/main" val="67740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ABD145CB-2B75-474A-1F60-832DB74512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lgn="l" rtl="0">
              <a:defRPr sz="3200" baseline="0">
                <a:solidFill>
                  <a:srgbClr val="FFFFFF"/>
                </a:solidFill>
                <a:latin typeface="+mj-lt"/>
              </a:defRPr>
            </a:lvl1pPr>
          </a:lstStyle>
          <a:p>
            <a:r>
              <a:rPr lang="en-GB"/>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a:extLst>
              <a:ext uri="{FF2B5EF4-FFF2-40B4-BE49-F238E27FC236}">
                <a16:creationId xmlns:a16="http://schemas.microsoft.com/office/drawing/2014/main" id="{EBB2C534-4719-425F-9C3B-1D47A7F58B1E}"/>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09853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lgn="l" rtl="0">
              <a:defRPr sz="4400" b="0">
                <a:solidFill>
                  <a:srgbClr val="006C67"/>
                </a:solidFill>
                <a:latin typeface="+mj-lt"/>
                <a:sym typeface="Trebuchet MS" panose="020B0603020202020204" pitchFamily="34" charset="0"/>
              </a:defRPr>
            </a:lvl1pPr>
          </a:lstStyle>
          <a:p>
            <a:r>
              <a:rPr lang="en-GB"/>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25B81751-211A-4A75-A716-82FADBFB4D99}"/>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D553F08-9DA2-78B4-9D9D-466D96FE9824}"/>
              </a:ext>
            </a:extLst>
          </p:cNvPr>
          <p:cNvGraphicFramePr>
            <a:graphicFrameLocks noChangeAspect="1"/>
          </p:cNvGraphicFramePr>
          <p:nvPr userDrawn="1">
            <p:custDataLst>
              <p:tags r:id="rId1"/>
            </p:custDataLst>
            <p:extLst>
              <p:ext uri="{D42A27DB-BD31-4B8C-83A1-F6EECF244321}">
                <p14:modId xmlns:p14="http://schemas.microsoft.com/office/powerpoint/2010/main" val="658169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4D553F08-9DA2-78B4-9D9D-466D96FE98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lgn="l" rtl="0">
              <a:defRPr sz="4400" b="0">
                <a:solidFill>
                  <a:srgbClr val="FFFFFF"/>
                </a:solidFill>
                <a:latin typeface="+mj-lt"/>
                <a:sym typeface="Trebuchet MS" panose="020B0603020202020204" pitchFamily="34" charset="0"/>
              </a:defRPr>
            </a:lvl1pPr>
          </a:lstStyle>
          <a:p>
            <a:r>
              <a:rPr lang="en-GB"/>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2" name="Picture 11">
            <a:extLst>
              <a:ext uri="{FF2B5EF4-FFF2-40B4-BE49-F238E27FC236}">
                <a16:creationId xmlns:a16="http://schemas.microsoft.com/office/drawing/2014/main" id="{23404D6E-BC3F-4EBF-A93E-775A18A93E04}"/>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7CFC39-1F1A-40CB-8E68-95512B79E373}"/>
              </a:ext>
            </a:extLst>
          </p:cNvPr>
          <p:cNvGraphicFramePr>
            <a:graphicFrameLocks noChangeAspect="1"/>
          </p:cNvGraphicFramePr>
          <p:nvPr userDrawn="1">
            <p:custDataLst>
              <p:tags r:id="rId1"/>
            </p:custDataLst>
            <p:extLst>
              <p:ext uri="{D42A27DB-BD31-4B8C-83A1-F6EECF244321}">
                <p14:modId xmlns:p14="http://schemas.microsoft.com/office/powerpoint/2010/main" val="2709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37CFC39-1F1A-40CB-8E68-95512B79E3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r" rtl="0">
              <a:lnSpc>
                <a:spcPct val="90000"/>
              </a:lnSpc>
              <a:spcBef>
                <a:spcPct val="0"/>
              </a:spcBef>
              <a:spcAft>
                <a:spcPts val="0"/>
              </a:spcAft>
              <a:defRPr sz="3200" b="0" i="0" u="none" kern="1200" spc="0">
                <a:solidFill>
                  <a:srgbClr val="006C67"/>
                </a:solidFill>
                <a:latin typeface="+mj-lt"/>
                <a:sym typeface="Trebuchet MS" panose="020B0603020202020204" pitchFamily="34" charset="0"/>
              </a:defRPr>
            </a:lvl1pPr>
          </a:lstStyle>
          <a:p>
            <a:pPr lvl="0"/>
            <a:r>
              <a:rPr lang="en-GB"/>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CDCBDC4-9C46-405C-81B9-B3314195054C}"/>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36082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p:cNvPicPr>
            <a:picLocks noChangeAspect="1"/>
          </p:cNvPicPr>
          <p:nvPr userDrawn="1"/>
        </p:nvPicPr>
        <p:blipFill rotWithShape="1">
          <a:blip r:embed="rId6" cstate="email">
            <a:extLst>
              <a:ext uri="{28A0092B-C50C-407E-A947-70E740481C1C}">
                <a14:useLocalDpi xmlns:a14="http://schemas.microsoft.com/office/drawing/2010/main"/>
              </a:ext>
            </a:extLst>
          </a:blip>
          <a:srcRect r="1844"/>
          <a:stretch/>
        </p:blipFill>
        <p:spPr>
          <a:xfrm flipH="1">
            <a:off x="0" y="561096"/>
            <a:ext cx="10178295" cy="6234890"/>
          </a:xfrm>
          <a:prstGeom prst="rect">
            <a:avLst/>
          </a:prstGeom>
        </p:spPr>
      </p:pic>
      <p:pic>
        <p:nvPicPr>
          <p:cNvPr id="24" name="Picture 2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sp>
        <p:nvSpPr>
          <p:cNvPr id="11" name="Text Placeholder 7">
            <a:extLst>
              <a:ext uri="{FF2B5EF4-FFF2-40B4-BE49-F238E27FC236}">
                <a16:creationId xmlns:a16="http://schemas.microsoft.com/office/drawing/2014/main" id="{0A93A137-31B0-3883-8A14-E3CBEA8E0334}"/>
              </a:ext>
            </a:extLst>
          </p:cNvPr>
          <p:cNvSpPr>
            <a:spLocks noGrp="1"/>
          </p:cNvSpPr>
          <p:nvPr>
            <p:ph type="body" sz="quarter" idx="12" hasCustomPrompt="1"/>
          </p:nvPr>
        </p:nvSpPr>
        <p:spPr>
          <a:xfrm>
            <a:off x="4180113" y="3461188"/>
            <a:ext cx="7344478" cy="662940"/>
          </a:xfrm>
        </p:spPr>
        <p:txBody>
          <a:bodyPr lIns="0" tIns="0" rIns="0" bIns="0">
            <a:normAutofit/>
          </a:bodyPr>
          <a:lstStyle>
            <a:lvl1pPr marL="0" indent="0" algn="l" rtl="0">
              <a:buNone/>
              <a:defRPr sz="2400">
                <a:solidFill>
                  <a:schemeClr val="tx1"/>
                </a:solidFill>
                <a:latin typeface="Sakkal Majalla" panose="02000000000000000000" pitchFamily="2" charset="-78"/>
                <a:ea typeface="+mn-ea"/>
                <a:cs typeface="Sakkal Majalla" panose="02000000000000000000" pitchFamily="2" charset="-78"/>
                <a:sym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subtitle style</a:t>
            </a:r>
          </a:p>
        </p:txBody>
      </p:sp>
      <p:sp>
        <p:nvSpPr>
          <p:cNvPr id="14" name="Text Placeholder 2">
            <a:extLst>
              <a:ext uri="{FF2B5EF4-FFF2-40B4-BE49-F238E27FC236}">
                <a16:creationId xmlns:a16="http://schemas.microsoft.com/office/drawing/2014/main" id="{923DC715-4F18-9422-9F9F-27DFF316F427}"/>
              </a:ext>
            </a:extLst>
          </p:cNvPr>
          <p:cNvSpPr>
            <a:spLocks noGrp="1"/>
          </p:cNvSpPr>
          <p:nvPr>
            <p:ph type="body" sz="quarter" idx="13" hasCustomPrompt="1"/>
          </p:nvPr>
        </p:nvSpPr>
        <p:spPr>
          <a:xfrm>
            <a:off x="4180113" y="4198448"/>
            <a:ext cx="7344478" cy="251460"/>
          </a:xfrm>
        </p:spPr>
        <p:txBody>
          <a:bodyPr anchor="ctr"/>
          <a:lstStyle>
            <a:lvl1pPr algn="l" rtl="0">
              <a:defRPr sz="1600" cap="all" baseline="0">
                <a:solidFill>
                  <a:srgbClr val="7F7F7F"/>
                </a:solidFill>
                <a:latin typeface="Sakkal Majalla" panose="02000000000000000000" pitchFamily="2" charset="-78"/>
                <a:cs typeface="Sakkal Majalla" panose="02000000000000000000" pitchFamily="2" charset="-78"/>
              </a:defRPr>
            </a:lvl1pPr>
          </a:lstStyle>
          <a:p>
            <a:pPr lvl="0"/>
            <a:r>
              <a:rPr lang="en-GB"/>
              <a:t>Click to edit date/place</a:t>
            </a:r>
          </a:p>
        </p:txBody>
      </p:sp>
      <p:pic>
        <p:nvPicPr>
          <p:cNvPr id="15" name="Picture 14">
            <a:extLst>
              <a:ext uri="{FF2B5EF4-FFF2-40B4-BE49-F238E27FC236}">
                <a16:creationId xmlns:a16="http://schemas.microsoft.com/office/drawing/2014/main" id="{8648D399-DC3E-0700-6FA8-6E7520B4522F}"/>
              </a:ext>
            </a:extLst>
          </p:cNvPr>
          <p:cNvPicPr>
            <a:picLocks noChangeAspect="1"/>
          </p:cNvPicPr>
          <p:nvPr userDrawn="1"/>
        </p:nvPicPr>
        <p:blipFill rotWithShape="1">
          <a:blip r:embed="rId8"/>
          <a:srcRect/>
          <a:stretch/>
        </p:blipFill>
        <p:spPr>
          <a:xfrm flipH="1">
            <a:off x="4390650" y="3343543"/>
            <a:ext cx="7260614" cy="71407"/>
          </a:xfrm>
          <a:prstGeom prst="rect">
            <a:avLst/>
          </a:prstGeom>
        </p:spPr>
      </p:pic>
      <p:pic>
        <p:nvPicPr>
          <p:cNvPr id="18" name="Graphic 17">
            <a:extLst>
              <a:ext uri="{FF2B5EF4-FFF2-40B4-BE49-F238E27FC236}">
                <a16:creationId xmlns:a16="http://schemas.microsoft.com/office/drawing/2014/main" id="{9D49270A-3540-4515-3038-35FDD3B94AE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417634" y="399621"/>
            <a:ext cx="4248151" cy="1246419"/>
          </a:xfrm>
          <a:prstGeom prst="rect">
            <a:avLst/>
          </a:prstGeom>
        </p:spPr>
      </p:pic>
    </p:spTree>
    <p:extLst>
      <p:ext uri="{BB962C8B-B14F-4D97-AF65-F5344CB8AC3E}">
        <p14:creationId xmlns:p14="http://schemas.microsoft.com/office/powerpoint/2010/main" val="722667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75D4FB-6124-43A7-BF41-442B49BAC61C}"/>
              </a:ext>
            </a:extLst>
          </p:cNvPr>
          <p:cNvGraphicFramePr>
            <a:graphicFrameLocks noChangeAspect="1"/>
          </p:cNvGraphicFramePr>
          <p:nvPr userDrawn="1">
            <p:custDataLst>
              <p:tags r:id="rId1"/>
            </p:custDataLst>
            <p:extLst>
              <p:ext uri="{D42A27DB-BD31-4B8C-83A1-F6EECF244321}">
                <p14:modId xmlns:p14="http://schemas.microsoft.com/office/powerpoint/2010/main" val="2992413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8475D4FB-6124-43A7-BF41-442B49BAC6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r" rtl="0">
              <a:lnSpc>
                <a:spcPct val="90000"/>
              </a:lnSpc>
              <a:spcBef>
                <a:spcPct val="0"/>
              </a:spcBef>
              <a:spcAft>
                <a:spcPts val="0"/>
              </a:spcAft>
              <a:defRPr sz="3200" b="0" i="0" u="none" kern="1200" spc="0">
                <a:solidFill>
                  <a:srgbClr val="FFFFFF"/>
                </a:solidFill>
                <a:latin typeface="+mj-lt"/>
                <a:sym typeface="Trebuchet MS" panose="020B0603020202020204" pitchFamily="34" charset="0"/>
              </a:defRPr>
            </a:lvl1pPr>
          </a:lstStyle>
          <a:p>
            <a:pPr lvl="0"/>
            <a:r>
              <a:rPr lang="en-GB"/>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a:extLst>
              <a:ext uri="{FF2B5EF4-FFF2-40B4-BE49-F238E27FC236}">
                <a16:creationId xmlns:a16="http://schemas.microsoft.com/office/drawing/2014/main" id="{5592425A-556C-4077-B191-B6F92D39BBE9}"/>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9B8016-6623-4592-9F10-5E490D5A7192}"/>
              </a:ext>
            </a:extLst>
          </p:cNvPr>
          <p:cNvGraphicFramePr>
            <a:graphicFrameLocks noChangeAspect="1"/>
          </p:cNvGraphicFramePr>
          <p:nvPr userDrawn="1">
            <p:custDataLst>
              <p:tags r:id="rId1"/>
            </p:custDataLst>
            <p:extLst>
              <p:ext uri="{D42A27DB-BD31-4B8C-83A1-F6EECF244321}">
                <p14:modId xmlns:p14="http://schemas.microsoft.com/office/powerpoint/2010/main" val="2905349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EF9B8016-6623-4592-9F10-5E490D5A71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r" rtl="0">
              <a:lnSpc>
                <a:spcPct val="90000"/>
              </a:lnSpc>
              <a:spcBef>
                <a:spcPct val="0"/>
              </a:spcBef>
              <a:spcAft>
                <a:spcPts val="0"/>
              </a:spcAft>
              <a:defRPr sz="3200" b="0" i="0" u="none" kern="1200" spc="0">
                <a:solidFill>
                  <a:srgbClr val="006C67"/>
                </a:solidFill>
                <a:latin typeface="+mj-lt"/>
                <a:sym typeface="Trebuchet MS" panose="020B0603020202020204" pitchFamily="34" charset="0"/>
              </a:defRPr>
            </a:lvl1pPr>
          </a:lstStyle>
          <a:p>
            <a:pPr lvl="0"/>
            <a:r>
              <a:rPr lang="en-GB"/>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A84957A-33AC-472A-9907-A3D837750B63}"/>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5A3B72-6420-4577-9C1A-B5C88F6FD5EB}"/>
              </a:ext>
            </a:extLst>
          </p:cNvPr>
          <p:cNvGraphicFramePr>
            <a:graphicFrameLocks noChangeAspect="1"/>
          </p:cNvGraphicFramePr>
          <p:nvPr userDrawn="1">
            <p:custDataLst>
              <p:tags r:id="rId1"/>
            </p:custDataLst>
            <p:extLst>
              <p:ext uri="{D42A27DB-BD31-4B8C-83A1-F6EECF244321}">
                <p14:modId xmlns:p14="http://schemas.microsoft.com/office/powerpoint/2010/main" val="1529541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3" name="Object 2" hidden="1">
                        <a:extLst>
                          <a:ext uri="{FF2B5EF4-FFF2-40B4-BE49-F238E27FC236}">
                            <a16:creationId xmlns:a16="http://schemas.microsoft.com/office/drawing/2014/main" id="{3A5A3B72-6420-4577-9C1A-B5C88F6FD5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C67"/>
              </a:gs>
              <a:gs pos="100000">
                <a:srgbClr val="004C48"/>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r" rtl="0">
              <a:lnSpc>
                <a:spcPct val="90000"/>
              </a:lnSpc>
              <a:spcBef>
                <a:spcPct val="0"/>
              </a:spcBef>
              <a:spcAft>
                <a:spcPts val="0"/>
              </a:spcAft>
              <a:defRPr sz="3200" b="0" i="0" u="none" kern="1200" spc="0">
                <a:solidFill>
                  <a:srgbClr val="FFFFFF"/>
                </a:solidFill>
                <a:latin typeface="+mj-lt"/>
                <a:sym typeface="Trebuchet MS" panose="020B0603020202020204" pitchFamily="34" charset="0"/>
              </a:defRPr>
            </a:lvl1pPr>
          </a:lstStyle>
          <a:p>
            <a:pPr lvl="0"/>
            <a:r>
              <a:rPr lang="en-GB"/>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Picture 12">
            <a:extLst>
              <a:ext uri="{FF2B5EF4-FFF2-40B4-BE49-F238E27FC236}">
                <a16:creationId xmlns:a16="http://schemas.microsoft.com/office/drawing/2014/main" id="{BDFE96BB-511E-43C8-9F73-3DA5083D5C39}"/>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BF7511F-B383-FBA9-342C-CAC049742AA4}"/>
              </a:ext>
            </a:extLst>
          </p:cNvPr>
          <p:cNvGraphicFramePr>
            <a:graphicFrameLocks noChangeAspect="1"/>
          </p:cNvGraphicFramePr>
          <p:nvPr userDrawn="1">
            <p:custDataLst>
              <p:tags r:id="rId1"/>
            </p:custDataLst>
            <p:extLst>
              <p:ext uri="{D42A27DB-BD31-4B8C-83A1-F6EECF244321}">
                <p14:modId xmlns:p14="http://schemas.microsoft.com/office/powerpoint/2010/main" val="1777466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BF7511F-B383-FBA9-342C-CAC049742A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pic>
        <p:nvPicPr>
          <p:cNvPr id="10" name="Picture 9">
            <a:extLst>
              <a:ext uri="{FF2B5EF4-FFF2-40B4-BE49-F238E27FC236}">
                <a16:creationId xmlns:a16="http://schemas.microsoft.com/office/drawing/2014/main" id="{FA018EBE-CE8A-4700-BDFA-59B70B34E4D8}"/>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73B5F1-2B0C-D2B0-BA8E-22C537911A54}"/>
              </a:ext>
            </a:extLst>
          </p:cNvPr>
          <p:cNvGraphicFramePr>
            <a:graphicFrameLocks noChangeAspect="1"/>
          </p:cNvGraphicFramePr>
          <p:nvPr userDrawn="1">
            <p:custDataLst>
              <p:tags r:id="rId1"/>
            </p:custDataLst>
            <p:extLst>
              <p:ext uri="{D42A27DB-BD31-4B8C-83A1-F6EECF244321}">
                <p14:modId xmlns:p14="http://schemas.microsoft.com/office/powerpoint/2010/main" val="366151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F473B5F1-2B0C-D2B0-BA8E-22C53791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6" name="Rectangle 5"/>
          <p:cNvSpPr/>
          <p:nvPr userDrawn="1"/>
        </p:nvSpPr>
        <p:spPr bwMode="white">
          <a:xfrm>
            <a:off x="630000" y="625475"/>
            <a:ext cx="932688" cy="932688"/>
          </a:xfrm>
          <a:prstGeom prst="rect">
            <a:avLst/>
          </a:prstGeom>
          <a:noFill/>
          <a:ln>
            <a:solidFill>
              <a:srgbClr val="009A9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9A93"/>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3A3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9001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6C67"/>
          </a:solidFill>
          <a:ln>
            <a:noFill/>
          </a:ln>
          <a:effectLst/>
        </p:spPr>
        <p:txBody>
          <a:bodyPr vert="horz" wrap="square" lIns="91440" tIns="45720" rIns="91440" bIns="45720" numCol="1" anchor="t" anchorCtr="0" compatLnSpc="1">
            <a:prstTxWarp prst="textNoShape">
              <a:avLst/>
            </a:prstTxWarp>
            <a:noAutofit/>
          </a:bodyPr>
          <a:lstStyle/>
          <a:p>
            <a:pPr rtl="0"/>
            <a:endParaRPr lang="en-GB">
              <a:latin typeface="+mn-lt"/>
              <a:sym typeface="Trebuchet MS" panose="020B0603020202020204" pitchFamily="34" charset="0"/>
            </a:endParaRPr>
          </a:p>
        </p:txBody>
      </p:sp>
      <p:pic>
        <p:nvPicPr>
          <p:cNvPr id="9" name="Picture 8">
            <a:extLst>
              <a:ext uri="{FF2B5EF4-FFF2-40B4-BE49-F238E27FC236}">
                <a16:creationId xmlns:a16="http://schemas.microsoft.com/office/drawing/2014/main" id="{5E94D188-FB92-4A18-BBF4-451A4FB7822A}"/>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4F32A67-6656-4CAE-9EC3-AD08DD524CEE}"/>
              </a:ext>
            </a:extLst>
          </p:cNvPr>
          <p:cNvGraphicFramePr>
            <a:graphicFrameLocks noChangeAspect="1"/>
          </p:cNvGraphicFramePr>
          <p:nvPr userDrawn="1">
            <p:custDataLst>
              <p:tags r:id="rId1"/>
            </p:custDataLst>
            <p:extLst>
              <p:ext uri="{D42A27DB-BD31-4B8C-83A1-F6EECF244321}">
                <p14:modId xmlns:p14="http://schemas.microsoft.com/office/powerpoint/2010/main" val="232640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6" name="Object 5" hidden="1">
                        <a:extLst>
                          <a:ext uri="{FF2B5EF4-FFF2-40B4-BE49-F238E27FC236}">
                            <a16:creationId xmlns:a16="http://schemas.microsoft.com/office/drawing/2014/main" id="{C4F32A67-6656-4CAE-9EC3-AD08DD524C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4" name="Title 3"/>
          <p:cNvSpPr>
            <a:spLocks noGrp="1"/>
          </p:cNvSpPr>
          <p:nvPr>
            <p:ph type="title" hasCustomPrompt="1"/>
          </p:nvPr>
        </p:nvSpPr>
        <p:spPr>
          <a:xfrm>
            <a:off x="630000" y="622800"/>
            <a:ext cx="10933200" cy="443198"/>
          </a:xfrm>
        </p:spPr>
        <p:txBody>
          <a:bodyPr vert="horz"/>
          <a:lstStyle>
            <a:lvl1pPr algn="l" rtl="0">
              <a:defRPr sz="3200">
                <a:solidFill>
                  <a:schemeClr val="bg1"/>
                </a:solidFill>
                <a:latin typeface="+mj-lt"/>
                <a:sym typeface="Trebuchet MS" panose="020B0603020202020204" pitchFamily="34" charset="0"/>
              </a:defRPr>
            </a:lvl1pPr>
          </a:lstStyle>
          <a:p>
            <a:r>
              <a:rPr lang="en-GB"/>
              <a:t>Click to add title</a:t>
            </a:r>
          </a:p>
        </p:txBody>
      </p:sp>
      <p:pic>
        <p:nvPicPr>
          <p:cNvPr id="8" name="Picture 7">
            <a:extLst>
              <a:ext uri="{FF2B5EF4-FFF2-40B4-BE49-F238E27FC236}">
                <a16:creationId xmlns:a16="http://schemas.microsoft.com/office/drawing/2014/main" id="{C4608FE9-1DEE-4270-83F6-942D2EBB1240}"/>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11FE07-B126-0F0D-E7D5-64BC6A4498D9}"/>
              </a:ext>
            </a:extLst>
          </p:cNvPr>
          <p:cNvGraphicFramePr>
            <a:graphicFrameLocks noChangeAspect="1"/>
          </p:cNvGraphicFramePr>
          <p:nvPr userDrawn="1">
            <p:custDataLst>
              <p:tags r:id="rId1"/>
            </p:custDataLst>
            <p:extLst>
              <p:ext uri="{D42A27DB-BD31-4B8C-83A1-F6EECF244321}">
                <p14:modId xmlns:p14="http://schemas.microsoft.com/office/powerpoint/2010/main" val="25193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2111FE07-B126-0F0D-E7D5-64BC6A4498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9A4F9E-B626-F65D-2E33-2553530EAAB3}"/>
              </a:ext>
            </a:extLst>
          </p:cNvPr>
          <p:cNvGraphicFramePr>
            <a:graphicFrameLocks noChangeAspect="1"/>
          </p:cNvGraphicFramePr>
          <p:nvPr userDrawn="1">
            <p:custDataLst>
              <p:tags r:id="rId1"/>
            </p:custDataLst>
            <p:extLst>
              <p:ext uri="{D42A27DB-BD31-4B8C-83A1-F6EECF244321}">
                <p14:modId xmlns:p14="http://schemas.microsoft.com/office/powerpoint/2010/main" val="1268903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B89A4F9E-B626-F65D-2E33-2553530EAA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pic>
        <p:nvPicPr>
          <p:cNvPr id="8" name="Picture 7">
            <a:extLst>
              <a:ext uri="{FF2B5EF4-FFF2-40B4-BE49-F238E27FC236}">
                <a16:creationId xmlns:a16="http://schemas.microsoft.com/office/drawing/2014/main" id="{EBDC772E-A6E2-42EE-B83E-3F96C1D13600}"/>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F7338E8-BEF8-198A-DEA5-C2F326508CCE}"/>
              </a:ext>
            </a:extLst>
          </p:cNvPr>
          <p:cNvGraphicFramePr>
            <a:graphicFrameLocks noChangeAspect="1"/>
          </p:cNvGraphicFramePr>
          <p:nvPr userDrawn="1">
            <p:custDataLst>
              <p:tags r:id="rId1"/>
            </p:custDataLst>
            <p:extLst>
              <p:ext uri="{D42A27DB-BD31-4B8C-83A1-F6EECF244321}">
                <p14:modId xmlns:p14="http://schemas.microsoft.com/office/powerpoint/2010/main" val="3461584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F7338E8-BEF8-198A-DEA5-C2F326508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5" name="Title 6">
            <a:extLst>
              <a:ext uri="{FF2B5EF4-FFF2-40B4-BE49-F238E27FC236}">
                <a16:creationId xmlns:a16="http://schemas.microsoft.com/office/drawing/2014/main" id="{FC99A697-D4DB-4CE9-974A-3E9A1227C196}"/>
              </a:ext>
            </a:extLst>
          </p:cNvPr>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GB" sz="5100">
                <a:gradFill>
                  <a:gsLst>
                    <a:gs pos="100000">
                      <a:schemeClr val="tx2"/>
                    </a:gs>
                    <a:gs pos="2000">
                      <a:schemeClr val="accent2"/>
                    </a:gs>
                  </a:gsLst>
                  <a:lin ang="2700000" scaled="0"/>
                </a:gradFill>
                <a:latin typeface="+mn-lt"/>
                <a:sym typeface="Trebuchet MS" panose="020B0603020202020204" pitchFamily="34" charset="0"/>
              </a:rPr>
              <a:t>Disclaimer</a:t>
            </a:r>
          </a:p>
        </p:txBody>
      </p:sp>
      <p:sp>
        <p:nvSpPr>
          <p:cNvPr id="6" name="Rectangle 5">
            <a:extLst>
              <a:ext uri="{FF2B5EF4-FFF2-40B4-BE49-F238E27FC236}">
                <a16:creationId xmlns:a16="http://schemas.microsoft.com/office/drawing/2014/main" id="{1898B8EE-3056-49FA-B9F1-E27E793040F8}"/>
              </a:ext>
            </a:extLst>
          </p:cNvPr>
          <p:cNvSpPr/>
          <p:nvPr userDrawn="1"/>
        </p:nvSpPr>
        <p:spPr>
          <a:xfrm>
            <a:off x="5021826" y="1387258"/>
            <a:ext cx="6209072" cy="3877985"/>
          </a:xfrm>
          <a:prstGeom prst="rect">
            <a:avLst/>
          </a:prstGeom>
        </p:spPr>
        <p:txBody>
          <a:bodyPr wrap="square" lIns="0" tIns="0" rIns="0" bIns="0" anchor="ctr">
            <a:spAutoFit/>
          </a:bodyPr>
          <a:lstStyle/>
          <a:p>
            <a:pPr indent="0" rtl="0">
              <a:lnSpc>
                <a:spcPct val="100000"/>
              </a:lnSpc>
            </a:pPr>
            <a:r>
              <a:rPr lang="en-GB" sz="900" b="0">
                <a:latin typeface="+mn-lt"/>
                <a:sym typeface="Trebuchet MS" panose="020B0603020202020204" pitchFamily="34" charset="0"/>
              </a:rPr>
              <a:t>Disclaimer &amp; Non-reliance </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services and materials provided by the issuer of the report are subject to the issuer of the report's Standard Terms and Conditions (a copy of which is available upon request) or such other agreement as may have been previously executed by the issuer of the report.  The issuer of the report does not provide legal, accounting, or tax advice.  Client is responsible for obtaining independent advice concerning these matters, which advice may affect the guidance given by the issuer of the report.  Further, the issuer of the report has made no undertaking to update these materials after the date hereof notwithstanding that such information may become outdated or inaccurate.</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material contained in this presentation are designed for the sole use by the Board of Directors or senior management of the Client and solely for the limited purposes described in the proposal.  The materials shall not be copied, disclosed or given to any person or entity other than the Client (“Third-Parties”) without the prior written consent being provided.  These materials serve only as the focus for discussion and are incomplete without the accompanying oral commentary and may not be relied on as a stand-alone document.  Further, Third-Parties may not, and it is unreasonable for any Third-Party to, rely on these materials for any purpose whatsoever.  To the fullest extent permitted by law (and except to the extent otherwise agreed in a signed writing the issuer of this report), issuer of this report shall have no liability whatsoever to any Third-Party, and any Third-Party hereby waives any rights and claims it may, have at any time against the issuer of this report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issuer of this report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the issuer of the report. Issuer of the report has used public and/or confidential data and assumptions provided to it by the Client which the issuer of the report has not independently verified the data and assumptions used in these analyses. Changes in the underlying data or operating assumptions will clearly impact the analyses and conclusions.</a:t>
            </a:r>
          </a:p>
        </p:txBody>
      </p:sp>
      <p:cxnSp>
        <p:nvCxnSpPr>
          <p:cNvPr id="7" name="Straight Connector 6">
            <a:extLst>
              <a:ext uri="{FF2B5EF4-FFF2-40B4-BE49-F238E27FC236}">
                <a16:creationId xmlns:a16="http://schemas.microsoft.com/office/drawing/2014/main" id="{E94E7F9E-A661-4CD0-8175-DC2FB22F7461}"/>
              </a:ext>
            </a:extLst>
          </p:cNvPr>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130282-3E3A-4C35-A11C-2D6C365A53EB}"/>
              </a:ext>
            </a:extLst>
          </p:cNvPr>
          <p:cNvGraphicFramePr>
            <a:graphicFrameLocks noChangeAspect="1"/>
          </p:cNvGraphicFramePr>
          <p:nvPr userDrawn="1">
            <p:custDataLst>
              <p:tags r:id="rId1"/>
            </p:custDataLst>
            <p:extLst>
              <p:ext uri="{D42A27DB-BD31-4B8C-83A1-F6EECF244321}">
                <p14:modId xmlns:p14="http://schemas.microsoft.com/office/powerpoint/2010/main" val="2469128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15130282-3E3A-4C35-A11C-2D6C365A53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200" b="0" i="0" u="none" kern="1200" spc="0">
                <a:solidFill>
                  <a:srgbClr val="006C67"/>
                </a:solidFill>
                <a:latin typeface="+mj-lt"/>
                <a:sym typeface="Trebuchet MS" panose="020B0603020202020204" pitchFamily="34" charset="0"/>
              </a:defRPr>
            </a:lvl1pPr>
          </a:lstStyle>
          <a:p>
            <a:pPr lvl="0"/>
            <a:r>
              <a:rPr lang="en-GB"/>
              <a:t>Click to add title</a:t>
            </a:r>
          </a:p>
        </p:txBody>
      </p:sp>
      <p:pic>
        <p:nvPicPr>
          <p:cNvPr id="2" name="PP Templet-09.jpg" descr="PP Templet-09.jpg">
            <a:extLst>
              <a:ext uri="{FF2B5EF4-FFF2-40B4-BE49-F238E27FC236}">
                <a16:creationId xmlns:a16="http://schemas.microsoft.com/office/drawing/2014/main" id="{CC628583-DFBA-A6D1-FC9C-0C0F4A454C64}"/>
              </a:ext>
            </a:extLst>
          </p:cNvPr>
          <p:cNvPicPr>
            <a:picLocks noChangeAspect="1"/>
          </p:cNvPicPr>
          <p:nvPr userDrawn="1"/>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164686" y="652176"/>
            <a:ext cx="335360" cy="6148270"/>
          </a:xfrm>
          <a:prstGeom prst="rect">
            <a:avLst/>
          </a:prstGeom>
          <a:ln w="12700">
            <a:miter lim="400000"/>
          </a:ln>
        </p:spPr>
      </p:pic>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188580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sp>
        <p:nvSpPr>
          <p:cNvPr id="3" name="Rectangle 2"/>
          <p:cNvSpPr/>
          <p:nvPr userDrawn="1"/>
        </p:nvSpPr>
        <p:spPr>
          <a:xfrm>
            <a:off x="667408" y="1659004"/>
            <a:ext cx="7344478" cy="16383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6C67"/>
                </a:solidFill>
              </a14:hiddenFill>
            </a:ext>
            <a:ext uri="{91240B29-F687-4F45-9708-019B960494DF}">
              <a14:hiddenLine xmlns:a14="http://schemas.microsoft.com/office/drawing/2010/main" w="9525" cap="rnd" cmpd="sng" algn="ctr">
                <a:solidFill>
                  <a:srgbClr val="006C6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l" defTabSz="914400" rtl="0" eaLnBrk="1" latinLnBrk="0" hangingPunct="1">
              <a:lnSpc>
                <a:spcPct val="90000"/>
              </a:lnSpc>
              <a:spcBef>
                <a:spcPct val="0"/>
              </a:spcBef>
              <a:buNone/>
            </a:pPr>
            <a:r>
              <a:rPr lang="en-GB" sz="5400" b="1" kern="1200" err="1">
                <a:solidFill>
                  <a:srgbClr val="006C67"/>
                </a:solidFill>
                <a:latin typeface="Sakkal Majalla" panose="02000000000000000000" pitchFamily="2" charset="-78"/>
                <a:ea typeface="+mj-ea"/>
                <a:cs typeface="Sakkal Majalla" panose="02000000000000000000" pitchFamily="2" charset="-78"/>
                <a:sym typeface="+mj-lt"/>
              </a:rPr>
              <a:t>شكرًا</a:t>
            </a:r>
            <a:r>
              <a:rPr lang="en-GB" sz="5400" b="1" kern="1200">
                <a:solidFill>
                  <a:srgbClr val="006C67"/>
                </a:solidFill>
                <a:latin typeface="Sakkal Majalla" panose="02000000000000000000" pitchFamily="2" charset="-78"/>
                <a:ea typeface="+mj-ea"/>
                <a:cs typeface="Sakkal Majalla" panose="02000000000000000000" pitchFamily="2" charset="-78"/>
                <a:sym typeface="+mj-lt"/>
              </a:rPr>
              <a:t> </a:t>
            </a:r>
            <a:r>
              <a:rPr lang="en-GB" sz="5400" b="1" kern="1200" err="1">
                <a:solidFill>
                  <a:srgbClr val="006C67"/>
                </a:solidFill>
                <a:latin typeface="Sakkal Majalla" panose="02000000000000000000" pitchFamily="2" charset="-78"/>
                <a:ea typeface="+mj-ea"/>
                <a:cs typeface="Sakkal Majalla" panose="02000000000000000000" pitchFamily="2" charset="-78"/>
                <a:sym typeface="+mj-lt"/>
              </a:rPr>
              <a:t>لكم</a:t>
            </a:r>
            <a:endParaRPr lang="en-GB" sz="5400" b="1" kern="1200">
              <a:solidFill>
                <a:srgbClr val="006C67"/>
              </a:solidFill>
              <a:latin typeface="Sakkal Majalla" panose="02000000000000000000" pitchFamily="2" charset="-78"/>
              <a:ea typeface="+mj-ea"/>
              <a:cs typeface="Sakkal Majalla" panose="02000000000000000000" pitchFamily="2" charset="-78"/>
              <a:sym typeface="+mj-lt"/>
            </a:endParaRPr>
          </a:p>
        </p:txBody>
      </p:sp>
      <p:pic>
        <p:nvPicPr>
          <p:cNvPr id="14" name="Picture 13"/>
          <p:cNvPicPr>
            <a:picLocks noChangeAspect="1"/>
          </p:cNvPicPr>
          <p:nvPr userDrawn="1"/>
        </p:nvPicPr>
        <p:blipFill rotWithShape="1">
          <a:blip r:embed="rId6"/>
          <a:srcRect/>
          <a:stretch/>
        </p:blipFill>
        <p:spPr>
          <a:xfrm>
            <a:off x="562633" y="3343543"/>
            <a:ext cx="7260614" cy="71407"/>
          </a:xfrm>
          <a:prstGeom prst="rect">
            <a:avLst/>
          </a:prstGeom>
        </p:spPr>
      </p:pic>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17" name="Picture 16"/>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9" name="Graphic 8">
            <a:extLst>
              <a:ext uri="{FF2B5EF4-FFF2-40B4-BE49-F238E27FC236}">
                <a16:creationId xmlns:a16="http://schemas.microsoft.com/office/drawing/2014/main" id="{0875E17A-EBA8-45DB-B0D7-60C4290199C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41015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pic>
        <p:nvPicPr>
          <p:cNvPr id="14" name="Picture 13"/>
          <p:cNvPicPr>
            <a:picLocks noChangeAspect="1"/>
          </p:cNvPicPr>
          <p:nvPr userDrawn="1"/>
        </p:nvPicPr>
        <p:blipFill rotWithShape="1">
          <a:blip r:embed="rId6"/>
          <a:srcRect/>
          <a:stretch/>
        </p:blipFill>
        <p:spPr>
          <a:xfrm>
            <a:off x="562633" y="3343543"/>
            <a:ext cx="7260614" cy="71407"/>
          </a:xfrm>
          <a:prstGeom prst="rect">
            <a:avLst/>
          </a:prstGeom>
        </p:spPr>
      </p:pic>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17" name="Picture 16"/>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9" name="Graphic 8">
            <a:extLst>
              <a:ext uri="{FF2B5EF4-FFF2-40B4-BE49-F238E27FC236}">
                <a16:creationId xmlns:a16="http://schemas.microsoft.com/office/drawing/2014/main" id="{0875E17A-EBA8-45DB-B0D7-60C4290199C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4205265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5B64818-DDA9-A822-FBF7-7DFC6FA4D779}"/>
              </a:ext>
            </a:extLst>
          </p:cNvPr>
          <p:cNvGraphicFramePr>
            <a:graphicFrameLocks noChangeAspect="1"/>
          </p:cNvGraphicFramePr>
          <p:nvPr userDrawn="1">
            <p:custDataLst>
              <p:tags r:id="rId1"/>
            </p:custDataLst>
            <p:extLst>
              <p:ext uri="{D42A27DB-BD31-4B8C-83A1-F6EECF244321}">
                <p14:modId xmlns:p14="http://schemas.microsoft.com/office/powerpoint/2010/main" val="3768368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25B64818-DDA9-A822-FBF7-7DFC6FA4D7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lgn="l" rtl="0">
              <a:defRPr sz="2400">
                <a:solidFill>
                  <a:schemeClr val="bg1"/>
                </a:solidFill>
                <a:latin typeface="+mj-lt"/>
                <a:sym typeface="Trebuchet MS" panose="020B0603020202020204" pitchFamily="34" charset="0"/>
              </a:defRPr>
            </a:lvl1pPr>
          </a:lstStyle>
          <a:p>
            <a:r>
              <a:rPr lang="en-GB"/>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10" name="Picture 9">
            <a:extLst>
              <a:ext uri="{FF2B5EF4-FFF2-40B4-BE49-F238E27FC236}">
                <a16:creationId xmlns:a16="http://schemas.microsoft.com/office/drawing/2014/main" id="{E05A7C20-AA08-4BFA-9709-9EAC1151E602}"/>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A1A7CAB-B980-17E9-52F7-E46215AAA67E}"/>
              </a:ext>
            </a:extLst>
          </p:cNvPr>
          <p:cNvGraphicFramePr>
            <a:graphicFrameLocks noChangeAspect="1"/>
          </p:cNvGraphicFramePr>
          <p:nvPr userDrawn="1">
            <p:custDataLst>
              <p:tags r:id="rId1"/>
            </p:custDataLst>
            <p:extLst>
              <p:ext uri="{D42A27DB-BD31-4B8C-83A1-F6EECF244321}">
                <p14:modId xmlns:p14="http://schemas.microsoft.com/office/powerpoint/2010/main" val="3838050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BA1A7CAB-B980-17E9-52F7-E46215AAA6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lgn="l" rtl="0">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18" name="Picture 17">
            <a:extLst>
              <a:ext uri="{FF2B5EF4-FFF2-40B4-BE49-F238E27FC236}">
                <a16:creationId xmlns:a16="http://schemas.microsoft.com/office/drawing/2014/main" id="{3AA8C9F0-F04D-4944-BA87-3AAE11A470BF}"/>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D55ED67-22A9-6B50-D267-5C2D7A5CBB98}"/>
              </a:ext>
            </a:extLst>
          </p:cNvPr>
          <p:cNvGraphicFramePr>
            <a:graphicFrameLocks noChangeAspect="1"/>
          </p:cNvGraphicFramePr>
          <p:nvPr userDrawn="1">
            <p:custDataLst>
              <p:tags r:id="rId1"/>
            </p:custDataLst>
            <p:extLst>
              <p:ext uri="{D42A27DB-BD31-4B8C-83A1-F6EECF244321}">
                <p14:modId xmlns:p14="http://schemas.microsoft.com/office/powerpoint/2010/main" val="380684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4D55ED67-22A9-6B50-D267-5C2D7A5CB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lgn="l" rtl="0">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0D08559D-B634-4DE1-B3CB-076B1A315F9E}"/>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735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lgn="l" rtl="0">
              <a:defRPr sz="2400">
                <a:solidFill>
                  <a:srgbClr val="006C67"/>
                </a:solidFill>
                <a:latin typeface="+mj-lt"/>
                <a:sym typeface="Trebuchet MS" panose="020B0603020202020204" pitchFamily="34" charset="0"/>
              </a:defRPr>
            </a:lvl1pPr>
          </a:lstStyle>
          <a:p>
            <a:r>
              <a:rPr lang="en-GB">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74B6C4EB-7234-49BE-933E-C47B1D627A51}"/>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46BE12-A474-3895-1145-2D7EF1D4ADA4}"/>
              </a:ext>
            </a:extLst>
          </p:cNvPr>
          <p:cNvGraphicFramePr>
            <a:graphicFrameLocks noChangeAspect="1"/>
          </p:cNvGraphicFramePr>
          <p:nvPr userDrawn="1">
            <p:custDataLst>
              <p:tags r:id="rId1"/>
            </p:custDataLst>
            <p:extLst>
              <p:ext uri="{D42A27DB-BD31-4B8C-83A1-F6EECF244321}">
                <p14:modId xmlns:p14="http://schemas.microsoft.com/office/powerpoint/2010/main" val="44584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346BE12-A474-3895-1145-2D7EF1D4AD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lgn="l" rtl="0">
              <a:defRPr>
                <a:solidFill>
                  <a:srgbClr val="FFFFFF"/>
                </a:solidFill>
                <a:latin typeface="+mj-lt"/>
              </a:defRPr>
            </a:lvl1pPr>
          </a:lstStyle>
          <a:p>
            <a:r>
              <a:rPr lang="en-GB"/>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a:extLst>
              <a:ext uri="{FF2B5EF4-FFF2-40B4-BE49-F238E27FC236}">
                <a16:creationId xmlns:a16="http://schemas.microsoft.com/office/drawing/2014/main" id="{2D1FD59A-4685-48EA-99FE-D5D1F4A0DD97}"/>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39371C-EFD2-EE77-1A0B-98195A0B7689}"/>
              </a:ext>
            </a:extLst>
          </p:cNvPr>
          <p:cNvGraphicFramePr>
            <a:graphicFrameLocks noChangeAspect="1"/>
          </p:cNvGraphicFramePr>
          <p:nvPr userDrawn="1">
            <p:custDataLst>
              <p:tags r:id="rId1"/>
            </p:custDataLst>
            <p:extLst>
              <p:ext uri="{D42A27DB-BD31-4B8C-83A1-F6EECF244321}">
                <p14:modId xmlns:p14="http://schemas.microsoft.com/office/powerpoint/2010/main" val="2274019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CF39371C-EFD2-EE77-1A0B-98195A0B76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lgn="l" rtl="0">
              <a:defRPr sz="4400" b="0">
                <a:solidFill>
                  <a:srgbClr val="006C67"/>
                </a:solidFill>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45C878E9-1B5E-4086-BF6E-E63942A82EEA}"/>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DD7CFC0-418C-F8F6-C814-9F7407DF3A7F}"/>
              </a:ext>
            </a:extLst>
          </p:cNvPr>
          <p:cNvGraphicFramePr>
            <a:graphicFrameLocks noChangeAspect="1"/>
          </p:cNvGraphicFramePr>
          <p:nvPr userDrawn="1">
            <p:custDataLst>
              <p:tags r:id="rId1"/>
            </p:custDataLst>
            <p:extLst>
              <p:ext uri="{D42A27DB-BD31-4B8C-83A1-F6EECF244321}">
                <p14:modId xmlns:p14="http://schemas.microsoft.com/office/powerpoint/2010/main" val="3056062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BDD7CFC0-418C-F8F6-C814-9F7407DF3A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lgn="l" rtl="0">
              <a:defRPr sz="4400" b="0">
                <a:solidFill>
                  <a:srgbClr val="FFFFFF"/>
                </a:solidFill>
                <a:latin typeface="+mj-lt"/>
                <a:sym typeface="Trebuchet MS" panose="020B0603020202020204" pitchFamily="34" charset="0"/>
              </a:defRPr>
            </a:lvl1pPr>
          </a:lstStyle>
          <a:p>
            <a:r>
              <a:rPr lang="en-GB"/>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a:extLst>
              <a:ext uri="{FF2B5EF4-FFF2-40B4-BE49-F238E27FC236}">
                <a16:creationId xmlns:a16="http://schemas.microsoft.com/office/drawing/2014/main" id="{F15C7EC3-FAF7-423A-85C5-6C704DBD2D83}"/>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756B48-8C4B-57C9-1881-5F3EB45C4CE2}"/>
              </a:ext>
            </a:extLst>
          </p:cNvPr>
          <p:cNvGraphicFramePr>
            <a:graphicFrameLocks noChangeAspect="1"/>
          </p:cNvGraphicFramePr>
          <p:nvPr userDrawn="1">
            <p:custDataLst>
              <p:tags r:id="rId1"/>
            </p:custDataLst>
            <p:extLst>
              <p:ext uri="{D42A27DB-BD31-4B8C-83A1-F6EECF244321}">
                <p14:modId xmlns:p14="http://schemas.microsoft.com/office/powerpoint/2010/main" val="305519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9B756B48-8C4B-57C9-1881-5F3EB45C4C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lgn="l" rtl="0">
              <a:defRPr>
                <a:solidFill>
                  <a:srgbClr val="006C67"/>
                </a:solidFill>
                <a:latin typeface="+mj-lt"/>
                <a:sym typeface="Trebuchet MS" panose="020B0603020202020204" pitchFamily="34" charset="0"/>
              </a:defRPr>
            </a:lvl1pPr>
          </a:lstStyle>
          <a:p>
            <a:r>
              <a:rPr lang="en-GB"/>
              <a:t>Click to add title</a:t>
            </a: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558C5587-AA67-4CE8-ADFC-650D492A0DFF}"/>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130282-3E3A-4C35-A11C-2D6C365A53EB}"/>
              </a:ext>
            </a:extLst>
          </p:cNvPr>
          <p:cNvGraphicFramePr>
            <a:graphicFrameLocks noChangeAspect="1"/>
          </p:cNvGraphicFramePr>
          <p:nvPr userDrawn="1">
            <p:custDataLst>
              <p:tags r:id="rId1"/>
            </p:custDataLst>
            <p:extLst>
              <p:ext uri="{D42A27DB-BD31-4B8C-83A1-F6EECF244321}">
                <p14:modId xmlns:p14="http://schemas.microsoft.com/office/powerpoint/2010/main" val="215617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15130282-3E3A-4C35-A11C-2D6C365A53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200" b="0" i="0" u="none" kern="1200" spc="0">
                <a:solidFill>
                  <a:srgbClr val="006C67"/>
                </a:solidFill>
                <a:latin typeface="+mj-lt"/>
                <a:sym typeface="Trebuchet MS" panose="020B0603020202020204" pitchFamily="34" charset="0"/>
              </a:defRPr>
            </a:lvl1pPr>
          </a:lstStyle>
          <a:p>
            <a:pPr lvl="0"/>
            <a:r>
              <a:rPr lang="en-GB"/>
              <a:t>Click to add title</a:t>
            </a:r>
          </a:p>
        </p:txBody>
      </p:sp>
      <p:pic>
        <p:nvPicPr>
          <p:cNvPr id="2" name="PP Templet-09.jpg" descr="PP Templet-09.jpg">
            <a:extLst>
              <a:ext uri="{FF2B5EF4-FFF2-40B4-BE49-F238E27FC236}">
                <a16:creationId xmlns:a16="http://schemas.microsoft.com/office/drawing/2014/main" id="{CC628583-DFBA-A6D1-FC9C-0C0F4A454C64}"/>
              </a:ext>
            </a:extLst>
          </p:cNvPr>
          <p:cNvPicPr>
            <a:picLocks noChangeAspect="1"/>
          </p:cNvPicPr>
          <p:nvPr userDrawn="1"/>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164686" y="652176"/>
            <a:ext cx="335360" cy="6148270"/>
          </a:xfrm>
          <a:prstGeom prst="rect">
            <a:avLst/>
          </a:prstGeom>
          <a:ln w="12700">
            <a:miter lim="400000"/>
          </a:ln>
        </p:spPr>
      </p:pic>
      <p:pic>
        <p:nvPicPr>
          <p:cNvPr id="3" name="Picture 2">
            <a:extLst>
              <a:ext uri="{FF2B5EF4-FFF2-40B4-BE49-F238E27FC236}">
                <a16:creationId xmlns:a16="http://schemas.microsoft.com/office/drawing/2014/main" id="{1CBA449F-31F4-2FD7-946D-9B3E159190B5}"/>
              </a:ext>
            </a:extLst>
          </p:cNvPr>
          <p:cNvPicPr>
            <a:picLocks noChangeAspect="1"/>
          </p:cNvPicPr>
          <p:nvPr userDrawn="1"/>
        </p:nvPicPr>
        <p:blipFill>
          <a:blip r:embed="rId6"/>
          <a:stretch>
            <a:fillRect/>
          </a:stretch>
        </p:blipFill>
        <p:spPr>
          <a:xfrm>
            <a:off x="-3847599" y="2495634"/>
            <a:ext cx="3524250" cy="2695575"/>
          </a:xfrm>
          <a:prstGeom prst="rect">
            <a:avLst/>
          </a:prstGeom>
        </p:spPr>
      </p:pic>
    </p:spTree>
    <p:extLst>
      <p:ext uri="{BB962C8B-B14F-4D97-AF65-F5344CB8AC3E}">
        <p14:creationId xmlns:p14="http://schemas.microsoft.com/office/powerpoint/2010/main" val="1085146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84D76A0-0BB6-5660-FA1F-FFC48A52B07C}"/>
              </a:ext>
            </a:extLst>
          </p:cNvPr>
          <p:cNvGraphicFramePr>
            <a:graphicFrameLocks noChangeAspect="1"/>
          </p:cNvGraphicFramePr>
          <p:nvPr userDrawn="1">
            <p:custDataLst>
              <p:tags r:id="rId1"/>
            </p:custDataLst>
            <p:extLst>
              <p:ext uri="{D42A27DB-BD31-4B8C-83A1-F6EECF244321}">
                <p14:modId xmlns:p14="http://schemas.microsoft.com/office/powerpoint/2010/main" val="3624934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784D76A0-0BB6-5660-FA1F-FFC48A52B0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lgn="l" rtl="0">
              <a:defRPr>
                <a:solidFill>
                  <a:srgbClr val="FFFFFF"/>
                </a:solidFill>
                <a:latin typeface="+mj-lt"/>
                <a:sym typeface="Trebuchet MS" panose="020B0603020202020204" pitchFamily="34" charset="0"/>
              </a:defRPr>
            </a:lvl1pPr>
          </a:lstStyle>
          <a:p>
            <a:r>
              <a:rPr lang="en-GB"/>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3" name="Picture 12">
            <a:extLst>
              <a:ext uri="{FF2B5EF4-FFF2-40B4-BE49-F238E27FC236}">
                <a16:creationId xmlns:a16="http://schemas.microsoft.com/office/drawing/2014/main" id="{41E1C2F9-3E4F-4853-B467-2BDA5842956F}"/>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920FB9-AC78-053D-D67E-D566B58A04DA}"/>
              </a:ext>
            </a:extLst>
          </p:cNvPr>
          <p:cNvGraphicFramePr>
            <a:graphicFrameLocks noChangeAspect="1"/>
          </p:cNvGraphicFramePr>
          <p:nvPr userDrawn="1">
            <p:custDataLst>
              <p:tags r:id="rId1"/>
            </p:custDataLst>
            <p:extLst>
              <p:ext uri="{D42A27DB-BD31-4B8C-83A1-F6EECF244321}">
                <p14:modId xmlns:p14="http://schemas.microsoft.com/office/powerpoint/2010/main" val="370552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F5920FB9-AC78-053D-D67E-D566B58A04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lgn="l" rtl="0">
              <a:defRPr>
                <a:solidFill>
                  <a:srgbClr val="006C67"/>
                </a:solidFill>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067780EB-A7EC-44AE-9321-8DA349D3E2C5}"/>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11B8239-9DFD-491A-644D-D4E4A767B6B5}"/>
              </a:ext>
            </a:extLst>
          </p:cNvPr>
          <p:cNvGraphicFramePr>
            <a:graphicFrameLocks noChangeAspect="1"/>
          </p:cNvGraphicFramePr>
          <p:nvPr userDrawn="1">
            <p:custDataLst>
              <p:tags r:id="rId1"/>
            </p:custDataLst>
            <p:extLst>
              <p:ext uri="{D42A27DB-BD31-4B8C-83A1-F6EECF244321}">
                <p14:modId xmlns:p14="http://schemas.microsoft.com/office/powerpoint/2010/main" val="2365190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911B8239-9DFD-491A-644D-D4E4A767B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C67"/>
              </a:gs>
              <a:gs pos="100000">
                <a:srgbClr val="004C48"/>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lgn="l" rtl="0">
              <a:defRPr>
                <a:solidFill>
                  <a:srgbClr val="FFFFFF"/>
                </a:solidFill>
                <a:latin typeface="+mj-lt"/>
                <a:sym typeface="Trebuchet MS" panose="020B0603020202020204" pitchFamily="34" charset="0"/>
              </a:defRPr>
            </a:lvl1pPr>
          </a:lstStyle>
          <a:p>
            <a:r>
              <a:rPr lang="en-GB"/>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a:extLst>
              <a:ext uri="{FF2B5EF4-FFF2-40B4-BE49-F238E27FC236}">
                <a16:creationId xmlns:a16="http://schemas.microsoft.com/office/drawing/2014/main" id="{3CBA65E1-29F4-47C1-8611-7C29BB873BEB}"/>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9ABE45-E778-8DCA-0A61-A58553E74FE9}"/>
              </a:ext>
            </a:extLst>
          </p:cNvPr>
          <p:cNvGraphicFramePr>
            <a:graphicFrameLocks noChangeAspect="1"/>
          </p:cNvGraphicFramePr>
          <p:nvPr userDrawn="1">
            <p:custDataLst>
              <p:tags r:id="rId1"/>
            </p:custDataLst>
            <p:extLst>
              <p:ext uri="{D42A27DB-BD31-4B8C-83A1-F6EECF244321}">
                <p14:modId xmlns:p14="http://schemas.microsoft.com/office/powerpoint/2010/main" val="43682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4B9ABE45-E778-8DCA-0A61-A58553E74F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pic>
        <p:nvPicPr>
          <p:cNvPr id="8" name="Picture 7">
            <a:extLst>
              <a:ext uri="{FF2B5EF4-FFF2-40B4-BE49-F238E27FC236}">
                <a16:creationId xmlns:a16="http://schemas.microsoft.com/office/drawing/2014/main" id="{EA881E27-71F6-4BCC-8D52-6F57B33755FD}"/>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02C03F-B9BB-117D-396B-E28D87308FC8}"/>
              </a:ext>
            </a:extLst>
          </p:cNvPr>
          <p:cNvGraphicFramePr>
            <a:graphicFrameLocks noChangeAspect="1"/>
          </p:cNvGraphicFramePr>
          <p:nvPr userDrawn="1">
            <p:custDataLst>
              <p:tags r:id="rId1"/>
            </p:custDataLst>
            <p:extLst>
              <p:ext uri="{D42A27DB-BD31-4B8C-83A1-F6EECF244321}">
                <p14:modId xmlns:p14="http://schemas.microsoft.com/office/powerpoint/2010/main" val="3554821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4C02C03F-B9BB-117D-396B-E28D87308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rtl="0">
              <a:defRPr>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6" name="Rectangle 5"/>
          <p:cNvSpPr/>
          <p:nvPr userDrawn="1"/>
        </p:nvSpPr>
        <p:spPr bwMode="white">
          <a:xfrm>
            <a:off x="630000" y="625475"/>
            <a:ext cx="932688" cy="932688"/>
          </a:xfrm>
          <a:prstGeom prst="rect">
            <a:avLst/>
          </a:prstGeom>
          <a:noFill/>
          <a:ln>
            <a:solidFill>
              <a:srgbClr val="009A9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9A93"/>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3A3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48439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en-GB"/>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6C67"/>
          </a:solidFill>
          <a:ln>
            <a:noFill/>
          </a:ln>
          <a:effectLst/>
        </p:spPr>
        <p:txBody>
          <a:bodyPr vert="horz" wrap="square" lIns="91440" tIns="45720" rIns="91440" bIns="45720" numCol="1" anchor="t" anchorCtr="0" compatLnSpc="1">
            <a:prstTxWarp prst="textNoShape">
              <a:avLst/>
            </a:prstTxWarp>
            <a:noAutofit/>
          </a:bodyPr>
          <a:lstStyle/>
          <a:p>
            <a:pPr rtl="0"/>
            <a:endParaRPr lang="en-GB">
              <a:latin typeface="+mn-lt"/>
              <a:sym typeface="Trebuchet MS" panose="020B0603020202020204" pitchFamily="34" charset="0"/>
            </a:endParaRPr>
          </a:p>
        </p:txBody>
      </p:sp>
      <p:pic>
        <p:nvPicPr>
          <p:cNvPr id="9" name="Picture 8">
            <a:extLst>
              <a:ext uri="{FF2B5EF4-FFF2-40B4-BE49-F238E27FC236}">
                <a16:creationId xmlns:a16="http://schemas.microsoft.com/office/drawing/2014/main" id="{C021B772-7822-4263-889A-CC0F855DB35C}"/>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D2279C4-63E0-BE0E-E3E4-666B49112A91}"/>
              </a:ext>
            </a:extLst>
          </p:cNvPr>
          <p:cNvGraphicFramePr>
            <a:graphicFrameLocks noChangeAspect="1"/>
          </p:cNvGraphicFramePr>
          <p:nvPr userDrawn="1">
            <p:custDataLst>
              <p:tags r:id="rId1"/>
            </p:custDataLst>
            <p:extLst>
              <p:ext uri="{D42A27DB-BD31-4B8C-83A1-F6EECF244321}">
                <p14:modId xmlns:p14="http://schemas.microsoft.com/office/powerpoint/2010/main" val="3471918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1D2279C4-63E0-BE0E-E3E4-666B49112A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2" name="Title 1"/>
          <p:cNvSpPr>
            <a:spLocks noGrp="1"/>
          </p:cNvSpPr>
          <p:nvPr>
            <p:ph type="title" hasCustomPrompt="1"/>
          </p:nvPr>
        </p:nvSpPr>
        <p:spPr>
          <a:xfrm>
            <a:off x="630000" y="622800"/>
            <a:ext cx="10933200" cy="332399"/>
          </a:xfrm>
        </p:spPr>
        <p:txBody>
          <a:bodyPr vert="horz"/>
          <a:lstStyle>
            <a:lvl1pPr algn="l" rtl="0">
              <a:defRPr>
                <a:solidFill>
                  <a:schemeClr val="bg1"/>
                </a:solidFill>
                <a:latin typeface="+mj-lt"/>
                <a:sym typeface="Trebuchet MS" panose="020B0603020202020204" pitchFamily="34" charset="0"/>
              </a:defRPr>
            </a:lvl1pPr>
          </a:lstStyle>
          <a:p>
            <a:r>
              <a:rPr lang="en-GB"/>
              <a:t>Click to add title</a:t>
            </a:r>
          </a:p>
        </p:txBody>
      </p:sp>
      <p:pic>
        <p:nvPicPr>
          <p:cNvPr id="8" name="Picture 7">
            <a:extLst>
              <a:ext uri="{FF2B5EF4-FFF2-40B4-BE49-F238E27FC236}">
                <a16:creationId xmlns:a16="http://schemas.microsoft.com/office/drawing/2014/main" id="{ED80C188-34C3-4D0B-A4C2-4CF092C76E52}"/>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6EF724-AAA7-9BDB-9577-B252D1C765CE}"/>
              </a:ext>
            </a:extLst>
          </p:cNvPr>
          <p:cNvGraphicFramePr>
            <a:graphicFrameLocks noChangeAspect="1"/>
          </p:cNvGraphicFramePr>
          <p:nvPr userDrawn="1">
            <p:custDataLst>
              <p:tags r:id="rId1"/>
            </p:custDataLst>
            <p:extLst>
              <p:ext uri="{D42A27DB-BD31-4B8C-83A1-F6EECF244321}">
                <p14:modId xmlns:p14="http://schemas.microsoft.com/office/powerpoint/2010/main" val="4238877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796EF724-AAA7-9BDB-9577-B252D1C765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a:solidFill>
                  <a:srgbClr val="006C67"/>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E0359BA8-1A52-4A09-9C4A-A7646D16C613}"/>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D4B1600-C72F-CFD1-47B0-0CCC2F6497B9}"/>
              </a:ext>
            </a:extLst>
          </p:cNvPr>
          <p:cNvGraphicFramePr>
            <a:graphicFrameLocks noChangeAspect="1"/>
          </p:cNvGraphicFramePr>
          <p:nvPr userDrawn="1">
            <p:custDataLst>
              <p:tags r:id="rId1"/>
            </p:custDataLst>
            <p:extLst>
              <p:ext uri="{D42A27DB-BD31-4B8C-83A1-F6EECF244321}">
                <p14:modId xmlns:p14="http://schemas.microsoft.com/office/powerpoint/2010/main" val="2205631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DD4B1600-C72F-CFD1-47B0-0CCC2F6497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pic>
        <p:nvPicPr>
          <p:cNvPr id="4" name="Picture 3">
            <a:extLst>
              <a:ext uri="{FF2B5EF4-FFF2-40B4-BE49-F238E27FC236}">
                <a16:creationId xmlns:a16="http://schemas.microsoft.com/office/drawing/2014/main" id="{521D13C9-E3E2-E2E0-7125-8C1F1024BE68}"/>
              </a:ext>
            </a:extLst>
          </p:cNvPr>
          <p:cNvPicPr>
            <a:picLocks noChangeAspect="1"/>
          </p:cNvPicPr>
          <p:nvPr userDrawn="1"/>
        </p:nvPicPr>
        <p:blipFill>
          <a:blip r:embed="rId5">
            <a:biLevel thresh="25000"/>
          </a:blip>
          <a:stretch>
            <a:fillRect/>
          </a:stretch>
        </p:blipFill>
        <p:spPr>
          <a:xfrm>
            <a:off x="130967" y="86239"/>
            <a:ext cx="1190626" cy="350391"/>
          </a:xfrm>
          <a:prstGeom prst="rect">
            <a:avLst/>
          </a:prstGeom>
        </p:spPr>
      </p:pic>
      <p:sp>
        <p:nvSpPr>
          <p:cNvPr id="6" name="Title 8">
            <a:extLst>
              <a:ext uri="{FF2B5EF4-FFF2-40B4-BE49-F238E27FC236}">
                <a16:creationId xmlns:a16="http://schemas.microsoft.com/office/drawing/2014/main" id="{DD556A2B-14F9-1853-FDC9-4BE0C3FD583A}"/>
              </a:ext>
            </a:extLst>
          </p:cNvPr>
          <p:cNvSpPr txBox="1">
            <a:spLocks/>
          </p:cNvSpPr>
          <p:nvPr userDrawn="1"/>
        </p:nvSpPr>
        <p:spPr>
          <a:xfrm>
            <a:off x="10008224" y="6544322"/>
            <a:ext cx="1980110" cy="193938"/>
          </a:xfrm>
          <a:prstGeom prst="rect">
            <a:avLst/>
          </a:prstGeom>
          <a:noFill/>
          <a:ln w="9525">
            <a:noFill/>
            <a:miter lim="800000"/>
            <a:headEnd/>
            <a:tailEnd/>
          </a:ln>
        </p:spPr>
        <p:txBody>
          <a:bodyPr vert="horz" wrap="square" lIns="182880" tIns="0" rIns="182880" bIns="0" numCol="1" rtlCol="0" anchor="ctr" anchorCtr="0" compatLnSpc="1">
            <a:prstTxWarp prst="textNoShape">
              <a:avLst/>
            </a:prstTxWarp>
            <a:noAutofit/>
          </a:bodyPr>
          <a:lstStyle>
            <a:defPPr>
              <a:defRPr lang="en-US"/>
            </a:defPPr>
            <a:lvl1pPr lvl="0" algn="r" rtl="1">
              <a:lnSpc>
                <a:spcPct val="100000"/>
              </a:lnSpc>
              <a:spcBef>
                <a:spcPts val="0"/>
              </a:spcBef>
              <a:buNone/>
              <a:defRPr sz="2800" b="1" i="0">
                <a:solidFill>
                  <a:schemeClr val="accent6">
                    <a:lumMod val="75000"/>
                  </a:schemeClr>
                </a:solidFill>
                <a:latin typeface="Traditional Arabic" panose="02010000000000000000" pitchFamily="2" charset="-78"/>
                <a:ea typeface="+mj-ea"/>
                <a:cs typeface="Traditional Arabic Bold" panose="02010000000000000000" pitchFamily="2" charset="-78"/>
              </a:defRPr>
            </a:lvl1pPr>
          </a:lstStyle>
          <a:p>
            <a:pPr algn="l" defTabSz="954436" rtl="0">
              <a:defRPr/>
            </a:pPr>
            <a:r>
              <a:rPr lang="en-GB" sz="1000" b="0" err="1">
                <a:solidFill>
                  <a:schemeClr val="bg1"/>
                </a:solidFill>
                <a:latin typeface="+mj-lt"/>
                <a:cs typeface="Sakkal Majalla" panose="02000000000000000000" pitchFamily="2" charset="-78"/>
                <a:sym typeface="Georgia"/>
              </a:rPr>
              <a:t>مشروع</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بناء</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أدوات</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وأنظمة</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دعم</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القرار</a:t>
            </a:r>
            <a:r>
              <a:rPr lang="en-GB" sz="1000" b="0">
                <a:solidFill>
                  <a:schemeClr val="bg1"/>
                </a:solidFill>
                <a:latin typeface="+mj-lt"/>
                <a:cs typeface="Sakkal Majalla" panose="02000000000000000000" pitchFamily="2" charset="-78"/>
                <a:sym typeface="Georgia"/>
              </a:rPr>
              <a:t>​</a:t>
            </a:r>
          </a:p>
        </p:txBody>
      </p:sp>
      <p:sp>
        <p:nvSpPr>
          <p:cNvPr id="7" name="TextBox 6">
            <a:extLst>
              <a:ext uri="{FF2B5EF4-FFF2-40B4-BE49-F238E27FC236}">
                <a16:creationId xmlns:a16="http://schemas.microsoft.com/office/drawing/2014/main" id="{8DA942C1-7CEA-FBF8-3AC9-3654A029FA98}"/>
              </a:ext>
            </a:extLst>
          </p:cNvPr>
          <p:cNvSpPr txBox="1"/>
          <p:nvPr userDrawn="1"/>
        </p:nvSpPr>
        <p:spPr>
          <a:xfrm>
            <a:off x="203666" y="6545082"/>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1CD135D-BF18-9425-EBFA-57F8BB3C15C6}"/>
              </a:ext>
            </a:extLst>
          </p:cNvPr>
          <p:cNvGraphicFramePr>
            <a:graphicFrameLocks noChangeAspect="1"/>
          </p:cNvGraphicFramePr>
          <p:nvPr userDrawn="1">
            <p:custDataLst>
              <p:tags r:id="rId1"/>
            </p:custDataLst>
            <p:extLst>
              <p:ext uri="{D42A27DB-BD31-4B8C-83A1-F6EECF244321}">
                <p14:modId xmlns:p14="http://schemas.microsoft.com/office/powerpoint/2010/main" val="3665429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11CD135D-BF18-9425-EBFA-57F8BB3C15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sym typeface="Trebuchet MS" panose="020B0603020202020204" pitchFamily="34" charset="0"/>
              </a:defRPr>
            </a:lvl1pPr>
          </a:lstStyle>
          <a:p>
            <a:endParaRPr lang="en-GB"/>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AA8D59-7432-4EFD-A4AC-E87D475A4060}"/>
              </a:ext>
            </a:extLst>
          </p:cNvPr>
          <p:cNvGraphicFramePr>
            <a:graphicFrameLocks noChangeAspect="1"/>
          </p:cNvGraphicFramePr>
          <p:nvPr userDrawn="1">
            <p:custDataLst>
              <p:tags r:id="rId1"/>
            </p:custDataLst>
            <p:extLst>
              <p:ext uri="{D42A27DB-BD31-4B8C-83A1-F6EECF244321}">
                <p14:modId xmlns:p14="http://schemas.microsoft.com/office/powerpoint/2010/main" val="3912365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F6AA8D59-7432-4EFD-A4AC-E87D475A40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55509"/>
          </a:xfrm>
        </p:spPr>
        <p:txBody>
          <a:bodyPr vert="horz"/>
          <a:lstStyle>
            <a:lvl1pPr algn="l" rtl="0">
              <a:defRPr sz="3200">
                <a:solidFill>
                  <a:srgbClr val="006C67"/>
                </a:solidFill>
              </a:defRPr>
            </a:lvl1pPr>
          </a:lstStyle>
          <a:p>
            <a:r>
              <a:rPr lang="en-GB"/>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algn="l" rtl="0">
              <a:lnSpc>
                <a:spcPct val="100000"/>
              </a:lnSpc>
              <a:spcBef>
                <a:spcPts val="0"/>
              </a:spcBef>
              <a:spcAft>
                <a:spcPts val="0"/>
              </a:spcAft>
              <a:defRPr sz="2000"/>
            </a:lvl1pPr>
            <a:lvl2pPr algn="l" rtl="0">
              <a:lnSpc>
                <a:spcPct val="100000"/>
              </a:lnSpc>
              <a:spcBef>
                <a:spcPts val="0"/>
              </a:spcBef>
              <a:spcAft>
                <a:spcPts val="0"/>
              </a:spcAft>
              <a:defRPr sz="2000"/>
            </a:lvl2pPr>
            <a:lvl3pPr algn="l" rtl="0">
              <a:lnSpc>
                <a:spcPct val="100000"/>
              </a:lnSpc>
              <a:spcBef>
                <a:spcPts val="0"/>
              </a:spcBef>
              <a:spcAft>
                <a:spcPts val="0"/>
              </a:spcAft>
              <a:defRPr sz="2000"/>
            </a:lvl3pPr>
            <a:lvl4pPr algn="l" rtl="0">
              <a:lnSpc>
                <a:spcPct val="100000"/>
              </a:lnSpc>
              <a:spcBef>
                <a:spcPts val="0"/>
              </a:spcBef>
              <a:spcAft>
                <a:spcPts val="0"/>
              </a:spcAft>
              <a:defRPr sz="2800"/>
            </a:lvl4pPr>
            <a:lvl5pPr algn="l" rtl="0">
              <a:lnSpc>
                <a:spcPct val="100000"/>
              </a:lnSpc>
              <a:spcBef>
                <a:spcPts val="0"/>
              </a:spcBef>
              <a:spcAft>
                <a:spcPts val="0"/>
              </a:spcAft>
              <a:defRPr sz="28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3" name="PP Templet-09.jpg" descr="PP Templet-09.jpg">
            <a:extLst>
              <a:ext uri="{FF2B5EF4-FFF2-40B4-BE49-F238E27FC236}">
                <a16:creationId xmlns:a16="http://schemas.microsoft.com/office/drawing/2014/main" id="{6E45DBCC-0611-1B0C-D190-B380C18B8BD3}"/>
              </a:ext>
            </a:extLst>
          </p:cNvPr>
          <p:cNvPicPr>
            <a:picLocks noChangeAspect="1"/>
          </p:cNvPicPr>
          <p:nvPr userDrawn="1"/>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164686" y="652176"/>
            <a:ext cx="335360" cy="6148270"/>
          </a:xfrm>
          <a:prstGeom prst="rect">
            <a:avLst/>
          </a:prstGeom>
          <a:ln w="12700">
            <a:miter lim="400000"/>
          </a:ln>
        </p:spPr>
      </p:pic>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4607AC8-1DB3-4688-76E5-B7D2F9E76777}"/>
              </a:ext>
            </a:extLst>
          </p:cNvPr>
          <p:cNvGraphicFramePr>
            <a:graphicFrameLocks noChangeAspect="1"/>
          </p:cNvGraphicFramePr>
          <p:nvPr userDrawn="1">
            <p:custDataLst>
              <p:tags r:id="rId1"/>
            </p:custDataLst>
            <p:extLst>
              <p:ext uri="{D42A27DB-BD31-4B8C-83A1-F6EECF244321}">
                <p14:modId xmlns:p14="http://schemas.microsoft.com/office/powerpoint/2010/main" val="2808892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84607AC8-1DB3-4688-76E5-B7D2F9E767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rtl="0">
              <a:defRPr>
                <a:latin typeface="+mn-lt"/>
                <a:sym typeface="Trebuchet MS" panose="020B0603020202020204" pitchFamily="34" charset="0"/>
              </a:defRPr>
            </a:lvl1pPr>
          </a:lstStyle>
          <a:p>
            <a:endParaRPr lang="en-GB"/>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5" name="Title 6">
            <a:extLst>
              <a:ext uri="{FF2B5EF4-FFF2-40B4-BE49-F238E27FC236}">
                <a16:creationId xmlns:a16="http://schemas.microsoft.com/office/drawing/2014/main" id="{66FB03DE-C2B4-4054-8BFA-745FC38FC326}"/>
              </a:ext>
            </a:extLst>
          </p:cNvPr>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GB" sz="5100">
                <a:gradFill>
                  <a:gsLst>
                    <a:gs pos="100000">
                      <a:schemeClr val="tx2"/>
                    </a:gs>
                    <a:gs pos="2000">
                      <a:schemeClr val="accent2"/>
                    </a:gs>
                  </a:gsLst>
                  <a:lin ang="2700000" scaled="0"/>
                </a:gradFill>
                <a:latin typeface="+mn-lt"/>
                <a:sym typeface="Trebuchet MS" panose="020B0603020202020204" pitchFamily="34" charset="0"/>
              </a:rPr>
              <a:t>Disclaimer</a:t>
            </a:r>
          </a:p>
        </p:txBody>
      </p:sp>
      <p:sp>
        <p:nvSpPr>
          <p:cNvPr id="6" name="Rectangle 5">
            <a:extLst>
              <a:ext uri="{FF2B5EF4-FFF2-40B4-BE49-F238E27FC236}">
                <a16:creationId xmlns:a16="http://schemas.microsoft.com/office/drawing/2014/main" id="{DD3DB328-C67A-43C8-8A2E-A78DF8F8DD97}"/>
              </a:ext>
            </a:extLst>
          </p:cNvPr>
          <p:cNvSpPr/>
          <p:nvPr userDrawn="1"/>
        </p:nvSpPr>
        <p:spPr>
          <a:xfrm>
            <a:off x="5021826" y="1387258"/>
            <a:ext cx="6209072" cy="3877985"/>
          </a:xfrm>
          <a:prstGeom prst="rect">
            <a:avLst/>
          </a:prstGeom>
        </p:spPr>
        <p:txBody>
          <a:bodyPr wrap="square" lIns="0" tIns="0" rIns="0" bIns="0" anchor="ctr">
            <a:spAutoFit/>
          </a:bodyPr>
          <a:lstStyle/>
          <a:p>
            <a:pPr indent="0" rtl="0">
              <a:lnSpc>
                <a:spcPct val="100000"/>
              </a:lnSpc>
            </a:pPr>
            <a:r>
              <a:rPr lang="en-GB" sz="900" b="0">
                <a:latin typeface="+mn-lt"/>
                <a:sym typeface="Trebuchet MS" panose="020B0603020202020204" pitchFamily="34" charset="0"/>
              </a:rPr>
              <a:t>Disclaimer &amp; Non-reliance </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services and materials provided by the issuer of the report are subject to the issuer of the report's Standard Terms and Conditions (a copy of which is available upon request) or such other agreement as may have been previously executed by the issuer of the report.  The issuer of the report does not provide legal, accounting, or tax advice.  Client is responsible for obtaining independent advice concerning these matters, which advice may affect the guidance given by the issuer of the report.  Further, the issuer of the report has made no undertaking to update these materials after the date hereof notwithstanding that such information may become outdated or inaccurate.</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material contained in this presentation are designed for the sole use by the Board of Directors or senior management of the Client and solely for the limited purposes described in the proposal.  The materials shall not be copied, disclosed or given to any person or entity other than the Client (“Third-Parties”) without the prior written consent being provided.  These materials serve only as the focus for discussion and are incomplete without the accompanying oral commentary and may not be relied on as a stand-alone document.  Further, Third-Parties may not, and it is unreasonable for any Third-Party to, rely on these materials for any purpose whatsoever.  To the fullest extent permitted by law (and except to the extent otherwise agreed in a signed writing the issuer of this report), issuer of this report shall have no liability whatsoever to any Third-Party, and any Third-Party hereby waives any rights and claims it may, have at any time against the issuer of this report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issuer of this report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the issuer of the report. Issuer of the report has used public and/or confidential data and assumptions provided to it by the Client which the issuer of the report has not independently verified the data and assumptions used in these analyses. Changes in the underlying data or operating assumptions will clearly impact the analyses and conclusions.</a:t>
            </a:r>
          </a:p>
        </p:txBody>
      </p:sp>
      <p:cxnSp>
        <p:nvCxnSpPr>
          <p:cNvPr id="7" name="Straight Connector 6">
            <a:extLst>
              <a:ext uri="{FF2B5EF4-FFF2-40B4-BE49-F238E27FC236}">
                <a16:creationId xmlns:a16="http://schemas.microsoft.com/office/drawing/2014/main" id="{6AA8A27B-7BE5-4FAB-96B0-D384108FEEBA}"/>
              </a:ext>
            </a:extLst>
          </p:cNvPr>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4161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sp>
        <p:nvSpPr>
          <p:cNvPr id="11" name="Rectangle 10"/>
          <p:cNvSpPr/>
          <p:nvPr userDrawn="1"/>
        </p:nvSpPr>
        <p:spPr>
          <a:xfrm>
            <a:off x="667408" y="1659004"/>
            <a:ext cx="7344478" cy="16383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6C67"/>
                </a:solidFill>
              </a14:hiddenFill>
            </a:ext>
            <a:ext uri="{91240B29-F687-4F45-9708-019B960494DF}">
              <a14:hiddenLine xmlns:a14="http://schemas.microsoft.com/office/drawing/2010/main" w="9525" cap="rnd" cmpd="sng" algn="ctr">
                <a:solidFill>
                  <a:srgbClr val="006C6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l" defTabSz="914400" rtl="0" eaLnBrk="1" latinLnBrk="0" hangingPunct="1">
              <a:lnSpc>
                <a:spcPct val="90000"/>
              </a:lnSpc>
              <a:spcBef>
                <a:spcPct val="0"/>
              </a:spcBef>
              <a:buNone/>
            </a:pPr>
            <a:r>
              <a:rPr lang="en-GB" sz="5400" kern="1200">
                <a:solidFill>
                  <a:srgbClr val="006C67"/>
                </a:solidFill>
                <a:latin typeface="+mj-lt"/>
                <a:ea typeface="+mj-ea"/>
                <a:cs typeface="+mj-cs"/>
                <a:sym typeface="+mj-lt"/>
              </a:rPr>
              <a:t>Thank you</a:t>
            </a:r>
          </a:p>
        </p:txBody>
      </p:sp>
      <p:pic>
        <p:nvPicPr>
          <p:cNvPr id="12" name="Picture 11"/>
          <p:cNvPicPr>
            <a:picLocks noChangeAspect="1"/>
          </p:cNvPicPr>
          <p:nvPr userDrawn="1"/>
        </p:nvPicPr>
        <p:blipFill rotWithShape="1">
          <a:blip r:embed="rId6"/>
          <a:srcRect/>
          <a:stretch/>
        </p:blipFill>
        <p:spPr>
          <a:xfrm>
            <a:off x="562633" y="3343543"/>
            <a:ext cx="7260614" cy="71407"/>
          </a:xfrm>
          <a:prstGeom prst="rect">
            <a:avLst/>
          </a:prstGeom>
        </p:spPr>
      </p:pic>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14" name="Picture 1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9" name="Graphic 8">
            <a:extLst>
              <a:ext uri="{FF2B5EF4-FFF2-40B4-BE49-F238E27FC236}">
                <a16:creationId xmlns:a16="http://schemas.microsoft.com/office/drawing/2014/main" id="{6AD2E01B-64DC-4C33-9BE3-56040786355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3583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en-GB"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rtl="0" fontAlgn="auto">
              <a:lnSpc>
                <a:spcPct val="95000"/>
              </a:lnSpc>
              <a:spcBef>
                <a:spcPts val="0"/>
              </a:spcBef>
              <a:spcAft>
                <a:spcPts val="0"/>
              </a:spcAft>
            </a:pPr>
            <a:r>
              <a:rPr lang="en-GB" sz="5400">
                <a:solidFill>
                  <a:schemeClr val="bg1"/>
                </a:solidFill>
                <a:latin typeface="+mj-lt"/>
              </a:rPr>
              <a:t>Agenda</a:t>
            </a:r>
          </a:p>
        </p:txBody>
      </p:sp>
      <p:pic>
        <p:nvPicPr>
          <p:cNvPr id="14" name="Picture 13">
            <a:extLst>
              <a:ext uri="{FF2B5EF4-FFF2-40B4-BE49-F238E27FC236}">
                <a16:creationId xmlns:a16="http://schemas.microsoft.com/office/drawing/2014/main" id="{DAC6128D-88B6-4D14-8635-3103664EFE1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90326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pic>
        <p:nvPicPr>
          <p:cNvPr id="11" name="Picture 10">
            <a:extLst>
              <a:ext uri="{FF2B5EF4-FFF2-40B4-BE49-F238E27FC236}">
                <a16:creationId xmlns:a16="http://schemas.microsoft.com/office/drawing/2014/main" id="{6E55DDE3-6C87-45BB-B976-4AE82BCA328D}"/>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37505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0" name="Title 1"/>
          <p:cNvSpPr txBox="1">
            <a:spLocks/>
          </p:cNvSpPr>
          <p:nvPr userDrawn="1"/>
        </p:nvSpPr>
        <p:spPr>
          <a:xfrm>
            <a:off x="4275722" y="622800"/>
            <a:ext cx="7189998" cy="56938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algn="l" rtl="0"/>
            <a:r>
              <a:rPr lang="en-GB" sz="4000" b="1" err="1">
                <a:solidFill>
                  <a:schemeClr val="bg1"/>
                </a:solidFill>
                <a:latin typeface="Sakkal Majalla" panose="02000000000000000000" pitchFamily="2" charset="-78"/>
                <a:cs typeface="Sakkal Majalla" panose="02000000000000000000" pitchFamily="2" charset="-78"/>
              </a:rPr>
              <a:t>الأجندة</a:t>
            </a:r>
            <a:endParaRPr lang="en-GB" sz="4000" b="1">
              <a:solidFill>
                <a:schemeClr val="bg1"/>
              </a:solidFill>
              <a:latin typeface="Sakkal Majalla" panose="02000000000000000000" pitchFamily="2" charset="-78"/>
              <a:cs typeface="Sakkal Majalla" panose="02000000000000000000" pitchFamily="2" charset="-78"/>
            </a:endParaRPr>
          </a:p>
        </p:txBody>
      </p:sp>
      <p:cxnSp>
        <p:nvCxnSpPr>
          <p:cNvPr id="13" name="Straight Connector 12"/>
          <p:cNvCxnSpPr/>
          <p:nvPr userDrawn="1"/>
        </p:nvCxnSpPr>
        <p:spPr bwMode="white">
          <a:xfrm>
            <a:off x="-10665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207A83B2-0391-3A45-D02F-1B1C715FFE22}"/>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30967" y="86239"/>
            <a:ext cx="1190626" cy="350391"/>
          </a:xfrm>
          <a:prstGeom prst="rect">
            <a:avLst/>
          </a:prstGeom>
        </p:spPr>
      </p:pic>
      <p:sp>
        <p:nvSpPr>
          <p:cNvPr id="6" name="Title 8">
            <a:extLst>
              <a:ext uri="{FF2B5EF4-FFF2-40B4-BE49-F238E27FC236}">
                <a16:creationId xmlns:a16="http://schemas.microsoft.com/office/drawing/2014/main" id="{10099F2C-9199-2B69-BFE5-785F0F955D96}"/>
              </a:ext>
            </a:extLst>
          </p:cNvPr>
          <p:cNvSpPr txBox="1">
            <a:spLocks/>
          </p:cNvSpPr>
          <p:nvPr userDrawn="1"/>
        </p:nvSpPr>
        <p:spPr>
          <a:xfrm>
            <a:off x="10008224" y="6544322"/>
            <a:ext cx="1980110" cy="193938"/>
          </a:xfrm>
          <a:prstGeom prst="rect">
            <a:avLst/>
          </a:prstGeom>
          <a:noFill/>
          <a:ln w="9525">
            <a:noFill/>
            <a:miter lim="800000"/>
            <a:headEnd/>
            <a:tailEnd/>
          </a:ln>
        </p:spPr>
        <p:txBody>
          <a:bodyPr vert="horz" wrap="square" lIns="182880" tIns="0" rIns="182880" bIns="0" numCol="1" rtlCol="0" anchor="ctr" anchorCtr="0" compatLnSpc="1">
            <a:prstTxWarp prst="textNoShape">
              <a:avLst/>
            </a:prstTxWarp>
            <a:noAutofit/>
          </a:bodyPr>
          <a:lstStyle>
            <a:defPPr>
              <a:defRPr lang="en-US"/>
            </a:defPPr>
            <a:lvl1pPr lvl="0" algn="r" rtl="1">
              <a:lnSpc>
                <a:spcPct val="100000"/>
              </a:lnSpc>
              <a:spcBef>
                <a:spcPts val="0"/>
              </a:spcBef>
              <a:buNone/>
              <a:defRPr sz="2800" b="1" i="0">
                <a:solidFill>
                  <a:schemeClr val="accent6">
                    <a:lumMod val="75000"/>
                  </a:schemeClr>
                </a:solidFill>
                <a:latin typeface="Traditional Arabic" panose="02010000000000000000" pitchFamily="2" charset="-78"/>
                <a:ea typeface="+mj-ea"/>
                <a:cs typeface="Traditional Arabic Bold" panose="02010000000000000000" pitchFamily="2" charset="-78"/>
              </a:defRPr>
            </a:lvl1pPr>
          </a:lstStyle>
          <a:p>
            <a:pPr algn="l" defTabSz="954436" rtl="0">
              <a:defRPr/>
            </a:pPr>
            <a:r>
              <a:rPr lang="en-GB" sz="1000" b="0" err="1">
                <a:solidFill>
                  <a:schemeClr val="bg1"/>
                </a:solidFill>
                <a:latin typeface="+mj-lt"/>
                <a:cs typeface="Sakkal Majalla" panose="02000000000000000000" pitchFamily="2" charset="-78"/>
                <a:sym typeface="Georgia"/>
              </a:rPr>
              <a:t>مشروع</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بناء</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أدوات</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وأنظمة</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دعم</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القرار</a:t>
            </a:r>
            <a:r>
              <a:rPr lang="en-GB" sz="1000" b="0">
                <a:solidFill>
                  <a:schemeClr val="bg1"/>
                </a:solidFill>
                <a:latin typeface="+mj-lt"/>
                <a:cs typeface="Sakkal Majalla" panose="02000000000000000000" pitchFamily="2" charset="-78"/>
                <a:sym typeface="Georgia"/>
              </a:rPr>
              <a:t>​</a:t>
            </a:r>
          </a:p>
        </p:txBody>
      </p:sp>
      <p:sp>
        <p:nvSpPr>
          <p:cNvPr id="7" name="TextBox 6">
            <a:extLst>
              <a:ext uri="{FF2B5EF4-FFF2-40B4-BE49-F238E27FC236}">
                <a16:creationId xmlns:a16="http://schemas.microsoft.com/office/drawing/2014/main" id="{A5A505AF-F49C-53E3-5589-6D8A53EED73B}"/>
              </a:ext>
            </a:extLst>
          </p:cNvPr>
          <p:cNvSpPr txBox="1"/>
          <p:nvPr userDrawn="1"/>
        </p:nvSpPr>
        <p:spPr bwMode="white">
          <a:xfrm>
            <a:off x="203666" y="6544322"/>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2595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rtl="0">
              <a:lnSpc>
                <a:spcPct val="90000"/>
              </a:lnSpc>
              <a:spcAft>
                <a:spcPts val="600"/>
              </a:spcAft>
            </a:pPr>
            <a:r>
              <a:rPr lang="en-GB" sz="3200">
                <a:solidFill>
                  <a:schemeClr val="bg1"/>
                </a:solidFill>
              </a:rPr>
              <a:t>Agenda</a:t>
            </a:r>
          </a:p>
        </p:txBody>
      </p:sp>
      <p:pic>
        <p:nvPicPr>
          <p:cNvPr id="11" name="Picture 10">
            <a:extLst>
              <a:ext uri="{FF2B5EF4-FFF2-40B4-BE49-F238E27FC236}">
                <a16:creationId xmlns:a16="http://schemas.microsoft.com/office/drawing/2014/main" id="{3EDAD095-F36A-4FD1-9FF5-374BADD56511}"/>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230712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5. All rights reserved.</a:t>
            </a:r>
          </a:p>
        </p:txBody>
      </p:sp>
      <p:sp>
        <p:nvSpPr>
          <p:cNvPr id="8" name="Rectangle 7"/>
          <p:cNvSpPr/>
          <p:nvPr userDrawn="1"/>
        </p:nvSpPr>
        <p:spPr bwMode="invGray">
          <a:xfrm>
            <a:off x="1388145" y="4691187"/>
            <a:ext cx="929337" cy="995874"/>
          </a:xfrm>
          <a:prstGeom prst="rect">
            <a:avLst/>
          </a:prstGeom>
          <a:noFill/>
          <a:ln w="9525">
            <a:solidFill>
              <a:srgbClr val="009A9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09A93"/>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1220467"/>
          </a:xfrm>
          <a:prstGeom prst="rect">
            <a:avLst/>
          </a:prstGeom>
          <a:noFill/>
          <a:ln>
            <a:solidFill>
              <a:srgbClr val="009A93"/>
            </a:solidFill>
          </a:ln>
        </p:spPr>
        <p:txBody>
          <a:bodyPr wrap="square" lIns="612000" tIns="468000" rIns="0" bIns="0" rtlCol="0" anchor="t">
            <a:spAutoFit/>
          </a:bodyPr>
          <a:lstStyle/>
          <a:p>
            <a:pPr rtl="0">
              <a:lnSpc>
                <a:spcPct val="90000"/>
              </a:lnSpc>
              <a:spcAft>
                <a:spcPts val="600"/>
              </a:spcAft>
            </a:pPr>
            <a:endParaRPr lang="en-GB"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GB">
                <a:solidFill>
                  <a:srgbClr val="009A93"/>
                </a:solidFill>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40080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5. All rights reserved.</a:t>
            </a:r>
          </a:p>
        </p:txBody>
      </p:sp>
      <p:sp>
        <p:nvSpPr>
          <p:cNvPr id="8" name="Rectangle 7"/>
          <p:cNvSpPr/>
          <p:nvPr userDrawn="1"/>
        </p:nvSpPr>
        <p:spPr bwMode="white">
          <a:xfrm>
            <a:off x="1284743" y="1428131"/>
            <a:ext cx="947672" cy="947672"/>
          </a:xfrm>
          <a:prstGeom prst="rect">
            <a:avLst/>
          </a:prstGeom>
          <a:noFill/>
          <a:ln w="9525">
            <a:solidFill>
              <a:srgbClr val="009A9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09A9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353541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5.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GB">
                <a:solidFill>
                  <a:srgbClr val="009A93"/>
                </a:solidFill>
              </a:rPr>
              <a:t>Agenda</a:t>
            </a:r>
          </a:p>
        </p:txBody>
      </p:sp>
      <p:cxnSp>
        <p:nvCxnSpPr>
          <p:cNvPr id="9" name="Straight Connector 8"/>
          <p:cNvCxnSpPr/>
          <p:nvPr userDrawn="1"/>
        </p:nvCxnSpPr>
        <p:spPr bwMode="white">
          <a:xfrm>
            <a:off x="618898" y="1206000"/>
            <a:ext cx="11576304" cy="0"/>
          </a:xfrm>
          <a:prstGeom prst="line">
            <a:avLst/>
          </a:prstGeom>
          <a:ln w="9525" cmpd="sng">
            <a:solidFill>
              <a:srgbClr val="009A93"/>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46429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rtl="0">
              <a:lnSpc>
                <a:spcPct val="90000"/>
              </a:lnSpc>
              <a:spcAft>
                <a:spcPts val="600"/>
              </a:spcAft>
            </a:pPr>
            <a:r>
              <a:rPr lang="en-GB" sz="2400">
                <a:solidFill>
                  <a:schemeClr val="bg1"/>
                </a:solidFill>
              </a:rPr>
              <a:t>Agenda</a:t>
            </a:r>
          </a:p>
        </p:txBody>
      </p:sp>
      <p:pic>
        <p:nvPicPr>
          <p:cNvPr id="11" name="Picture 10">
            <a:extLst>
              <a:ext uri="{FF2B5EF4-FFF2-40B4-BE49-F238E27FC236}">
                <a16:creationId xmlns:a16="http://schemas.microsoft.com/office/drawing/2014/main" id="{984BAE71-B081-4B71-9295-84D1CE06E4CA}"/>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AA8D59-7432-4EFD-A4AC-E87D475A4060}"/>
              </a:ext>
            </a:extLst>
          </p:cNvPr>
          <p:cNvGraphicFramePr>
            <a:graphicFrameLocks noChangeAspect="1"/>
          </p:cNvGraphicFramePr>
          <p:nvPr userDrawn="1">
            <p:custDataLst>
              <p:tags r:id="rId1"/>
            </p:custDataLst>
            <p:extLst>
              <p:ext uri="{D42A27DB-BD31-4B8C-83A1-F6EECF244321}">
                <p14:modId xmlns:p14="http://schemas.microsoft.com/office/powerpoint/2010/main" val="2279433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F6AA8D59-7432-4EFD-A4AC-E87D475A40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55509"/>
          </a:xfrm>
        </p:spPr>
        <p:txBody>
          <a:bodyPr vert="horz"/>
          <a:lstStyle>
            <a:lvl1pPr algn="l" rtl="0">
              <a:defRPr sz="3200">
                <a:solidFill>
                  <a:srgbClr val="006C67"/>
                </a:solidFill>
              </a:defRPr>
            </a:lvl1pPr>
          </a:lstStyle>
          <a:p>
            <a:r>
              <a:rPr lang="en-GB"/>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algn="l" rtl="0">
              <a:lnSpc>
                <a:spcPct val="100000"/>
              </a:lnSpc>
              <a:spcBef>
                <a:spcPts val="0"/>
              </a:spcBef>
              <a:spcAft>
                <a:spcPts val="0"/>
              </a:spcAft>
              <a:defRPr sz="2000"/>
            </a:lvl1pPr>
            <a:lvl2pPr algn="l" rtl="0">
              <a:lnSpc>
                <a:spcPct val="100000"/>
              </a:lnSpc>
              <a:spcBef>
                <a:spcPts val="0"/>
              </a:spcBef>
              <a:spcAft>
                <a:spcPts val="0"/>
              </a:spcAft>
              <a:defRPr sz="2000"/>
            </a:lvl2pPr>
            <a:lvl3pPr algn="l" rtl="0">
              <a:lnSpc>
                <a:spcPct val="100000"/>
              </a:lnSpc>
              <a:spcBef>
                <a:spcPts val="0"/>
              </a:spcBef>
              <a:spcAft>
                <a:spcPts val="0"/>
              </a:spcAft>
              <a:defRPr sz="2000"/>
            </a:lvl3pPr>
            <a:lvl4pPr algn="l" rtl="0">
              <a:lnSpc>
                <a:spcPct val="100000"/>
              </a:lnSpc>
              <a:spcBef>
                <a:spcPts val="0"/>
              </a:spcBef>
              <a:spcAft>
                <a:spcPts val="0"/>
              </a:spcAft>
              <a:defRPr sz="2800"/>
            </a:lvl4pPr>
            <a:lvl5pPr algn="l" rtl="0">
              <a:lnSpc>
                <a:spcPct val="100000"/>
              </a:lnSpc>
              <a:spcBef>
                <a:spcPts val="0"/>
              </a:spcBef>
              <a:spcAft>
                <a:spcPts val="0"/>
              </a:spcAft>
              <a:defRPr sz="28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Tree>
    <p:extLst>
      <p:ext uri="{BB962C8B-B14F-4D97-AF65-F5344CB8AC3E}">
        <p14:creationId xmlns:p14="http://schemas.microsoft.com/office/powerpoint/2010/main" val="3125583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72407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a:solidFill>
                  <a:srgbClr val="009A93"/>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A92C33A0-3885-4F80-ACAD-7837E31E00B4}"/>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Title slide-1">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E22D126-2F90-F3B1-1660-C26C6513B64C}"/>
              </a:ext>
            </a:extLst>
          </p:cNvPr>
          <p:cNvGraphicFramePr>
            <a:graphicFrameLocks noChangeAspect="1"/>
          </p:cNvGraphicFramePr>
          <p:nvPr userDrawn="1">
            <p:custDataLst>
              <p:tags r:id="rId1"/>
            </p:custDataLst>
            <p:extLst>
              <p:ext uri="{D42A27DB-BD31-4B8C-83A1-F6EECF244321}">
                <p14:modId xmlns:p14="http://schemas.microsoft.com/office/powerpoint/2010/main" val="2234005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9E22D126-2F90-F3B1-1660-C26C6513B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Text Placeholder 56">
            <a:extLst>
              <a:ext uri="{FF2B5EF4-FFF2-40B4-BE49-F238E27FC236}">
                <a16:creationId xmlns:a16="http://schemas.microsoft.com/office/drawing/2014/main" id="{0ECCAB34-A6CA-F9B3-E542-5840E8CABB14}"/>
              </a:ext>
            </a:extLst>
          </p:cNvPr>
          <p:cNvSpPr>
            <a:spLocks noGrp="1"/>
          </p:cNvSpPr>
          <p:nvPr>
            <p:ph type="body" sz="quarter" idx="10" hasCustomPrompt="1"/>
          </p:nvPr>
        </p:nvSpPr>
        <p:spPr>
          <a:xfrm>
            <a:off x="533402" y="1235143"/>
            <a:ext cx="11125200" cy="332399"/>
          </a:xfrm>
          <a:prstGeom prst="rect">
            <a:avLst/>
          </a:prstGeom>
        </p:spPr>
        <p:txBody>
          <a:bodyPr lIns="0" tIns="0" rIns="0" bIns="0" anchor="t"/>
          <a:lstStyle>
            <a:lvl1pPr marL="0" indent="0" algn="r" rtl="0">
              <a:buNone/>
              <a:defRPr sz="1600">
                <a:solidFill>
                  <a:schemeClr val="tx1"/>
                </a:solidFill>
                <a:latin typeface="+mj-lt"/>
              </a:defRPr>
            </a:lvl1pPr>
          </a:lstStyle>
          <a:p>
            <a:pPr lvl="0"/>
            <a:r>
              <a:rPr lang="en-GB"/>
              <a:t>Sub-title</a:t>
            </a:r>
          </a:p>
        </p:txBody>
      </p:sp>
      <p:sp>
        <p:nvSpPr>
          <p:cNvPr id="15" name="Title 14">
            <a:extLst>
              <a:ext uri="{FF2B5EF4-FFF2-40B4-BE49-F238E27FC236}">
                <a16:creationId xmlns:a16="http://schemas.microsoft.com/office/drawing/2014/main" id="{80FC7BFF-DE01-F918-D384-3542A951E3D5}"/>
              </a:ext>
            </a:extLst>
          </p:cNvPr>
          <p:cNvSpPr>
            <a:spLocks noGrp="1"/>
          </p:cNvSpPr>
          <p:nvPr>
            <p:ph type="title" hasCustomPrompt="1"/>
          </p:nvPr>
        </p:nvSpPr>
        <p:spPr>
          <a:xfrm>
            <a:off x="533400" y="419341"/>
            <a:ext cx="10386060" cy="724081"/>
          </a:xfrm>
          <a:prstGeom prst="rect">
            <a:avLst/>
          </a:prstGeom>
        </p:spPr>
        <p:txBody>
          <a:bodyPr vert="horz" lIns="0" tIns="0" rIns="0" bIns="0">
            <a:noAutofit/>
          </a:bodyPr>
          <a:lstStyle>
            <a:lvl1pPr algn="r" rtl="0">
              <a:defRPr sz="2200" b="1">
                <a:solidFill>
                  <a:schemeClr val="accent1"/>
                </a:solidFill>
              </a:defRPr>
            </a:lvl1pPr>
          </a:lstStyle>
          <a:p>
            <a:r>
              <a:rPr lang="en-GB"/>
              <a:t>Title</a:t>
            </a:r>
          </a:p>
        </p:txBody>
      </p:sp>
      <p:sp>
        <p:nvSpPr>
          <p:cNvPr id="19" name="Text Placeholder 18">
            <a:extLst>
              <a:ext uri="{FF2B5EF4-FFF2-40B4-BE49-F238E27FC236}">
                <a16:creationId xmlns:a16="http://schemas.microsoft.com/office/drawing/2014/main" id="{58FA55E6-8F0D-4AB4-36F2-B2DA541D14E7}"/>
              </a:ext>
            </a:extLst>
          </p:cNvPr>
          <p:cNvSpPr>
            <a:spLocks noGrp="1"/>
          </p:cNvSpPr>
          <p:nvPr>
            <p:ph type="body" sz="quarter" idx="11"/>
          </p:nvPr>
        </p:nvSpPr>
        <p:spPr>
          <a:xfrm>
            <a:off x="533402" y="1752600"/>
            <a:ext cx="11125200" cy="4343399"/>
          </a:xfrm>
          <a:prstGeom prst="rect">
            <a:avLst/>
          </a:prstGeom>
        </p:spPr>
        <p:txBody>
          <a:bodyPr lIns="0" tIns="0" rIns="0" bIns="0"/>
          <a:lstStyle>
            <a:lvl1pPr marL="180002" indent="-180002" algn="r" rtl="0">
              <a:lnSpc>
                <a:spcPct val="100000"/>
              </a:lnSpc>
              <a:spcBef>
                <a:spcPts val="0"/>
              </a:spcBef>
              <a:spcAft>
                <a:spcPts val="600"/>
              </a:spcAft>
              <a:defRPr sz="1800"/>
            </a:lvl1pPr>
            <a:lvl2pPr marL="516156" indent="-285753" algn="l">
              <a:defRPr sz="1800"/>
            </a:lvl2pPr>
            <a:lvl3pPr marL="540007" indent="-180002" algn="r" rtl="0">
              <a:lnSpc>
                <a:spcPct val="100000"/>
              </a:lnSpc>
              <a:spcBef>
                <a:spcPts val="0"/>
              </a:spcBef>
              <a:spcAft>
                <a:spcPts val="600"/>
              </a:spcAft>
              <a:defRPr lang="en-US" sz="1800" kern="1200" dirty="0" smtClean="0">
                <a:solidFill>
                  <a:schemeClr val="tx1"/>
                </a:solidFill>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951762" indent="-285753" algn="l">
              <a:defRPr sz="1800"/>
            </a:lvl4pPr>
            <a:lvl5pPr marL="900011" indent="-180002" algn="r" rtl="0">
              <a:lnSpc>
                <a:spcPct val="100000"/>
              </a:lnSpc>
              <a:spcBef>
                <a:spcPts val="0"/>
              </a:spcBef>
              <a:spcAft>
                <a:spcPts val="600"/>
              </a:spcAft>
              <a:defRPr lang="en-US" sz="1800" kern="1200" dirty="0" smtClean="0">
                <a:solidFill>
                  <a:schemeClr val="tx1"/>
                </a:solidFill>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stStyle>
          <a:p>
            <a:pPr lvl="0"/>
            <a:r>
              <a:rPr lang="en-GB"/>
              <a:t>Click to edit Master text styles</a:t>
            </a:r>
          </a:p>
          <a:p>
            <a:pPr marL="439206" lvl="2" indent="-208803" algn="l" defTabSz="914411" rtl="0" eaLnBrk="1" latinLnBrk="0" hangingPunct="1">
              <a:lnSpc>
                <a:spcPct val="100000"/>
              </a:lnSpc>
              <a:spcBef>
                <a:spcPts val="0"/>
              </a:spcBef>
              <a:spcAft>
                <a:spcPts val="300"/>
              </a:spcAft>
              <a:buSzPct val="110000"/>
              <a:buFont typeface="Arial" panose="020B0604020202020204" pitchFamily="34" charset="0"/>
              <a:buChar char="‒"/>
            </a:pPr>
            <a:r>
              <a:rPr lang="en-GB"/>
              <a:t>Second level</a:t>
            </a:r>
          </a:p>
          <a:p>
            <a:pPr lvl="2"/>
            <a:r>
              <a:rPr lang="en-GB"/>
              <a:t>Third level</a:t>
            </a:r>
          </a:p>
          <a:p>
            <a:pPr marL="813610" lvl="4" indent="-147602" algn="l" defTabSz="914411" rtl="0" eaLnBrk="1" latinLnBrk="0" hangingPunct="1">
              <a:lnSpc>
                <a:spcPct val="100000"/>
              </a:lnSpc>
              <a:spcBef>
                <a:spcPts val="0"/>
              </a:spcBef>
              <a:spcAft>
                <a:spcPts val="300"/>
              </a:spcAft>
              <a:buSzPct val="100000"/>
              <a:buFont typeface="Arial" panose="020B0604020202020204" pitchFamily="34" charset="0"/>
              <a:buChar char="̶"/>
            </a:pPr>
            <a:r>
              <a:rPr lang="en-GB"/>
              <a:t>Fourth level</a:t>
            </a:r>
          </a:p>
        </p:txBody>
      </p:sp>
      <p:sp>
        <p:nvSpPr>
          <p:cNvPr id="30" name="Text Placeholder 29">
            <a:extLst>
              <a:ext uri="{FF2B5EF4-FFF2-40B4-BE49-F238E27FC236}">
                <a16:creationId xmlns:a16="http://schemas.microsoft.com/office/drawing/2014/main" id="{CF5B1B72-F00F-6139-E29F-46870D31571B}"/>
              </a:ext>
            </a:extLst>
          </p:cNvPr>
          <p:cNvSpPr>
            <a:spLocks noGrp="1"/>
          </p:cNvSpPr>
          <p:nvPr>
            <p:ph type="body" sz="quarter" idx="12" hasCustomPrompt="1"/>
          </p:nvPr>
        </p:nvSpPr>
        <p:spPr>
          <a:xfrm>
            <a:off x="533402" y="6438900"/>
            <a:ext cx="10096500" cy="200025"/>
          </a:xfrm>
          <a:prstGeom prst="rect">
            <a:avLst/>
          </a:prstGeom>
        </p:spPr>
        <p:txBody>
          <a:bodyPr lIns="0" tIns="0" rIns="0" bIns="0"/>
          <a:lstStyle>
            <a:lvl1pPr marL="0" indent="0" algn="r" rtl="0">
              <a:buNone/>
              <a:defRPr sz="800"/>
            </a:lvl1pPr>
          </a:lstStyle>
          <a:p>
            <a:pPr lvl="0"/>
            <a:r>
              <a:rPr lang="en-GB"/>
              <a:t>Source</a:t>
            </a:r>
          </a:p>
        </p:txBody>
      </p:sp>
      <p:sp>
        <p:nvSpPr>
          <p:cNvPr id="5" name="Rectangle 4">
            <a:extLst>
              <a:ext uri="{FF2B5EF4-FFF2-40B4-BE49-F238E27FC236}">
                <a16:creationId xmlns:a16="http://schemas.microsoft.com/office/drawing/2014/main" id="{07330E49-09C5-D143-055A-89E940141120}"/>
              </a:ext>
            </a:extLst>
          </p:cNvPr>
          <p:cNvSpPr/>
          <p:nvPr userDrawn="1"/>
        </p:nvSpPr>
        <p:spPr>
          <a:xfrm>
            <a:off x="10919462" y="6439081"/>
            <a:ext cx="739138" cy="199664"/>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r" defTabSz="914411" rtl="0" eaLnBrk="1" fontAlgn="auto" latinLnBrk="0" hangingPunct="0">
              <a:lnSpc>
                <a:spcPct val="100000"/>
              </a:lnSpc>
              <a:spcBef>
                <a:spcPts val="0"/>
              </a:spcBef>
              <a:spcAft>
                <a:spcPts val="0"/>
              </a:spcAft>
              <a:buClrTx/>
              <a:buSzTx/>
              <a:buFontTx/>
              <a:buNone/>
              <a:tabLst/>
              <a:defRPr/>
            </a:pPr>
            <a:fld id="{7D714CAC-FCAC-4601-B85B-8D52F293D633}" type="slidenum">
              <a:rPr kumimoji="0" lang="en-GB" sz="1200" b="0" i="0" u="none" strike="noStrike" kern="1200" cap="none" spc="0" normalizeH="0" baseline="0" noProof="0" smtClean="0">
                <a:ln>
                  <a:noFill/>
                </a:ln>
                <a:solidFill>
                  <a:srgbClr val="026D68"/>
                </a:solidFill>
                <a:effectLst/>
                <a:uLnTx/>
                <a:uFillTx/>
                <a:latin typeface="Arial"/>
                <a:ea typeface="+mn-ea"/>
                <a:cs typeface="DIN Next LT Arabic"/>
              </a:rPr>
              <a:pPr marL="0" marR="0" lvl="0" indent="0" algn="r" defTabSz="914411" rtl="0" eaLnBrk="1" fontAlgn="auto" latinLnBrk="0" hangingPunct="0">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srgbClr val="026D68"/>
              </a:solidFill>
              <a:effectLst/>
              <a:uLnTx/>
              <a:uFillTx/>
              <a:latin typeface="Arial"/>
              <a:ea typeface="+mn-ea"/>
              <a:cs typeface="DIN Next LT Arabic"/>
              <a:sym typeface="TheSansArab-Light"/>
            </a:endParaRPr>
          </a:p>
        </p:txBody>
      </p:sp>
      <p:sp>
        <p:nvSpPr>
          <p:cNvPr id="7" name="Rectangle 6">
            <a:extLst>
              <a:ext uri="{FF2B5EF4-FFF2-40B4-BE49-F238E27FC236}">
                <a16:creationId xmlns:a16="http://schemas.microsoft.com/office/drawing/2014/main" id="{AF7DAE31-D2F4-DF7A-D43D-6FB1E568B831}"/>
              </a:ext>
            </a:extLst>
          </p:cNvPr>
          <p:cNvSpPr/>
          <p:nvPr userDrawn="1"/>
        </p:nvSpPr>
        <p:spPr>
          <a:xfrm>
            <a:off x="533402" y="6683314"/>
            <a:ext cx="739138" cy="199664"/>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l" defTabSz="914411" rtl="0" eaLnBrk="1" fontAlgn="auto" latinLnBrk="0" hangingPunct="0">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26D68"/>
              </a:solidFill>
              <a:effectLst/>
              <a:uLnTx/>
              <a:uFillTx/>
              <a:latin typeface="Arial"/>
              <a:ea typeface="+mn-ea"/>
              <a:cs typeface="DIN Next LT Arabic"/>
            </a:endParaRPr>
          </a:p>
        </p:txBody>
      </p:sp>
      <p:cxnSp>
        <p:nvCxnSpPr>
          <p:cNvPr id="4" name="Straight Connector 3">
            <a:extLst>
              <a:ext uri="{FF2B5EF4-FFF2-40B4-BE49-F238E27FC236}">
                <a16:creationId xmlns:a16="http://schemas.microsoft.com/office/drawing/2014/main" id="{29AB7012-8AE2-EA69-B12D-569851AAF675}"/>
              </a:ext>
            </a:extLst>
          </p:cNvPr>
          <p:cNvCxnSpPr>
            <a:cxnSpLocks/>
          </p:cNvCxnSpPr>
          <p:nvPr userDrawn="1"/>
        </p:nvCxnSpPr>
        <p:spPr>
          <a:xfrm flipH="1">
            <a:off x="533402" y="6312286"/>
            <a:ext cx="11125200" cy="0"/>
          </a:xfrm>
          <a:prstGeom prst="line">
            <a:avLst/>
          </a:prstGeom>
          <a:noFill/>
          <a:ln w="12700" cap="flat">
            <a:gradFill flip="none" rotWithShape="1">
              <a:gsLst>
                <a:gs pos="0">
                  <a:schemeClr val="accent2"/>
                </a:gs>
                <a:gs pos="100000">
                  <a:schemeClr val="accent1"/>
                </a:gs>
              </a:gsLst>
              <a:path path="circle">
                <a:fillToRect l="100000" t="100000"/>
              </a:path>
              <a:tileRect r="-100000" b="-100000"/>
            </a:gradFill>
            <a:prstDash val="solid"/>
            <a:miter lim="800000"/>
          </a:ln>
          <a:effectLst/>
          <a:sp3d/>
        </p:spPr>
        <p:style>
          <a:lnRef idx="0">
            <a:scrgbClr r="0" g="0" b="0"/>
          </a:lnRef>
          <a:fillRef idx="0">
            <a:scrgbClr r="0" g="0" b="0"/>
          </a:fillRef>
          <a:effectRef idx="0">
            <a:scrgbClr r="0" g="0" b="0"/>
          </a:effectRef>
          <a:fontRef idx="none"/>
        </p:style>
      </p:cxnSp>
      <p:grpSp>
        <p:nvGrpSpPr>
          <p:cNvPr id="3" name="Group 2">
            <a:extLst>
              <a:ext uri="{FF2B5EF4-FFF2-40B4-BE49-F238E27FC236}">
                <a16:creationId xmlns:a16="http://schemas.microsoft.com/office/drawing/2014/main" id="{655F4DC6-0D89-7BC2-A095-9799E10E2CC0}"/>
              </a:ext>
            </a:extLst>
          </p:cNvPr>
          <p:cNvGrpSpPr/>
          <p:nvPr userDrawn="1"/>
        </p:nvGrpSpPr>
        <p:grpSpPr>
          <a:xfrm>
            <a:off x="-326713" y="0"/>
            <a:ext cx="257205" cy="6829500"/>
            <a:chOff x="-326714" y="0"/>
            <a:chExt cx="257205" cy="6829500"/>
          </a:xfrm>
        </p:grpSpPr>
        <p:grpSp>
          <p:nvGrpSpPr>
            <p:cNvPr id="10" name="Group 9">
              <a:extLst>
                <a:ext uri="{FF2B5EF4-FFF2-40B4-BE49-F238E27FC236}">
                  <a16:creationId xmlns:a16="http://schemas.microsoft.com/office/drawing/2014/main" id="{857F337F-91DD-DFF9-D4C6-913964325D10}"/>
                </a:ext>
              </a:extLst>
            </p:cNvPr>
            <p:cNvGrpSpPr/>
            <p:nvPr userDrawn="1"/>
          </p:nvGrpSpPr>
          <p:grpSpPr>
            <a:xfrm>
              <a:off x="-326714" y="0"/>
              <a:ext cx="257205" cy="565199"/>
              <a:chOff x="-326714" y="0"/>
              <a:chExt cx="257205" cy="565199"/>
            </a:xfrm>
          </p:grpSpPr>
          <p:sp>
            <p:nvSpPr>
              <p:cNvPr id="40" name="Rectangle 39">
                <a:extLst>
                  <a:ext uri="{FF2B5EF4-FFF2-40B4-BE49-F238E27FC236}">
                    <a16:creationId xmlns:a16="http://schemas.microsoft.com/office/drawing/2014/main" id="{A148C18A-0B31-AD7D-EBC2-861C2808C3D2}"/>
                  </a:ext>
                </a:extLst>
              </p:cNvPr>
              <p:cNvSpPr/>
              <p:nvPr userDrawn="1"/>
            </p:nvSpPr>
            <p:spPr>
              <a:xfrm>
                <a:off x="-326714" y="0"/>
                <a:ext cx="257205" cy="268349"/>
              </a:xfrm>
              <a:prstGeom prst="rect">
                <a:avLst/>
              </a:prstGeom>
              <a:solidFill>
                <a:schemeClr val="accent1">
                  <a:lumMod val="5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41" name="Rectangle 40">
                <a:extLst>
                  <a:ext uri="{FF2B5EF4-FFF2-40B4-BE49-F238E27FC236}">
                    <a16:creationId xmlns:a16="http://schemas.microsoft.com/office/drawing/2014/main" id="{00A1DA07-9C77-8D1C-9305-7A881EE45400}"/>
                  </a:ext>
                </a:extLst>
              </p:cNvPr>
              <p:cNvSpPr/>
              <p:nvPr userDrawn="1"/>
            </p:nvSpPr>
            <p:spPr>
              <a:xfrm>
                <a:off x="-326714" y="296850"/>
                <a:ext cx="257205" cy="268349"/>
              </a:xfrm>
              <a:prstGeom prst="rect">
                <a:avLst/>
              </a:prstGeom>
              <a:solidFill>
                <a:schemeClr val="accent1"/>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1" name="Group 10">
              <a:extLst>
                <a:ext uri="{FF2B5EF4-FFF2-40B4-BE49-F238E27FC236}">
                  <a16:creationId xmlns:a16="http://schemas.microsoft.com/office/drawing/2014/main" id="{B4125109-7D6D-6E5C-1D96-F8ACB6184125}"/>
                </a:ext>
              </a:extLst>
            </p:cNvPr>
            <p:cNvGrpSpPr/>
            <p:nvPr userDrawn="1"/>
          </p:nvGrpSpPr>
          <p:grpSpPr>
            <a:xfrm>
              <a:off x="-326714" y="682864"/>
              <a:ext cx="257205" cy="565199"/>
              <a:chOff x="-326714" y="593700"/>
              <a:chExt cx="257205" cy="565199"/>
            </a:xfrm>
          </p:grpSpPr>
          <p:sp>
            <p:nvSpPr>
              <p:cNvPr id="38" name="Rectangle 37">
                <a:extLst>
                  <a:ext uri="{FF2B5EF4-FFF2-40B4-BE49-F238E27FC236}">
                    <a16:creationId xmlns:a16="http://schemas.microsoft.com/office/drawing/2014/main" id="{CA8A6890-395D-5BE6-82EB-C9A9BE469611}"/>
                  </a:ext>
                </a:extLst>
              </p:cNvPr>
              <p:cNvSpPr/>
              <p:nvPr userDrawn="1"/>
            </p:nvSpPr>
            <p:spPr>
              <a:xfrm>
                <a:off x="-326714" y="890550"/>
                <a:ext cx="257205" cy="268349"/>
              </a:xfrm>
              <a:prstGeom prst="rect">
                <a:avLst/>
              </a:prstGeom>
              <a:solidFill>
                <a:schemeClr val="accent2"/>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9" name="Rectangle 38">
                <a:extLst>
                  <a:ext uri="{FF2B5EF4-FFF2-40B4-BE49-F238E27FC236}">
                    <a16:creationId xmlns:a16="http://schemas.microsoft.com/office/drawing/2014/main" id="{D4644D42-F801-8F77-111E-AE85E49818D5}"/>
                  </a:ext>
                </a:extLst>
              </p:cNvPr>
              <p:cNvSpPr/>
              <p:nvPr userDrawn="1"/>
            </p:nvSpPr>
            <p:spPr>
              <a:xfrm>
                <a:off x="-326714" y="593700"/>
                <a:ext cx="257205" cy="268349"/>
              </a:xfrm>
              <a:prstGeom prst="rect">
                <a:avLst/>
              </a:prstGeom>
              <a:solidFill>
                <a:schemeClr val="accent2">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2" name="Group 11">
              <a:extLst>
                <a:ext uri="{FF2B5EF4-FFF2-40B4-BE49-F238E27FC236}">
                  <a16:creationId xmlns:a16="http://schemas.microsoft.com/office/drawing/2014/main" id="{AA25D14D-1FA7-0927-E387-B737C54B1189}"/>
                </a:ext>
              </a:extLst>
            </p:cNvPr>
            <p:cNvGrpSpPr/>
            <p:nvPr userDrawn="1"/>
          </p:nvGrpSpPr>
          <p:grpSpPr>
            <a:xfrm>
              <a:off x="-326714" y="1365728"/>
              <a:ext cx="257205" cy="565201"/>
              <a:chOff x="-326714" y="1187399"/>
              <a:chExt cx="257205" cy="565201"/>
            </a:xfrm>
          </p:grpSpPr>
          <p:sp>
            <p:nvSpPr>
              <p:cNvPr id="36" name="Rectangle 35">
                <a:extLst>
                  <a:ext uri="{FF2B5EF4-FFF2-40B4-BE49-F238E27FC236}">
                    <a16:creationId xmlns:a16="http://schemas.microsoft.com/office/drawing/2014/main" id="{3D408C80-A421-0B61-EF5E-E1D90C30924F}"/>
                  </a:ext>
                </a:extLst>
              </p:cNvPr>
              <p:cNvSpPr/>
              <p:nvPr userDrawn="1"/>
            </p:nvSpPr>
            <p:spPr>
              <a:xfrm>
                <a:off x="-326714" y="1187399"/>
                <a:ext cx="257205" cy="268349"/>
              </a:xfrm>
              <a:prstGeom prst="rect">
                <a:avLst/>
              </a:prstGeom>
              <a:solidFill>
                <a:schemeClr val="accent3">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7" name="Rectangle 36">
                <a:extLst>
                  <a:ext uri="{FF2B5EF4-FFF2-40B4-BE49-F238E27FC236}">
                    <a16:creationId xmlns:a16="http://schemas.microsoft.com/office/drawing/2014/main" id="{45DD87E2-02B4-CA8A-84D1-06BB37F18D13}"/>
                  </a:ext>
                </a:extLst>
              </p:cNvPr>
              <p:cNvSpPr/>
              <p:nvPr userDrawn="1"/>
            </p:nvSpPr>
            <p:spPr>
              <a:xfrm>
                <a:off x="-326714" y="1484251"/>
                <a:ext cx="257205" cy="268349"/>
              </a:xfrm>
              <a:prstGeom prst="rect">
                <a:avLst/>
              </a:prstGeom>
              <a:solidFill>
                <a:schemeClr val="accent3"/>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3" name="Group 12">
              <a:extLst>
                <a:ext uri="{FF2B5EF4-FFF2-40B4-BE49-F238E27FC236}">
                  <a16:creationId xmlns:a16="http://schemas.microsoft.com/office/drawing/2014/main" id="{5D407563-E70D-554E-3F44-56F0BC489616}"/>
                </a:ext>
              </a:extLst>
            </p:cNvPr>
            <p:cNvGrpSpPr/>
            <p:nvPr userDrawn="1"/>
          </p:nvGrpSpPr>
          <p:grpSpPr>
            <a:xfrm>
              <a:off x="-326714" y="2048594"/>
              <a:ext cx="257205" cy="862049"/>
              <a:chOff x="-326714" y="1781103"/>
              <a:chExt cx="257205" cy="862049"/>
            </a:xfrm>
          </p:grpSpPr>
          <p:sp>
            <p:nvSpPr>
              <p:cNvPr id="33" name="Rectangle 32">
                <a:extLst>
                  <a:ext uri="{FF2B5EF4-FFF2-40B4-BE49-F238E27FC236}">
                    <a16:creationId xmlns:a16="http://schemas.microsoft.com/office/drawing/2014/main" id="{C3139AAD-2AE3-A8F2-C74B-DC39DD0F2BEF}"/>
                  </a:ext>
                </a:extLst>
              </p:cNvPr>
              <p:cNvSpPr/>
              <p:nvPr userDrawn="1"/>
            </p:nvSpPr>
            <p:spPr>
              <a:xfrm>
                <a:off x="-326714" y="1781103"/>
                <a:ext cx="257205" cy="268349"/>
              </a:xfrm>
              <a:prstGeom prst="rect">
                <a:avLst/>
              </a:prstGeom>
              <a:solidFill>
                <a:schemeClr val="accent4">
                  <a:lumMod val="5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4" name="Rectangle 33">
                <a:extLst>
                  <a:ext uri="{FF2B5EF4-FFF2-40B4-BE49-F238E27FC236}">
                    <a16:creationId xmlns:a16="http://schemas.microsoft.com/office/drawing/2014/main" id="{20A01CA8-2A54-80E3-5F24-1867A04AC1A2}"/>
                  </a:ext>
                </a:extLst>
              </p:cNvPr>
              <p:cNvSpPr/>
              <p:nvPr userDrawn="1"/>
            </p:nvSpPr>
            <p:spPr>
              <a:xfrm>
                <a:off x="-326714" y="2077953"/>
                <a:ext cx="257205" cy="268349"/>
              </a:xfrm>
              <a:prstGeom prst="rect">
                <a:avLst/>
              </a:prstGeom>
              <a:solidFill>
                <a:schemeClr val="accent4">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5" name="Rectangle 34">
                <a:extLst>
                  <a:ext uri="{FF2B5EF4-FFF2-40B4-BE49-F238E27FC236}">
                    <a16:creationId xmlns:a16="http://schemas.microsoft.com/office/drawing/2014/main" id="{8D136C36-64F5-0450-EFA6-C60719517F14}"/>
                  </a:ext>
                </a:extLst>
              </p:cNvPr>
              <p:cNvSpPr/>
              <p:nvPr userDrawn="1"/>
            </p:nvSpPr>
            <p:spPr>
              <a:xfrm>
                <a:off x="-326714" y="2374803"/>
                <a:ext cx="257205" cy="268349"/>
              </a:xfrm>
              <a:prstGeom prst="rect">
                <a:avLst/>
              </a:prstGeom>
              <a:solidFill>
                <a:schemeClr val="accent4"/>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4" name="Group 13">
              <a:extLst>
                <a:ext uri="{FF2B5EF4-FFF2-40B4-BE49-F238E27FC236}">
                  <a16:creationId xmlns:a16="http://schemas.microsoft.com/office/drawing/2014/main" id="{69068054-56F5-540F-B87C-EE7F1037750C}"/>
                </a:ext>
              </a:extLst>
            </p:cNvPr>
            <p:cNvGrpSpPr/>
            <p:nvPr userDrawn="1"/>
          </p:nvGrpSpPr>
          <p:grpSpPr>
            <a:xfrm>
              <a:off x="-326714" y="3028308"/>
              <a:ext cx="257205" cy="862050"/>
              <a:chOff x="-326714" y="2671653"/>
              <a:chExt cx="257205" cy="862050"/>
            </a:xfrm>
          </p:grpSpPr>
          <p:sp>
            <p:nvSpPr>
              <p:cNvPr id="29" name="Rectangle 28">
                <a:extLst>
                  <a:ext uri="{FF2B5EF4-FFF2-40B4-BE49-F238E27FC236}">
                    <a16:creationId xmlns:a16="http://schemas.microsoft.com/office/drawing/2014/main" id="{728879C4-2FEB-ED84-DDD3-F5E97A93B8A5}"/>
                  </a:ext>
                </a:extLst>
              </p:cNvPr>
              <p:cNvSpPr/>
              <p:nvPr userDrawn="1"/>
            </p:nvSpPr>
            <p:spPr>
              <a:xfrm>
                <a:off x="-326714" y="2671653"/>
                <a:ext cx="257205" cy="268349"/>
              </a:xfrm>
              <a:prstGeom prst="rect">
                <a:avLst/>
              </a:prstGeom>
              <a:solidFill>
                <a:schemeClr val="accent5">
                  <a:lumMod val="5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1" name="Rectangle 30">
                <a:extLst>
                  <a:ext uri="{FF2B5EF4-FFF2-40B4-BE49-F238E27FC236}">
                    <a16:creationId xmlns:a16="http://schemas.microsoft.com/office/drawing/2014/main" id="{2FC4AC54-7ECE-003F-CBE1-98686811E65E}"/>
                  </a:ext>
                </a:extLst>
              </p:cNvPr>
              <p:cNvSpPr/>
              <p:nvPr userDrawn="1"/>
            </p:nvSpPr>
            <p:spPr>
              <a:xfrm>
                <a:off x="-326714" y="2968502"/>
                <a:ext cx="257205" cy="268349"/>
              </a:xfrm>
              <a:prstGeom prst="rect">
                <a:avLst/>
              </a:prstGeom>
              <a:solidFill>
                <a:schemeClr val="accent5"/>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32" name="Rectangle 31">
                <a:extLst>
                  <a:ext uri="{FF2B5EF4-FFF2-40B4-BE49-F238E27FC236}">
                    <a16:creationId xmlns:a16="http://schemas.microsoft.com/office/drawing/2014/main" id="{76C5D677-D68D-6A1D-6AE6-BE0084542F50}"/>
                  </a:ext>
                </a:extLst>
              </p:cNvPr>
              <p:cNvSpPr/>
              <p:nvPr userDrawn="1"/>
            </p:nvSpPr>
            <p:spPr>
              <a:xfrm>
                <a:off x="-326714" y="3265354"/>
                <a:ext cx="257205" cy="268349"/>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6" name="Group 15">
              <a:extLst>
                <a:ext uri="{FF2B5EF4-FFF2-40B4-BE49-F238E27FC236}">
                  <a16:creationId xmlns:a16="http://schemas.microsoft.com/office/drawing/2014/main" id="{11AFC8E7-6BB2-8084-D61A-98C2BE2BFC48}"/>
                </a:ext>
              </a:extLst>
            </p:cNvPr>
            <p:cNvGrpSpPr/>
            <p:nvPr userDrawn="1"/>
          </p:nvGrpSpPr>
          <p:grpSpPr>
            <a:xfrm>
              <a:off x="-326714" y="4008023"/>
              <a:ext cx="257205" cy="862049"/>
              <a:chOff x="-326714" y="3562206"/>
              <a:chExt cx="257205" cy="862049"/>
            </a:xfrm>
          </p:grpSpPr>
          <p:sp>
            <p:nvSpPr>
              <p:cNvPr id="26" name="Rectangle 25">
                <a:extLst>
                  <a:ext uri="{FF2B5EF4-FFF2-40B4-BE49-F238E27FC236}">
                    <a16:creationId xmlns:a16="http://schemas.microsoft.com/office/drawing/2014/main" id="{2AEBF6AF-B050-A7AF-9ABF-B40C03623D6D}"/>
                  </a:ext>
                </a:extLst>
              </p:cNvPr>
              <p:cNvSpPr/>
              <p:nvPr userDrawn="1"/>
            </p:nvSpPr>
            <p:spPr>
              <a:xfrm>
                <a:off x="-326714" y="3562206"/>
                <a:ext cx="257205" cy="268349"/>
              </a:xfrm>
              <a:prstGeom prst="rect">
                <a:avLst/>
              </a:prstGeom>
              <a:solidFill>
                <a:schemeClr val="accent6">
                  <a:lumMod val="75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7" name="Rectangle 26">
                <a:extLst>
                  <a:ext uri="{FF2B5EF4-FFF2-40B4-BE49-F238E27FC236}">
                    <a16:creationId xmlns:a16="http://schemas.microsoft.com/office/drawing/2014/main" id="{5E92805B-5E11-37F2-5C87-7832C191D141}"/>
                  </a:ext>
                </a:extLst>
              </p:cNvPr>
              <p:cNvSpPr/>
              <p:nvPr userDrawn="1"/>
            </p:nvSpPr>
            <p:spPr>
              <a:xfrm>
                <a:off x="-326714" y="3859056"/>
                <a:ext cx="257205" cy="268349"/>
              </a:xfrm>
              <a:prstGeom prst="rect">
                <a:avLst/>
              </a:prstGeom>
              <a:solidFill>
                <a:schemeClr val="accent6"/>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8" name="Rectangle 27">
                <a:extLst>
                  <a:ext uri="{FF2B5EF4-FFF2-40B4-BE49-F238E27FC236}">
                    <a16:creationId xmlns:a16="http://schemas.microsoft.com/office/drawing/2014/main" id="{BAFDB944-42AA-E6A1-72B0-25417E665240}"/>
                  </a:ext>
                </a:extLst>
              </p:cNvPr>
              <p:cNvSpPr/>
              <p:nvPr userDrawn="1"/>
            </p:nvSpPr>
            <p:spPr>
              <a:xfrm>
                <a:off x="-326714" y="4155906"/>
                <a:ext cx="257205" cy="268349"/>
              </a:xfrm>
              <a:prstGeom prst="rect">
                <a:avLst/>
              </a:prstGeom>
              <a:solidFill>
                <a:schemeClr val="accent6">
                  <a:lumMod val="20000"/>
                  <a:lumOff val="80000"/>
                </a:scheme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7" name="Group 16">
              <a:extLst>
                <a:ext uri="{FF2B5EF4-FFF2-40B4-BE49-F238E27FC236}">
                  <a16:creationId xmlns:a16="http://schemas.microsoft.com/office/drawing/2014/main" id="{F5E40496-8EF5-2132-05E0-88F2DC6E187D}"/>
                </a:ext>
              </a:extLst>
            </p:cNvPr>
            <p:cNvGrpSpPr/>
            <p:nvPr userDrawn="1"/>
          </p:nvGrpSpPr>
          <p:grpSpPr>
            <a:xfrm>
              <a:off x="-326714" y="4987737"/>
              <a:ext cx="257205" cy="862049"/>
              <a:chOff x="-326714" y="4452756"/>
              <a:chExt cx="257205" cy="862049"/>
            </a:xfrm>
          </p:grpSpPr>
          <p:sp>
            <p:nvSpPr>
              <p:cNvPr id="23" name="Rectangle 22">
                <a:extLst>
                  <a:ext uri="{FF2B5EF4-FFF2-40B4-BE49-F238E27FC236}">
                    <a16:creationId xmlns:a16="http://schemas.microsoft.com/office/drawing/2014/main" id="{1E505D23-9704-954E-0DD7-A55A8BBBBA7D}"/>
                  </a:ext>
                </a:extLst>
              </p:cNvPr>
              <p:cNvSpPr/>
              <p:nvPr userDrawn="1"/>
            </p:nvSpPr>
            <p:spPr>
              <a:xfrm>
                <a:off x="-326714" y="4452756"/>
                <a:ext cx="257205" cy="268349"/>
              </a:xfrm>
              <a:prstGeom prst="rect">
                <a:avLst/>
              </a:prstGeom>
              <a:solidFill>
                <a:srgbClr val="EF5F07">
                  <a:lumMod val="75000"/>
                </a:srgbClr>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4" name="Rectangle 23">
                <a:extLst>
                  <a:ext uri="{FF2B5EF4-FFF2-40B4-BE49-F238E27FC236}">
                    <a16:creationId xmlns:a16="http://schemas.microsoft.com/office/drawing/2014/main" id="{B3C9864F-473D-2318-F942-418BA58AC4F7}"/>
                  </a:ext>
                </a:extLst>
              </p:cNvPr>
              <p:cNvSpPr/>
              <p:nvPr userDrawn="1"/>
            </p:nvSpPr>
            <p:spPr>
              <a:xfrm>
                <a:off x="-326714" y="4749606"/>
                <a:ext cx="257205" cy="268349"/>
              </a:xfrm>
              <a:prstGeom prst="rect">
                <a:avLst/>
              </a:prstGeom>
              <a:solidFill>
                <a:srgbClr val="F36107"/>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5" name="Rectangle 24">
                <a:extLst>
                  <a:ext uri="{FF2B5EF4-FFF2-40B4-BE49-F238E27FC236}">
                    <a16:creationId xmlns:a16="http://schemas.microsoft.com/office/drawing/2014/main" id="{FF9E4117-43A7-B10C-C6BC-8723FC6B7F4F}"/>
                  </a:ext>
                </a:extLst>
              </p:cNvPr>
              <p:cNvSpPr/>
              <p:nvPr userDrawn="1"/>
            </p:nvSpPr>
            <p:spPr>
              <a:xfrm>
                <a:off x="-326714" y="5046456"/>
                <a:ext cx="257205" cy="268349"/>
              </a:xfrm>
              <a:prstGeom prst="rect">
                <a:avLst/>
              </a:prstGeom>
              <a:solidFill>
                <a:srgbClr val="FBAB79"/>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nvGrpSpPr>
            <p:cNvPr id="18" name="Group 17">
              <a:extLst>
                <a:ext uri="{FF2B5EF4-FFF2-40B4-BE49-F238E27FC236}">
                  <a16:creationId xmlns:a16="http://schemas.microsoft.com/office/drawing/2014/main" id="{41ED7C40-31D8-421F-33A3-290491FB7321}"/>
                </a:ext>
              </a:extLst>
            </p:cNvPr>
            <p:cNvGrpSpPr/>
            <p:nvPr userDrawn="1"/>
          </p:nvGrpSpPr>
          <p:grpSpPr>
            <a:xfrm>
              <a:off x="-326714" y="5967450"/>
              <a:ext cx="257205" cy="862050"/>
              <a:chOff x="-326714" y="5343306"/>
              <a:chExt cx="257205" cy="862050"/>
            </a:xfrm>
          </p:grpSpPr>
          <p:sp>
            <p:nvSpPr>
              <p:cNvPr id="20" name="Rectangle 19">
                <a:extLst>
                  <a:ext uri="{FF2B5EF4-FFF2-40B4-BE49-F238E27FC236}">
                    <a16:creationId xmlns:a16="http://schemas.microsoft.com/office/drawing/2014/main" id="{78A607E8-5CD6-C0D2-1200-B8600DCB47BC}"/>
                  </a:ext>
                </a:extLst>
              </p:cNvPr>
              <p:cNvSpPr/>
              <p:nvPr userDrawn="1"/>
            </p:nvSpPr>
            <p:spPr>
              <a:xfrm>
                <a:off x="-326714" y="5343306"/>
                <a:ext cx="257205" cy="268349"/>
              </a:xfrm>
              <a:prstGeom prst="rect">
                <a:avLst/>
              </a:prstGeom>
              <a:solidFill>
                <a:srgbClr val="6C89A8"/>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1" name="Rectangle 20">
                <a:extLst>
                  <a:ext uri="{FF2B5EF4-FFF2-40B4-BE49-F238E27FC236}">
                    <a16:creationId xmlns:a16="http://schemas.microsoft.com/office/drawing/2014/main" id="{D4789B35-6228-4F26-CBE2-CA79FEBD6B6A}"/>
                  </a:ext>
                </a:extLst>
              </p:cNvPr>
              <p:cNvSpPr/>
              <p:nvPr userDrawn="1"/>
            </p:nvSpPr>
            <p:spPr>
              <a:xfrm>
                <a:off x="-326714" y="5640155"/>
                <a:ext cx="257205" cy="268349"/>
              </a:xfrm>
              <a:prstGeom prst="rect">
                <a:avLst/>
              </a:prstGeom>
              <a:solidFill>
                <a:srgbClr val="ADBDCF"/>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sp>
            <p:nvSpPr>
              <p:cNvPr id="22" name="Rectangle 21">
                <a:extLst>
                  <a:ext uri="{FF2B5EF4-FFF2-40B4-BE49-F238E27FC236}">
                    <a16:creationId xmlns:a16="http://schemas.microsoft.com/office/drawing/2014/main" id="{46DFE7B4-D3DE-D47D-CFE1-3C36A5AC7A86}"/>
                  </a:ext>
                </a:extLst>
              </p:cNvPr>
              <p:cNvSpPr/>
              <p:nvPr userDrawn="1"/>
            </p:nvSpPr>
            <p:spPr>
              <a:xfrm>
                <a:off x="-326714" y="5937007"/>
                <a:ext cx="257205" cy="268349"/>
              </a:xfrm>
              <a:prstGeom prst="rect">
                <a:avLst/>
              </a:prstGeom>
              <a:solidFill>
                <a:srgbClr val="D2DBE4"/>
              </a:solidFill>
              <a:ln w="12700" cap="flat" cmpd="sng" algn="ctr">
                <a:noFill/>
                <a:prstDash val="solid"/>
                <a:miter lim="800000"/>
              </a:ln>
              <a:effectLst/>
            </p:spPr>
            <p:txBody>
              <a:bodyPr rtlCol="0" anchor="ctr"/>
              <a:lstStyle/>
              <a:p>
                <a:pPr marL="0" marR="0" lvl="0" indent="0" algn="l" defTabSz="914457"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a:cs typeface="DIN Next LT Arabic"/>
                </a:endParaRPr>
              </a:p>
            </p:txBody>
          </p:sp>
        </p:grpSp>
      </p:grpSp>
      <p:grpSp>
        <p:nvGrpSpPr>
          <p:cNvPr id="46" name="Group 45">
            <a:extLst>
              <a:ext uri="{FF2B5EF4-FFF2-40B4-BE49-F238E27FC236}">
                <a16:creationId xmlns:a16="http://schemas.microsoft.com/office/drawing/2014/main" id="{82A290D1-633E-B85E-3C2D-B0A0E874D5C7}"/>
              </a:ext>
            </a:extLst>
          </p:cNvPr>
          <p:cNvGrpSpPr>
            <a:grpSpLocks noChangeAspect="1"/>
          </p:cNvGrpSpPr>
          <p:nvPr userDrawn="1"/>
        </p:nvGrpSpPr>
        <p:grpSpPr>
          <a:xfrm>
            <a:off x="10945987" y="425640"/>
            <a:ext cx="708141" cy="711483"/>
            <a:chOff x="10271050" y="2141138"/>
            <a:chExt cx="799204" cy="795027"/>
          </a:xfrm>
        </p:grpSpPr>
        <p:pic>
          <p:nvPicPr>
            <p:cNvPr id="47" name="Picture 2" descr="Ministry of Municipal and Rural Affairs">
              <a:extLst>
                <a:ext uri="{FF2B5EF4-FFF2-40B4-BE49-F238E27FC236}">
                  <a16:creationId xmlns:a16="http://schemas.microsoft.com/office/drawing/2014/main" id="{3E60DF68-C3C6-DB31-3E1D-D574B8F24D7C}"/>
                </a:ext>
              </a:extLst>
            </p:cNvPr>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10397719" y="2141138"/>
              <a:ext cx="545866" cy="51290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Ministry of Municipal and Rural Affairs">
              <a:extLst>
                <a:ext uri="{FF2B5EF4-FFF2-40B4-BE49-F238E27FC236}">
                  <a16:creationId xmlns:a16="http://schemas.microsoft.com/office/drawing/2014/main" id="{C6183503-7560-8C44-481F-CE4430D3EBE7}"/>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10271050" y="2589268"/>
              <a:ext cx="799204" cy="34689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38897553"/>
      </p:ext>
    </p:extLst>
  </p:cSld>
  <p:clrMapOvr>
    <a:masterClrMapping/>
  </p:clrMapOvr>
  <p:transition spd="med"/>
  <p:hf hdr="0" ft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7333">
          <p15:clr>
            <a:srgbClr val="FBAE40"/>
          </p15:clr>
        </p15:guide>
        <p15:guide id="4" pos="325">
          <p15:clr>
            <a:srgbClr val="FBAE40"/>
          </p15:clr>
        </p15:guide>
        <p15:guide id="5" orient="horz" pos="323">
          <p15:clr>
            <a:srgbClr val="FBAE40"/>
          </p15:clr>
        </p15:guide>
        <p15:guide id="6" orient="horz" pos="397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قيمتنا المضافة">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EBA4A4F6-A938-ADC7-DFCA-AA74FAB46549}"/>
              </a:ext>
            </a:extLst>
          </p:cNvPr>
          <p:cNvPicPr>
            <a:picLocks noChangeAspect="1"/>
          </p:cNvPicPr>
          <p:nvPr userDrawn="1"/>
        </p:nvPicPr>
        <p:blipFill>
          <a:blip r:embed="rId3" cstate="print">
            <a:grayscl/>
            <a:alphaModFix amt="4000"/>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0742855"/>
              </p:ext>
            </p:extLst>
          </p:nvPr>
        </p:nvGraphicFramePr>
        <p:xfrm>
          <a:off x="1957" y="1589"/>
          <a:ext cx="1953" cy="1587"/>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2" name="Object 1" hidden="1"/>
                      <p:cNvPicPr/>
                      <p:nvPr/>
                    </p:nvPicPr>
                    <p:blipFill>
                      <a:blip r:embed="rId6"/>
                      <a:stretch>
                        <a:fillRect/>
                      </a:stretch>
                    </p:blipFill>
                    <p:spPr>
                      <a:xfrm>
                        <a:off x="1957" y="1589"/>
                        <a:ext cx="1953"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3C2E91B9-E4C7-A826-D750-E8E3DBD36CE8}"/>
              </a:ext>
            </a:extLst>
          </p:cNvPr>
          <p:cNvGrpSpPr/>
          <p:nvPr userDrawn="1"/>
        </p:nvGrpSpPr>
        <p:grpSpPr>
          <a:xfrm>
            <a:off x="0" y="0"/>
            <a:ext cx="12192000" cy="6858000"/>
            <a:chOff x="0" y="0"/>
            <a:chExt cx="9144000" cy="5143500"/>
          </a:xfrm>
        </p:grpSpPr>
        <p:sp>
          <p:nvSpPr>
            <p:cNvPr id="6" name="PwCFirm">
              <a:extLst>
                <a:ext uri="{FF2B5EF4-FFF2-40B4-BE49-F238E27FC236}">
                  <a16:creationId xmlns:a16="http://schemas.microsoft.com/office/drawing/2014/main" id="{D85DE0DF-D0FB-36DC-6746-155BA3B8A7B3}"/>
                </a:ext>
              </a:extLst>
            </p:cNvPr>
            <p:cNvSpPr txBox="1"/>
            <p:nvPr userDrawn="1"/>
          </p:nvSpPr>
          <p:spPr>
            <a:xfrm>
              <a:off x="6418684" y="4992981"/>
              <a:ext cx="2194560" cy="137160"/>
            </a:xfrm>
            <a:prstGeom prst="rect">
              <a:avLst/>
            </a:prstGeom>
            <a:noFill/>
          </p:spPr>
          <p:txBody>
            <a:bodyPr wrap="square" lIns="0" tIns="0" rIns="0" bIns="0" rtlCol="0" anchor="b" anchorCtr="0">
              <a:noAutofit/>
            </a:bodyPr>
            <a:lstStyle>
              <a:defPPr>
                <a:defRPr lang="en-US"/>
              </a:defPPr>
              <a:lvl1pPr>
                <a:defRPr sz="750" b="0"/>
              </a:lvl1pPr>
            </a:lstStyle>
            <a:p>
              <a:pPr lvl="0" algn="l" rtl="0"/>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مشروع</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بناء</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أدوات</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وأنظمة</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دعم</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القرار</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برايس</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وترهاوس</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r>
                <a:rPr kumimoji="0" lang="en-GB" sz="1200" b="0" i="0" u="none" strike="noStrike" kern="1200" cap="none" spc="0" normalizeH="0" baseline="0" noProof="0" err="1">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كوبرز</a:t>
              </a:r>
              <a:r>
                <a:rPr kumimoji="0" lang="en-GB" sz="1200" b="0" i="0" u="none" strike="noStrike" kern="1200" cap="none" spc="0" normalizeH="0" baseline="0" noProof="0">
                  <a:ln>
                    <a:noFill/>
                  </a:ln>
                  <a:solidFill>
                    <a:schemeClr val="tx2"/>
                  </a:solidFill>
                  <a:effectLst/>
                  <a:uLnTx/>
                  <a:uFillTx/>
                  <a:latin typeface="Sakkal Majalla" panose="02000000000000000000" pitchFamily="2" charset="-78"/>
                  <a:ea typeface="+mn-ea"/>
                  <a:cs typeface="Sakkal Majalla" panose="02000000000000000000" pitchFamily="2" charset="-78"/>
                  <a:sym typeface="Arial"/>
                </a:rPr>
                <a:t> </a:t>
              </a:r>
            </a:p>
          </p:txBody>
        </p:sp>
        <p:grpSp>
          <p:nvGrpSpPr>
            <p:cNvPr id="8" name="Group 7">
              <a:extLst>
                <a:ext uri="{FF2B5EF4-FFF2-40B4-BE49-F238E27FC236}">
                  <a16:creationId xmlns:a16="http://schemas.microsoft.com/office/drawing/2014/main" id="{B1252400-666F-233F-BF0E-137FDDD38155}"/>
                </a:ext>
              </a:extLst>
            </p:cNvPr>
            <p:cNvGrpSpPr/>
            <p:nvPr userDrawn="1"/>
          </p:nvGrpSpPr>
          <p:grpSpPr>
            <a:xfrm>
              <a:off x="0" y="4622022"/>
              <a:ext cx="1000036" cy="521478"/>
              <a:chOff x="-3713" y="6158552"/>
              <a:chExt cx="1342492" cy="700055"/>
            </a:xfrm>
          </p:grpSpPr>
          <p:sp>
            <p:nvSpPr>
              <p:cNvPr id="27" name="Freeform: Shape 26">
                <a:extLst>
                  <a:ext uri="{FF2B5EF4-FFF2-40B4-BE49-F238E27FC236}">
                    <a16:creationId xmlns:a16="http://schemas.microsoft.com/office/drawing/2014/main" id="{150BE25D-43B2-1954-D8D2-8BD8511763BA}"/>
                  </a:ext>
                </a:extLst>
              </p:cNvPr>
              <p:cNvSpPr/>
              <p:nvPr/>
            </p:nvSpPr>
            <p:spPr>
              <a:xfrm flipH="1">
                <a:off x="-2321" y="6647606"/>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alpha val="50000"/>
                </a:schemeClr>
              </a:solidFill>
              <a:ln w="5838" cap="flat">
                <a:noFill/>
                <a:prstDash val="solid"/>
                <a:miter/>
              </a:ln>
            </p:spPr>
            <p:txBody>
              <a:bodyPr rtlCol="0" anchor="ctr"/>
              <a:lstStyle/>
              <a:p>
                <a:pPr rtl="0"/>
                <a:endParaRPr lang="en-GB" sz="2400"/>
              </a:p>
            </p:txBody>
          </p:sp>
          <p:sp>
            <p:nvSpPr>
              <p:cNvPr id="28" name="Freeform: Shape 27">
                <a:extLst>
                  <a:ext uri="{FF2B5EF4-FFF2-40B4-BE49-F238E27FC236}">
                    <a16:creationId xmlns:a16="http://schemas.microsoft.com/office/drawing/2014/main" id="{D78E358F-40E4-C327-743A-F37CC8BE109A}"/>
                  </a:ext>
                </a:extLst>
              </p:cNvPr>
              <p:cNvSpPr/>
              <p:nvPr/>
            </p:nvSpPr>
            <p:spPr>
              <a:xfrm flipH="1">
                <a:off x="-3713" y="6647606"/>
                <a:ext cx="211002" cy="211001"/>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bg2"/>
              </a:solidFill>
              <a:ln w="5838" cap="flat">
                <a:noFill/>
                <a:prstDash val="solid"/>
                <a:miter/>
              </a:ln>
            </p:spPr>
            <p:txBody>
              <a:bodyPr rtlCol="0" anchor="ctr"/>
              <a:lstStyle/>
              <a:p>
                <a:pPr rtl="0"/>
                <a:endParaRPr lang="en-GB" sz="2400"/>
              </a:p>
            </p:txBody>
          </p:sp>
          <p:sp>
            <p:nvSpPr>
              <p:cNvPr id="29" name="Freeform: Shape 28">
                <a:extLst>
                  <a:ext uri="{FF2B5EF4-FFF2-40B4-BE49-F238E27FC236}">
                    <a16:creationId xmlns:a16="http://schemas.microsoft.com/office/drawing/2014/main" id="{10CC0EAE-6B46-5FEB-3801-54A37CF951FF}"/>
                  </a:ext>
                </a:extLst>
              </p:cNvPr>
              <p:cNvSpPr/>
              <p:nvPr/>
            </p:nvSpPr>
            <p:spPr>
              <a:xfrm flipH="1">
                <a:off x="228305" y="6647606"/>
                <a:ext cx="211002" cy="211001"/>
              </a:xfrm>
              <a:custGeom>
                <a:avLst/>
                <a:gdLst>
                  <a:gd name="connsiteX0" fmla="*/ 817307 w 817306"/>
                  <a:gd name="connsiteY0" fmla="*/ 817306 h 817306"/>
                  <a:gd name="connsiteX1" fmla="*/ 0 w 817306"/>
                  <a:gd name="connsiteY1" fmla="*/ 0 h 817306"/>
                  <a:gd name="connsiteX2" fmla="*/ 817307 w 817306"/>
                  <a:gd name="connsiteY2" fmla="*/ 0 h 817306"/>
                </a:gdLst>
                <a:ahLst/>
                <a:cxnLst>
                  <a:cxn ang="0">
                    <a:pos x="connsiteX0" y="connsiteY0"/>
                  </a:cxn>
                  <a:cxn ang="0">
                    <a:pos x="connsiteX1" y="connsiteY1"/>
                  </a:cxn>
                  <a:cxn ang="0">
                    <a:pos x="connsiteX2" y="connsiteY2"/>
                  </a:cxn>
                </a:cxnLst>
                <a:rect l="l" t="t" r="r" b="b"/>
                <a:pathLst>
                  <a:path w="817306" h="817306">
                    <a:moveTo>
                      <a:pt x="817307" y="817306"/>
                    </a:moveTo>
                    <a:lnTo>
                      <a:pt x="0" y="0"/>
                    </a:lnTo>
                    <a:lnTo>
                      <a:pt x="817307" y="0"/>
                    </a:lnTo>
                    <a:close/>
                  </a:path>
                </a:pathLst>
              </a:custGeom>
              <a:solidFill>
                <a:schemeClr val="accent3"/>
              </a:solidFill>
              <a:ln w="5838" cap="flat">
                <a:noFill/>
                <a:prstDash val="solid"/>
                <a:miter/>
              </a:ln>
            </p:spPr>
            <p:txBody>
              <a:bodyPr rtlCol="0" anchor="ctr"/>
              <a:lstStyle/>
              <a:p>
                <a:pPr rtl="0"/>
                <a:endParaRPr lang="en-GB" sz="2400"/>
              </a:p>
            </p:txBody>
          </p:sp>
          <p:sp>
            <p:nvSpPr>
              <p:cNvPr id="33" name="Freeform: Shape 32">
                <a:extLst>
                  <a:ext uri="{FF2B5EF4-FFF2-40B4-BE49-F238E27FC236}">
                    <a16:creationId xmlns:a16="http://schemas.microsoft.com/office/drawing/2014/main" id="{9FFA8048-7DF7-5118-0A24-928035D5EB4E}"/>
                  </a:ext>
                </a:extLst>
              </p:cNvPr>
              <p:cNvSpPr/>
              <p:nvPr/>
            </p:nvSpPr>
            <p:spPr>
              <a:xfrm flipH="1">
                <a:off x="439307" y="6647606"/>
                <a:ext cx="211002" cy="211001"/>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accent3"/>
              </a:solidFill>
              <a:ln w="5838" cap="flat">
                <a:noFill/>
                <a:prstDash val="solid"/>
                <a:miter/>
              </a:ln>
            </p:spPr>
            <p:txBody>
              <a:bodyPr rtlCol="0" anchor="ctr"/>
              <a:lstStyle/>
              <a:p>
                <a:pPr rtl="0"/>
                <a:endParaRPr lang="en-GB" sz="2400"/>
              </a:p>
            </p:txBody>
          </p:sp>
          <p:sp>
            <p:nvSpPr>
              <p:cNvPr id="34" name="Freeform: Shape 33">
                <a:extLst>
                  <a:ext uri="{FF2B5EF4-FFF2-40B4-BE49-F238E27FC236}">
                    <a16:creationId xmlns:a16="http://schemas.microsoft.com/office/drawing/2014/main" id="{9D3C8F14-C33E-065C-2065-E0F5C0AA7FD7}"/>
                  </a:ext>
                </a:extLst>
              </p:cNvPr>
              <p:cNvSpPr/>
              <p:nvPr userDrawn="1"/>
            </p:nvSpPr>
            <p:spPr>
              <a:xfrm rot="16200000" flipH="1">
                <a:off x="226593" y="6647606"/>
                <a:ext cx="211001" cy="211002"/>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nvGrpSpPr>
              <p:cNvPr id="35" name="Group 34">
                <a:extLst>
                  <a:ext uri="{FF2B5EF4-FFF2-40B4-BE49-F238E27FC236}">
                    <a16:creationId xmlns:a16="http://schemas.microsoft.com/office/drawing/2014/main" id="{76349818-B5B1-FCFF-90B2-972D98DF1B40}"/>
                  </a:ext>
                </a:extLst>
              </p:cNvPr>
              <p:cNvGrpSpPr/>
              <p:nvPr userDrawn="1"/>
            </p:nvGrpSpPr>
            <p:grpSpPr>
              <a:xfrm>
                <a:off x="662717" y="6647606"/>
                <a:ext cx="451301" cy="211001"/>
                <a:chOff x="650309" y="6647606"/>
                <a:chExt cx="451301" cy="211001"/>
              </a:xfrm>
            </p:grpSpPr>
            <p:sp>
              <p:nvSpPr>
                <p:cNvPr id="43" name="Freeform: Shape 42">
                  <a:extLst>
                    <a:ext uri="{FF2B5EF4-FFF2-40B4-BE49-F238E27FC236}">
                      <a16:creationId xmlns:a16="http://schemas.microsoft.com/office/drawing/2014/main" id="{628520C7-1ECB-E19F-BF98-F2505823BA2E}"/>
                    </a:ext>
                  </a:extLst>
                </p:cNvPr>
                <p:cNvSpPr/>
                <p:nvPr/>
              </p:nvSpPr>
              <p:spPr>
                <a:xfrm flipH="1">
                  <a:off x="650309" y="6647606"/>
                  <a:ext cx="211002" cy="211001"/>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44" name="Freeform: Shape 43">
                  <a:extLst>
                    <a:ext uri="{FF2B5EF4-FFF2-40B4-BE49-F238E27FC236}">
                      <a16:creationId xmlns:a16="http://schemas.microsoft.com/office/drawing/2014/main" id="{737A8C62-BE1B-E46C-D081-29D5A7020DA1}"/>
                    </a:ext>
                  </a:extLst>
                </p:cNvPr>
                <p:cNvSpPr/>
                <p:nvPr/>
              </p:nvSpPr>
              <p:spPr>
                <a:xfrm flipH="1">
                  <a:off x="650309" y="6647606"/>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45" name="Freeform: Shape 44">
                  <a:extLst>
                    <a:ext uri="{FF2B5EF4-FFF2-40B4-BE49-F238E27FC236}">
                      <a16:creationId xmlns:a16="http://schemas.microsoft.com/office/drawing/2014/main" id="{312A25A2-9475-92BE-98B0-4712B07E63A1}"/>
                    </a:ext>
                  </a:extLst>
                </p:cNvPr>
                <p:cNvSpPr/>
                <p:nvPr/>
              </p:nvSpPr>
              <p:spPr>
                <a:xfrm flipH="1">
                  <a:off x="889042" y="6647606"/>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solidFill>
                <a:ln w="5838" cap="flat">
                  <a:noFill/>
                  <a:prstDash val="solid"/>
                  <a:miter/>
                </a:ln>
              </p:spPr>
              <p:txBody>
                <a:bodyPr rtlCol="0" anchor="ctr"/>
                <a:lstStyle/>
                <a:p>
                  <a:pPr rtl="0"/>
                  <a:endParaRPr lang="en-GB" sz="2400"/>
                </a:p>
              </p:txBody>
            </p:sp>
            <p:sp>
              <p:nvSpPr>
                <p:cNvPr id="46" name="Freeform: Shape 45">
                  <a:extLst>
                    <a:ext uri="{FF2B5EF4-FFF2-40B4-BE49-F238E27FC236}">
                      <a16:creationId xmlns:a16="http://schemas.microsoft.com/office/drawing/2014/main" id="{B56E6C62-2D06-9611-27FD-D5EF3310C917}"/>
                    </a:ext>
                  </a:extLst>
                </p:cNvPr>
                <p:cNvSpPr/>
                <p:nvPr userDrawn="1"/>
              </p:nvSpPr>
              <p:spPr>
                <a:xfrm flipH="1">
                  <a:off x="890608" y="6647606"/>
                  <a:ext cx="211002" cy="211001"/>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tx2">
                    <a:alpha val="50000"/>
                  </a:schemeClr>
                </a:solidFill>
                <a:ln w="5838" cap="flat">
                  <a:noFill/>
                  <a:prstDash val="solid"/>
                  <a:miter/>
                </a:ln>
              </p:spPr>
              <p:txBody>
                <a:bodyPr rtlCol="0" anchor="ctr"/>
                <a:lstStyle/>
                <a:p>
                  <a:pPr rtl="0"/>
                  <a:endParaRPr lang="en-GB" sz="2400"/>
                </a:p>
              </p:txBody>
            </p:sp>
          </p:grpSp>
          <p:sp>
            <p:nvSpPr>
              <p:cNvPr id="36" name="Freeform: Shape 35">
                <a:extLst>
                  <a:ext uri="{FF2B5EF4-FFF2-40B4-BE49-F238E27FC236}">
                    <a16:creationId xmlns:a16="http://schemas.microsoft.com/office/drawing/2014/main" id="{EDEB86B0-EED0-45EA-E2AA-910EA4D8F24F}"/>
                  </a:ext>
                </a:extLst>
              </p:cNvPr>
              <p:cNvSpPr/>
              <p:nvPr userDrawn="1"/>
            </p:nvSpPr>
            <p:spPr>
              <a:xfrm rot="16200000" flipH="1">
                <a:off x="1127777" y="6647606"/>
                <a:ext cx="211001" cy="211002"/>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sp>
            <p:nvSpPr>
              <p:cNvPr id="37" name="Freeform: Shape 36">
                <a:extLst>
                  <a:ext uri="{FF2B5EF4-FFF2-40B4-BE49-F238E27FC236}">
                    <a16:creationId xmlns:a16="http://schemas.microsoft.com/office/drawing/2014/main" id="{4730C6FB-C605-77B5-BF96-159D2D1B9A03}"/>
                  </a:ext>
                </a:extLst>
              </p:cNvPr>
              <p:cNvSpPr/>
              <p:nvPr userDrawn="1"/>
            </p:nvSpPr>
            <p:spPr>
              <a:xfrm flipH="1" flipV="1">
                <a:off x="1" y="6401809"/>
                <a:ext cx="211002" cy="211001"/>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38" name="Freeform: Shape 37">
                <a:extLst>
                  <a:ext uri="{FF2B5EF4-FFF2-40B4-BE49-F238E27FC236}">
                    <a16:creationId xmlns:a16="http://schemas.microsoft.com/office/drawing/2014/main" id="{C6B823C9-91E1-52F3-0C13-157CE60920D1}"/>
                  </a:ext>
                </a:extLst>
              </p:cNvPr>
              <p:cNvSpPr/>
              <p:nvPr userDrawn="1"/>
            </p:nvSpPr>
            <p:spPr>
              <a:xfrm flipH="1" flipV="1">
                <a:off x="1" y="6401809"/>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39" name="Freeform: Shape 38">
                <a:extLst>
                  <a:ext uri="{FF2B5EF4-FFF2-40B4-BE49-F238E27FC236}">
                    <a16:creationId xmlns:a16="http://schemas.microsoft.com/office/drawing/2014/main" id="{C39F2685-4DC6-A54B-0588-F19B7964F9D4}"/>
                  </a:ext>
                </a:extLst>
              </p:cNvPr>
              <p:cNvSpPr/>
              <p:nvPr userDrawn="1"/>
            </p:nvSpPr>
            <p:spPr>
              <a:xfrm rot="16200000" flipH="1">
                <a:off x="451715" y="6401808"/>
                <a:ext cx="211001" cy="211002"/>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alpha val="50000"/>
                </a:schemeClr>
              </a:solidFill>
              <a:ln w="5838" cap="flat">
                <a:noFill/>
                <a:prstDash val="solid"/>
                <a:miter/>
              </a:ln>
            </p:spPr>
            <p:txBody>
              <a:bodyPr rtlCol="0" anchor="ctr"/>
              <a:lstStyle/>
              <a:p>
                <a:pPr rtl="0"/>
                <a:endParaRPr lang="en-GB" sz="2400"/>
              </a:p>
            </p:txBody>
          </p:sp>
          <p:sp>
            <p:nvSpPr>
              <p:cNvPr id="40" name="Freeform: Shape 39">
                <a:extLst>
                  <a:ext uri="{FF2B5EF4-FFF2-40B4-BE49-F238E27FC236}">
                    <a16:creationId xmlns:a16="http://schemas.microsoft.com/office/drawing/2014/main" id="{FE817D66-C888-5BE1-6934-8C1DE2FC3897}"/>
                  </a:ext>
                </a:extLst>
              </p:cNvPr>
              <p:cNvSpPr/>
              <p:nvPr userDrawn="1"/>
            </p:nvSpPr>
            <p:spPr>
              <a:xfrm flipH="1" flipV="1">
                <a:off x="226593" y="6401808"/>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solidFill>
              <a:ln w="5838" cap="flat">
                <a:noFill/>
                <a:prstDash val="solid"/>
                <a:miter/>
              </a:ln>
            </p:spPr>
            <p:txBody>
              <a:bodyPr rtlCol="0" anchor="ctr"/>
              <a:lstStyle/>
              <a:p>
                <a:pPr rtl="0"/>
                <a:endParaRPr lang="en-GB" sz="2400"/>
              </a:p>
            </p:txBody>
          </p:sp>
          <p:sp>
            <p:nvSpPr>
              <p:cNvPr id="41" name="Freeform: Shape 40">
                <a:extLst>
                  <a:ext uri="{FF2B5EF4-FFF2-40B4-BE49-F238E27FC236}">
                    <a16:creationId xmlns:a16="http://schemas.microsoft.com/office/drawing/2014/main" id="{2C6964FB-0B6B-3117-EA3C-B4CA17258437}"/>
                  </a:ext>
                </a:extLst>
              </p:cNvPr>
              <p:cNvSpPr/>
              <p:nvPr userDrawn="1"/>
            </p:nvSpPr>
            <p:spPr>
              <a:xfrm rot="10800000" flipH="1" flipV="1">
                <a:off x="228159" y="6401808"/>
                <a:ext cx="211002" cy="211001"/>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sp>
            <p:nvSpPr>
              <p:cNvPr id="42" name="Freeform: Shape 41">
                <a:extLst>
                  <a:ext uri="{FF2B5EF4-FFF2-40B4-BE49-F238E27FC236}">
                    <a16:creationId xmlns:a16="http://schemas.microsoft.com/office/drawing/2014/main" id="{35C1FB24-AB12-1927-88B0-5829441AEF00}"/>
                  </a:ext>
                </a:extLst>
              </p:cNvPr>
              <p:cNvSpPr/>
              <p:nvPr userDrawn="1"/>
            </p:nvSpPr>
            <p:spPr>
              <a:xfrm flipH="1">
                <a:off x="0" y="6158552"/>
                <a:ext cx="211002" cy="211001"/>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grpSp>
          <p:nvGrpSpPr>
            <p:cNvPr id="9" name="Group 8">
              <a:extLst>
                <a:ext uri="{FF2B5EF4-FFF2-40B4-BE49-F238E27FC236}">
                  <a16:creationId xmlns:a16="http://schemas.microsoft.com/office/drawing/2014/main" id="{F4803A56-02B8-8CD6-D482-C0947F9C576A}"/>
                </a:ext>
              </a:extLst>
            </p:cNvPr>
            <p:cNvGrpSpPr/>
            <p:nvPr userDrawn="1"/>
          </p:nvGrpSpPr>
          <p:grpSpPr>
            <a:xfrm flipH="1">
              <a:off x="8640439" y="4814926"/>
              <a:ext cx="503561" cy="328574"/>
              <a:chOff x="1125852" y="3916280"/>
              <a:chExt cx="553917" cy="361431"/>
            </a:xfrm>
          </p:grpSpPr>
          <p:sp>
            <p:nvSpPr>
              <p:cNvPr id="20" name="Freeform: Shape 19">
                <a:extLst>
                  <a:ext uri="{FF2B5EF4-FFF2-40B4-BE49-F238E27FC236}">
                    <a16:creationId xmlns:a16="http://schemas.microsoft.com/office/drawing/2014/main" id="{5857DF8B-CD33-1DDD-A3DB-353B59FEF2B9}"/>
                  </a:ext>
                </a:extLst>
              </p:cNvPr>
              <p:cNvSpPr/>
              <p:nvPr userDrawn="1"/>
            </p:nvSpPr>
            <p:spPr>
              <a:xfrm flipH="1" flipV="1">
                <a:off x="1125853" y="4104175"/>
                <a:ext cx="172895" cy="172895"/>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21" name="Freeform: Shape 20">
                <a:extLst>
                  <a:ext uri="{FF2B5EF4-FFF2-40B4-BE49-F238E27FC236}">
                    <a16:creationId xmlns:a16="http://schemas.microsoft.com/office/drawing/2014/main" id="{60C2707B-C30D-2FAE-84D5-4803D4102889}"/>
                  </a:ext>
                </a:extLst>
              </p:cNvPr>
              <p:cNvSpPr/>
              <p:nvPr userDrawn="1"/>
            </p:nvSpPr>
            <p:spPr>
              <a:xfrm flipH="1" flipV="1">
                <a:off x="1125853" y="4104175"/>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22" name="Freeform: Shape 21">
                <a:extLst>
                  <a:ext uri="{FF2B5EF4-FFF2-40B4-BE49-F238E27FC236}">
                    <a16:creationId xmlns:a16="http://schemas.microsoft.com/office/drawing/2014/main" id="{04F415E2-AD89-1FBE-D209-9DB461472E73}"/>
                  </a:ext>
                </a:extLst>
              </p:cNvPr>
              <p:cNvSpPr/>
              <p:nvPr userDrawn="1"/>
            </p:nvSpPr>
            <p:spPr>
              <a:xfrm flipH="1">
                <a:off x="1506874"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alpha val="50000"/>
                </a:schemeClr>
              </a:solidFill>
              <a:ln w="5838" cap="flat">
                <a:noFill/>
                <a:prstDash val="solid"/>
                <a:miter/>
              </a:ln>
            </p:spPr>
            <p:txBody>
              <a:bodyPr rtlCol="0" anchor="ctr"/>
              <a:lstStyle/>
              <a:p>
                <a:pPr rtl="0"/>
                <a:endParaRPr lang="en-GB" sz="2400"/>
              </a:p>
            </p:txBody>
          </p:sp>
          <p:grpSp>
            <p:nvGrpSpPr>
              <p:cNvPr id="23" name="Group 22">
                <a:extLst>
                  <a:ext uri="{FF2B5EF4-FFF2-40B4-BE49-F238E27FC236}">
                    <a16:creationId xmlns:a16="http://schemas.microsoft.com/office/drawing/2014/main" id="{7A9EC0EC-1AEA-8581-D4D3-97FCEBE316F2}"/>
                  </a:ext>
                </a:extLst>
              </p:cNvPr>
              <p:cNvGrpSpPr/>
              <p:nvPr userDrawn="1"/>
            </p:nvGrpSpPr>
            <p:grpSpPr>
              <a:xfrm rot="16200000" flipV="1">
                <a:off x="1311523" y="4104174"/>
                <a:ext cx="174178" cy="172895"/>
                <a:chOff x="1311523" y="4104174"/>
                <a:chExt cx="174178" cy="172895"/>
              </a:xfrm>
            </p:grpSpPr>
            <p:sp>
              <p:nvSpPr>
                <p:cNvPr id="25" name="Freeform: Shape 24">
                  <a:extLst>
                    <a:ext uri="{FF2B5EF4-FFF2-40B4-BE49-F238E27FC236}">
                      <a16:creationId xmlns:a16="http://schemas.microsoft.com/office/drawing/2014/main" id="{23828EF1-F427-349A-0E1B-BD4B734E687B}"/>
                    </a:ext>
                  </a:extLst>
                </p:cNvPr>
                <p:cNvSpPr/>
                <p:nvPr userDrawn="1"/>
              </p:nvSpPr>
              <p:spPr>
                <a:xfrm flipH="1" flipV="1">
                  <a:off x="1311523"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solidFill>
                <a:ln w="5838" cap="flat">
                  <a:noFill/>
                  <a:prstDash val="solid"/>
                  <a:miter/>
                </a:ln>
              </p:spPr>
              <p:txBody>
                <a:bodyPr rtlCol="0" anchor="ctr"/>
                <a:lstStyle/>
                <a:p>
                  <a:pPr rtl="0"/>
                  <a:endParaRPr lang="en-GB" sz="2400"/>
                </a:p>
              </p:txBody>
            </p:sp>
            <p:sp>
              <p:nvSpPr>
                <p:cNvPr id="26" name="Freeform: Shape 25">
                  <a:extLst>
                    <a:ext uri="{FF2B5EF4-FFF2-40B4-BE49-F238E27FC236}">
                      <a16:creationId xmlns:a16="http://schemas.microsoft.com/office/drawing/2014/main" id="{8D3E95F3-8D2F-DE07-628A-91D38C1F0BDE}"/>
                    </a:ext>
                  </a:extLst>
                </p:cNvPr>
                <p:cNvSpPr/>
                <p:nvPr userDrawn="1"/>
              </p:nvSpPr>
              <p:spPr>
                <a:xfrm rot="10800000" flipH="1" flipV="1">
                  <a:off x="1312806" y="4104174"/>
                  <a:ext cx="172895" cy="172895"/>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grpSp>
          <p:sp>
            <p:nvSpPr>
              <p:cNvPr id="24" name="Freeform: Shape 23">
                <a:extLst>
                  <a:ext uri="{FF2B5EF4-FFF2-40B4-BE49-F238E27FC236}">
                    <a16:creationId xmlns:a16="http://schemas.microsoft.com/office/drawing/2014/main" id="{CE790A2D-0B48-9182-E197-9EE2236EA85B}"/>
                  </a:ext>
                </a:extLst>
              </p:cNvPr>
              <p:cNvSpPr/>
              <p:nvPr userDrawn="1"/>
            </p:nvSpPr>
            <p:spPr>
              <a:xfrm flipH="1">
                <a:off x="1125852" y="3916280"/>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grpSp>
          <p:nvGrpSpPr>
            <p:cNvPr id="10" name="Group 9">
              <a:extLst>
                <a:ext uri="{FF2B5EF4-FFF2-40B4-BE49-F238E27FC236}">
                  <a16:creationId xmlns:a16="http://schemas.microsoft.com/office/drawing/2014/main" id="{10E4CBAF-D80A-0FA3-8CFE-E38E8FFFC51D}"/>
                </a:ext>
              </a:extLst>
            </p:cNvPr>
            <p:cNvGrpSpPr/>
            <p:nvPr userDrawn="1"/>
          </p:nvGrpSpPr>
          <p:grpSpPr>
            <a:xfrm flipH="1" flipV="1">
              <a:off x="8640439" y="0"/>
              <a:ext cx="503561" cy="328574"/>
              <a:chOff x="1125852" y="3916280"/>
              <a:chExt cx="553917" cy="361431"/>
            </a:xfrm>
          </p:grpSpPr>
          <p:sp>
            <p:nvSpPr>
              <p:cNvPr id="11" name="Freeform: Shape 10">
                <a:extLst>
                  <a:ext uri="{FF2B5EF4-FFF2-40B4-BE49-F238E27FC236}">
                    <a16:creationId xmlns:a16="http://schemas.microsoft.com/office/drawing/2014/main" id="{4EE13A2C-5669-35D1-0635-5A4770B96D4A}"/>
                  </a:ext>
                </a:extLst>
              </p:cNvPr>
              <p:cNvSpPr/>
              <p:nvPr userDrawn="1"/>
            </p:nvSpPr>
            <p:spPr>
              <a:xfrm flipH="1" flipV="1">
                <a:off x="1125853" y="4104175"/>
                <a:ext cx="172895" cy="172895"/>
              </a:xfrm>
              <a:custGeom>
                <a:avLst/>
                <a:gdLst>
                  <a:gd name="connsiteX0" fmla="*/ 817306 w 817306"/>
                  <a:gd name="connsiteY0" fmla="*/ 0 h 817306"/>
                  <a:gd name="connsiteX1" fmla="*/ 0 w 817306"/>
                  <a:gd name="connsiteY1" fmla="*/ 817306 h 817306"/>
                  <a:gd name="connsiteX2" fmla="*/ 0 w 817306"/>
                  <a:gd name="connsiteY2" fmla="*/ 0 h 817306"/>
                </a:gdLst>
                <a:ahLst/>
                <a:cxnLst>
                  <a:cxn ang="0">
                    <a:pos x="connsiteX0" y="connsiteY0"/>
                  </a:cxn>
                  <a:cxn ang="0">
                    <a:pos x="connsiteX1" y="connsiteY1"/>
                  </a:cxn>
                  <a:cxn ang="0">
                    <a:pos x="connsiteX2" y="connsiteY2"/>
                  </a:cxn>
                </a:cxnLst>
                <a:rect l="l" t="t" r="r" b="b"/>
                <a:pathLst>
                  <a:path w="817306" h="817306">
                    <a:moveTo>
                      <a:pt x="817306" y="0"/>
                    </a:moveTo>
                    <a:lnTo>
                      <a:pt x="0" y="817306"/>
                    </a:lnTo>
                    <a:lnTo>
                      <a:pt x="0" y="0"/>
                    </a:lnTo>
                    <a:close/>
                  </a:path>
                </a:pathLst>
              </a:custGeom>
              <a:solidFill>
                <a:schemeClr val="accent3"/>
              </a:solidFill>
              <a:ln w="5838" cap="flat">
                <a:noFill/>
                <a:prstDash val="solid"/>
                <a:miter/>
              </a:ln>
            </p:spPr>
            <p:txBody>
              <a:bodyPr rtlCol="0" anchor="ctr"/>
              <a:lstStyle/>
              <a:p>
                <a:pPr rtl="0"/>
                <a:endParaRPr lang="en-GB" sz="2400"/>
              </a:p>
            </p:txBody>
          </p:sp>
          <p:sp>
            <p:nvSpPr>
              <p:cNvPr id="12" name="Freeform: Shape 11">
                <a:extLst>
                  <a:ext uri="{FF2B5EF4-FFF2-40B4-BE49-F238E27FC236}">
                    <a16:creationId xmlns:a16="http://schemas.microsoft.com/office/drawing/2014/main" id="{9B31C437-C54D-2796-B623-EDF37A9C8B77}"/>
                  </a:ext>
                </a:extLst>
              </p:cNvPr>
              <p:cNvSpPr/>
              <p:nvPr userDrawn="1"/>
            </p:nvSpPr>
            <p:spPr>
              <a:xfrm flipH="1" flipV="1">
                <a:off x="1125853" y="4104175"/>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sp>
            <p:nvSpPr>
              <p:cNvPr id="15" name="Freeform: Shape 14">
                <a:extLst>
                  <a:ext uri="{FF2B5EF4-FFF2-40B4-BE49-F238E27FC236}">
                    <a16:creationId xmlns:a16="http://schemas.microsoft.com/office/drawing/2014/main" id="{2A4DFB40-B5CD-6F68-5D2D-9B73AAD7F1EF}"/>
                  </a:ext>
                </a:extLst>
              </p:cNvPr>
              <p:cNvSpPr/>
              <p:nvPr userDrawn="1"/>
            </p:nvSpPr>
            <p:spPr>
              <a:xfrm flipH="1">
                <a:off x="1506874"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tx2">
                  <a:alpha val="50000"/>
                </a:schemeClr>
              </a:solidFill>
              <a:ln w="5838" cap="flat">
                <a:noFill/>
                <a:prstDash val="solid"/>
                <a:miter/>
              </a:ln>
            </p:spPr>
            <p:txBody>
              <a:bodyPr rtlCol="0" anchor="ctr"/>
              <a:lstStyle/>
              <a:p>
                <a:pPr rtl="0"/>
                <a:endParaRPr lang="en-GB" sz="2400"/>
              </a:p>
            </p:txBody>
          </p:sp>
          <p:grpSp>
            <p:nvGrpSpPr>
              <p:cNvPr id="16" name="Group 15">
                <a:extLst>
                  <a:ext uri="{FF2B5EF4-FFF2-40B4-BE49-F238E27FC236}">
                    <a16:creationId xmlns:a16="http://schemas.microsoft.com/office/drawing/2014/main" id="{BA83C7D9-EC1F-24EB-A8F8-46BF26A50F78}"/>
                  </a:ext>
                </a:extLst>
              </p:cNvPr>
              <p:cNvGrpSpPr/>
              <p:nvPr userDrawn="1"/>
            </p:nvGrpSpPr>
            <p:grpSpPr>
              <a:xfrm rot="16200000" flipV="1">
                <a:off x="1311523" y="4104174"/>
                <a:ext cx="174178" cy="172895"/>
                <a:chOff x="1311523" y="4104174"/>
                <a:chExt cx="174178" cy="172895"/>
              </a:xfrm>
            </p:grpSpPr>
            <p:sp>
              <p:nvSpPr>
                <p:cNvPr id="18" name="Freeform: Shape 17">
                  <a:extLst>
                    <a:ext uri="{FF2B5EF4-FFF2-40B4-BE49-F238E27FC236}">
                      <a16:creationId xmlns:a16="http://schemas.microsoft.com/office/drawing/2014/main" id="{7B0AB517-7013-C4E3-A7B5-DED5F3B68036}"/>
                    </a:ext>
                  </a:extLst>
                </p:cNvPr>
                <p:cNvSpPr/>
                <p:nvPr userDrawn="1"/>
              </p:nvSpPr>
              <p:spPr>
                <a:xfrm flipH="1" flipV="1">
                  <a:off x="1311523" y="4104174"/>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bg2"/>
                </a:solidFill>
                <a:ln w="5838" cap="flat">
                  <a:noFill/>
                  <a:prstDash val="solid"/>
                  <a:miter/>
                </a:ln>
              </p:spPr>
              <p:txBody>
                <a:bodyPr rtlCol="0" anchor="ctr"/>
                <a:lstStyle/>
                <a:p>
                  <a:pPr rtl="0"/>
                  <a:endParaRPr lang="en-GB" sz="2400"/>
                </a:p>
              </p:txBody>
            </p:sp>
            <p:sp>
              <p:nvSpPr>
                <p:cNvPr id="19" name="Freeform: Shape 18">
                  <a:extLst>
                    <a:ext uri="{FF2B5EF4-FFF2-40B4-BE49-F238E27FC236}">
                      <a16:creationId xmlns:a16="http://schemas.microsoft.com/office/drawing/2014/main" id="{A076927D-81DF-5174-E262-82CE7A6E953B}"/>
                    </a:ext>
                  </a:extLst>
                </p:cNvPr>
                <p:cNvSpPr/>
                <p:nvPr userDrawn="1"/>
              </p:nvSpPr>
              <p:spPr>
                <a:xfrm rot="10800000" flipH="1" flipV="1">
                  <a:off x="1312806" y="4104174"/>
                  <a:ext cx="172895" cy="172895"/>
                </a:xfrm>
                <a:custGeom>
                  <a:avLst/>
                  <a:gdLst>
                    <a:gd name="connsiteX0" fmla="*/ 817306 w 817306"/>
                    <a:gd name="connsiteY0" fmla="*/ 817306 h 817306"/>
                    <a:gd name="connsiteX1" fmla="*/ 0 w 817306"/>
                    <a:gd name="connsiteY1" fmla="*/ 0 h 817306"/>
                    <a:gd name="connsiteX2" fmla="*/ 817306 w 817306"/>
                    <a:gd name="connsiteY2" fmla="*/ 0 h 817306"/>
                  </a:gdLst>
                  <a:ahLst/>
                  <a:cxnLst>
                    <a:cxn ang="0">
                      <a:pos x="connsiteX0" y="connsiteY0"/>
                    </a:cxn>
                    <a:cxn ang="0">
                      <a:pos x="connsiteX1" y="connsiteY1"/>
                    </a:cxn>
                    <a:cxn ang="0">
                      <a:pos x="connsiteX2" y="connsiteY2"/>
                    </a:cxn>
                  </a:cxnLst>
                  <a:rect l="l" t="t" r="r" b="b"/>
                  <a:pathLst>
                    <a:path w="817306" h="817306">
                      <a:moveTo>
                        <a:pt x="817306" y="817306"/>
                      </a:moveTo>
                      <a:lnTo>
                        <a:pt x="0" y="0"/>
                      </a:lnTo>
                      <a:lnTo>
                        <a:pt x="817306" y="0"/>
                      </a:lnTo>
                      <a:close/>
                    </a:path>
                  </a:pathLst>
                </a:custGeom>
                <a:solidFill>
                  <a:schemeClr val="bg2">
                    <a:alpha val="50000"/>
                  </a:schemeClr>
                </a:solidFill>
                <a:ln w="5838" cap="flat">
                  <a:noFill/>
                  <a:prstDash val="solid"/>
                  <a:miter/>
                </a:ln>
              </p:spPr>
              <p:txBody>
                <a:bodyPr rtlCol="0" anchor="ctr"/>
                <a:lstStyle/>
                <a:p>
                  <a:pPr rtl="0"/>
                  <a:endParaRPr lang="en-GB" sz="2400"/>
                </a:p>
              </p:txBody>
            </p:sp>
          </p:grpSp>
          <p:sp>
            <p:nvSpPr>
              <p:cNvPr id="17" name="Freeform: Shape 16">
                <a:extLst>
                  <a:ext uri="{FF2B5EF4-FFF2-40B4-BE49-F238E27FC236}">
                    <a16:creationId xmlns:a16="http://schemas.microsoft.com/office/drawing/2014/main" id="{9A750793-0DB7-2303-F57C-B996430D1D10}"/>
                  </a:ext>
                </a:extLst>
              </p:cNvPr>
              <p:cNvSpPr/>
              <p:nvPr userDrawn="1"/>
            </p:nvSpPr>
            <p:spPr>
              <a:xfrm flipH="1">
                <a:off x="1125852" y="3916280"/>
                <a:ext cx="172895" cy="172895"/>
              </a:xfrm>
              <a:custGeom>
                <a:avLst/>
                <a:gdLst>
                  <a:gd name="connsiteX0" fmla="*/ 0 w 817306"/>
                  <a:gd name="connsiteY0" fmla="*/ 817306 h 817306"/>
                  <a:gd name="connsiteX1" fmla="*/ 817306 w 817306"/>
                  <a:gd name="connsiteY1" fmla="*/ 0 h 817306"/>
                  <a:gd name="connsiteX2" fmla="*/ 817306 w 817306"/>
                  <a:gd name="connsiteY2" fmla="*/ 817306 h 817306"/>
                </a:gdLst>
                <a:ahLst/>
                <a:cxnLst>
                  <a:cxn ang="0">
                    <a:pos x="connsiteX0" y="connsiteY0"/>
                  </a:cxn>
                  <a:cxn ang="0">
                    <a:pos x="connsiteX1" y="connsiteY1"/>
                  </a:cxn>
                  <a:cxn ang="0">
                    <a:pos x="connsiteX2" y="connsiteY2"/>
                  </a:cxn>
                </a:cxnLst>
                <a:rect l="l" t="t" r="r" b="b"/>
                <a:pathLst>
                  <a:path w="817306" h="817306">
                    <a:moveTo>
                      <a:pt x="0" y="817306"/>
                    </a:moveTo>
                    <a:lnTo>
                      <a:pt x="817306" y="0"/>
                    </a:lnTo>
                    <a:lnTo>
                      <a:pt x="817306" y="817306"/>
                    </a:lnTo>
                    <a:close/>
                  </a:path>
                </a:pathLst>
              </a:custGeom>
              <a:solidFill>
                <a:schemeClr val="accent3">
                  <a:alpha val="50000"/>
                </a:schemeClr>
              </a:solidFill>
              <a:ln w="5838" cap="flat">
                <a:noFill/>
                <a:prstDash val="solid"/>
                <a:miter/>
              </a:ln>
            </p:spPr>
            <p:txBody>
              <a:bodyPr rtlCol="0" anchor="ctr"/>
              <a:lstStyle/>
              <a:p>
                <a:pPr rtl="0"/>
                <a:endParaRPr lang="en-GB" sz="2400"/>
              </a:p>
            </p:txBody>
          </p:sp>
        </p:grpSp>
      </p:grpSp>
      <p:sp>
        <p:nvSpPr>
          <p:cNvPr id="48" name="PwCFirm">
            <a:extLst>
              <a:ext uri="{FF2B5EF4-FFF2-40B4-BE49-F238E27FC236}">
                <a16:creationId xmlns:a16="http://schemas.microsoft.com/office/drawing/2014/main" id="{C4898FEE-20A6-E713-4C14-14191AD0B17D}"/>
              </a:ext>
            </a:extLst>
          </p:cNvPr>
          <p:cNvSpPr txBox="1">
            <a:spLocks/>
          </p:cNvSpPr>
          <p:nvPr userDrawn="1"/>
        </p:nvSpPr>
        <p:spPr>
          <a:xfrm>
            <a:off x="1302867" y="6623107"/>
            <a:ext cx="365760" cy="182880"/>
          </a:xfrm>
          <a:prstGeom prst="rect">
            <a:avLst/>
          </a:prstGeom>
          <a:noFill/>
        </p:spPr>
        <p:txBody>
          <a:bodyPr wrap="square" lIns="0" tIns="0" rIns="0" bIns="0" rtlCol="0" anchor="b" anchorCtr="0">
            <a:noAutofit/>
          </a:bodyPr>
          <a:lstStyle>
            <a:defPPr>
              <a:defRPr lang="en-US"/>
            </a:defPPr>
            <a:lvl1pPr>
              <a:defRPr sz="750" b="0"/>
            </a:lvl1pPr>
          </a:lstStyle>
          <a:p>
            <a:pPr lvl="0" algn="ctr" rtl="0"/>
            <a:fld id="{0AD3E0D8-CFBC-40AF-89AB-97D5BF3C0506}" type="slidenum">
              <a:rPr lang="en-GB" sz="933" b="1" smtClean="0">
                <a:solidFill>
                  <a:schemeClr val="tx1">
                    <a:lumMod val="75000"/>
                    <a:lumOff val="25000"/>
                  </a:schemeClr>
                </a:solidFill>
                <a:latin typeface="Sakkal Majalla" panose="02000000000000000000" pitchFamily="2" charset="-78"/>
              </a:rPr>
              <a:pPr lvl="0" algn="ctr" rtl="0"/>
              <a:t>‹#›</a:t>
            </a:fld>
            <a:endParaRPr lang="en-GB" sz="933" b="1" i="0" u="none" strike="noStrike" cap="none" baseline="0" noProof="0">
              <a:solidFill>
                <a:schemeClr val="tx1">
                  <a:lumMod val="75000"/>
                  <a:lumOff val="25000"/>
                </a:schemeClr>
              </a:solidFill>
              <a:effectLst/>
              <a:uFillTx/>
              <a:latin typeface="Sakkal Majalla" panose="02000000000000000000" pitchFamily="2" charset="-78"/>
              <a:cs typeface="Traditional Arabic" panose="02020603050405020304" pitchFamily="18" charset="-78"/>
            </a:endParaRPr>
          </a:p>
        </p:txBody>
      </p:sp>
    </p:spTree>
    <p:extLst>
      <p:ext uri="{BB962C8B-B14F-4D97-AF65-F5344CB8AC3E}">
        <p14:creationId xmlns:p14="http://schemas.microsoft.com/office/powerpoint/2010/main" val="37384632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1_Main Title &amp; Subtitle">
  <p:cSld name="1_Main Title &amp; Subtitle">
    <p:spTree>
      <p:nvGrpSpPr>
        <p:cNvPr id="1" name="Shape 13"/>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1AFD897-8E4B-14A9-09DA-AAB1F8E7C290}"/>
              </a:ext>
            </a:extLst>
          </p:cNvPr>
          <p:cNvGraphicFramePr>
            <a:graphicFrameLocks noChangeAspect="1"/>
          </p:cNvGraphicFramePr>
          <p:nvPr userDrawn="1">
            <p:custDataLst>
              <p:tags r:id="rId1"/>
            </p:custDataLst>
            <p:extLst>
              <p:ext uri="{D42A27DB-BD31-4B8C-83A1-F6EECF244321}">
                <p14:modId xmlns:p14="http://schemas.microsoft.com/office/powerpoint/2010/main" val="3532024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81AFD897-8E4B-14A9-09DA-AAB1F8E7C2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3"/>
          <p:cNvSpPr>
            <a:spLocks noGrp="1"/>
          </p:cNvSpPr>
          <p:nvPr>
            <p:ph type="body" sz="half" idx="2" hasCustomPrompt="1"/>
          </p:nvPr>
        </p:nvSpPr>
        <p:spPr>
          <a:xfrm>
            <a:off x="517093" y="885781"/>
            <a:ext cx="11157817" cy="231007"/>
          </a:xfrm>
          <a:prstGeom prst="rect">
            <a:avLst/>
          </a:prstGeom>
        </p:spPr>
        <p:txBody>
          <a:bodyPr wrap="none" lIns="0" tIns="0" rIns="0" bIns="0" anchor="ctr">
            <a:noAutofit/>
          </a:bodyPr>
          <a:lstStyle>
            <a:lvl1pPr marL="0" indent="0" algn="ctr" rtl="0">
              <a:buNone/>
              <a:defRPr sz="1333" b="0" baseline="0">
                <a:solidFill>
                  <a:schemeClr val="tx1">
                    <a:lumMod val="75000"/>
                    <a:lumOff val="25000"/>
                  </a:schemeClr>
                </a:solidFill>
                <a:latin typeface="+mn-lt"/>
                <a:ea typeface="Roboto" panose="02000000000000000000" pitchFamily="2" charset="0"/>
              </a:defRPr>
            </a:lvl1pPr>
            <a:lvl2pPr marL="609555" indent="0">
              <a:buNone/>
              <a:defRPr sz="1600"/>
            </a:lvl2pPr>
            <a:lvl3pPr marL="1219108" indent="0">
              <a:buNone/>
              <a:defRPr sz="1333"/>
            </a:lvl3pPr>
            <a:lvl4pPr marL="1828664" indent="0">
              <a:buNone/>
              <a:defRPr sz="1200"/>
            </a:lvl4pPr>
            <a:lvl5pPr marL="2438218" indent="0">
              <a:buNone/>
              <a:defRPr sz="1200"/>
            </a:lvl5pPr>
            <a:lvl6pPr marL="3047772" indent="0">
              <a:buNone/>
              <a:defRPr sz="1200"/>
            </a:lvl6pPr>
            <a:lvl7pPr marL="3657325" indent="0">
              <a:buNone/>
              <a:defRPr sz="1200"/>
            </a:lvl7pPr>
            <a:lvl8pPr marL="4266880" indent="0">
              <a:buNone/>
              <a:defRPr sz="1200"/>
            </a:lvl8pPr>
            <a:lvl9pPr marL="4876435" indent="0">
              <a:buNone/>
              <a:defRPr sz="1200"/>
            </a:lvl9pPr>
          </a:lstStyle>
          <a:p>
            <a:pPr lvl="0"/>
            <a:r>
              <a:rPr lang="en-GB"/>
              <a:t>CLICK TO EDITE SUBTITLE</a:t>
            </a:r>
          </a:p>
        </p:txBody>
      </p:sp>
      <p:sp>
        <p:nvSpPr>
          <p:cNvPr id="12" name="Title 2"/>
          <p:cNvSpPr>
            <a:spLocks noGrp="1"/>
          </p:cNvSpPr>
          <p:nvPr>
            <p:ph type="title"/>
          </p:nvPr>
        </p:nvSpPr>
        <p:spPr>
          <a:xfrm>
            <a:off x="517093" y="299012"/>
            <a:ext cx="11157817" cy="480196"/>
          </a:xfrm>
          <a:prstGeom prst="rect">
            <a:avLst/>
          </a:prstGeom>
        </p:spPr>
        <p:txBody>
          <a:bodyPr vert="horz" lIns="0" tIns="0" rIns="0" bIns="0" anchor="ctr"/>
          <a:lstStyle>
            <a:lvl1pPr algn="ctr" rtl="0">
              <a:defRPr sz="3467">
                <a:solidFill>
                  <a:schemeClr val="tx1">
                    <a:lumMod val="75000"/>
                    <a:lumOff val="25000"/>
                  </a:schemeClr>
                </a:solidFill>
                <a:latin typeface="+mj-lt"/>
              </a:defRPr>
            </a:lvl1pPr>
          </a:lstStyle>
          <a:p>
            <a:r>
              <a:rPr lang="en-GB"/>
              <a:t>Click to edit Master title style</a:t>
            </a:r>
          </a:p>
        </p:txBody>
      </p:sp>
    </p:spTree>
    <p:extLst>
      <p:ext uri="{BB962C8B-B14F-4D97-AF65-F5344CB8AC3E}">
        <p14:creationId xmlns:p14="http://schemas.microsoft.com/office/powerpoint/2010/main" val="29842813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11119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p:cNvPicPr>
            <a:picLocks noChangeAspect="1"/>
          </p:cNvPicPr>
          <p:nvPr userDrawn="1"/>
        </p:nvPicPr>
        <p:blipFill rotWithShape="1">
          <a:blip r:embed="rId6"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sp>
        <p:nvSpPr>
          <p:cNvPr id="16" name="Title 5"/>
          <p:cNvSpPr>
            <a:spLocks noGrp="1"/>
          </p:cNvSpPr>
          <p:nvPr>
            <p:ph type="ctrTitle"/>
          </p:nvPr>
        </p:nvSpPr>
        <p:spPr>
          <a:xfrm>
            <a:off x="667408" y="1659004"/>
            <a:ext cx="7344478" cy="1638300"/>
          </a:xfrm>
        </p:spPr>
        <p:txBody>
          <a:bodyPr vert="horz" lIns="0" tIns="0" rIns="0" bIns="0" anchor="b">
            <a:normAutofit/>
          </a:bodyPr>
          <a:lstStyle>
            <a:lvl1pPr algn="l" rtl="0">
              <a:defRPr sz="5400">
                <a:solidFill>
                  <a:srgbClr val="006C67"/>
                </a:solidFill>
                <a:latin typeface="+mj-lt"/>
                <a:ea typeface="+mj-ea"/>
                <a:cs typeface="+mj-cs"/>
                <a:sym typeface="+mj-lt"/>
              </a:defRPr>
            </a:lvl1pPr>
          </a:lstStyle>
          <a:p>
            <a:r>
              <a:rPr lang="en-GB"/>
              <a:t>Click to edit Master title style</a:t>
            </a:r>
          </a:p>
        </p:txBody>
      </p:sp>
      <p:sp>
        <p:nvSpPr>
          <p:cNvPr id="17" name="Text Placeholder 7"/>
          <p:cNvSpPr>
            <a:spLocks noGrp="1"/>
          </p:cNvSpPr>
          <p:nvPr>
            <p:ph type="body" sz="quarter" idx="10" hasCustomPrompt="1"/>
          </p:nvPr>
        </p:nvSpPr>
        <p:spPr>
          <a:xfrm>
            <a:off x="667407" y="3461188"/>
            <a:ext cx="7344478" cy="662940"/>
          </a:xfrm>
        </p:spPr>
        <p:txBody>
          <a:bodyPr lIns="0" tIns="0" rIns="0" bIns="0">
            <a:normAutofit/>
          </a:bodyPr>
          <a:lstStyle>
            <a:lvl1pPr marL="0" indent="0" rtl="0">
              <a:buNone/>
              <a:defRPr sz="2400">
                <a:solidFill>
                  <a:schemeClr val="tx1"/>
                </a:solidFill>
                <a:latin typeface="+mn-lt"/>
                <a:ea typeface="+mn-ea"/>
                <a:cs typeface="+mn-cs"/>
                <a:sym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subtitle style</a:t>
            </a:r>
          </a:p>
        </p:txBody>
      </p:sp>
      <p:sp>
        <p:nvSpPr>
          <p:cNvPr id="19" name="Text Placeholder 2"/>
          <p:cNvSpPr>
            <a:spLocks noGrp="1"/>
          </p:cNvSpPr>
          <p:nvPr>
            <p:ph type="body" sz="quarter" idx="11" hasCustomPrompt="1"/>
          </p:nvPr>
        </p:nvSpPr>
        <p:spPr>
          <a:xfrm>
            <a:off x="667407" y="4198448"/>
            <a:ext cx="7344478" cy="251460"/>
          </a:xfrm>
        </p:spPr>
        <p:txBody>
          <a:bodyPr anchor="ctr"/>
          <a:lstStyle>
            <a:lvl1pPr rtl="0">
              <a:defRPr sz="1600" cap="all" baseline="0">
                <a:solidFill>
                  <a:srgbClr val="7F7F7F"/>
                </a:solidFill>
              </a:defRPr>
            </a:lvl1pPr>
          </a:lstStyle>
          <a:p>
            <a:pPr lvl="0"/>
            <a:r>
              <a:rPr lang="en-GB"/>
              <a:t>Click to edit date/place</a:t>
            </a:r>
          </a:p>
        </p:txBody>
      </p:sp>
      <p:pic>
        <p:nvPicPr>
          <p:cNvPr id="23" name="Picture 22"/>
          <p:cNvPicPr>
            <a:picLocks noChangeAspect="1"/>
          </p:cNvPicPr>
          <p:nvPr userDrawn="1"/>
        </p:nvPicPr>
        <p:blipFill rotWithShape="1">
          <a:blip r:embed="rId7"/>
          <a:srcRect/>
          <a:stretch/>
        </p:blipFill>
        <p:spPr>
          <a:xfrm>
            <a:off x="562633" y="3343543"/>
            <a:ext cx="7260614" cy="71407"/>
          </a:xfrm>
          <a:prstGeom prst="rect">
            <a:avLst/>
          </a:prstGeom>
        </p:spPr>
      </p:pic>
      <p:pic>
        <p:nvPicPr>
          <p:cNvPr id="24" name="Picture 23"/>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25" name="Picture 24"/>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12" name="Graphic 11">
            <a:extLst>
              <a:ext uri="{FF2B5EF4-FFF2-40B4-BE49-F238E27FC236}">
                <a16:creationId xmlns:a16="http://schemas.microsoft.com/office/drawing/2014/main" id="{5AC87C00-4530-4921-946F-609091407DDD}"/>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295140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130282-3E3A-4C35-A11C-2D6C365A53EB}"/>
              </a:ext>
            </a:extLst>
          </p:cNvPr>
          <p:cNvGraphicFramePr>
            <a:graphicFrameLocks noChangeAspect="1"/>
          </p:cNvGraphicFramePr>
          <p:nvPr userDrawn="1">
            <p:custDataLst>
              <p:tags r:id="rId1"/>
            </p:custDataLst>
            <p:extLst>
              <p:ext uri="{D42A27DB-BD31-4B8C-83A1-F6EECF244321}">
                <p14:modId xmlns:p14="http://schemas.microsoft.com/office/powerpoint/2010/main" val="59060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15130282-3E3A-4C35-A11C-2D6C365A53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2" name="PP Templet-09.jpg" descr="PP Templet-09.jpg">
            <a:extLst>
              <a:ext uri="{FF2B5EF4-FFF2-40B4-BE49-F238E27FC236}">
                <a16:creationId xmlns:a16="http://schemas.microsoft.com/office/drawing/2014/main" id="{CC628583-DFBA-A6D1-FC9C-0C0F4A454C64}"/>
              </a:ext>
            </a:extLst>
          </p:cNvPr>
          <p:cNvPicPr>
            <a:picLocks noChangeAspect="1"/>
          </p:cNvPicPr>
          <p:nvPr userDrawn="1"/>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11664708" y="652176"/>
            <a:ext cx="335360" cy="6148270"/>
          </a:xfrm>
          <a:prstGeom prst="rect">
            <a:avLst/>
          </a:prstGeom>
          <a:ln w="12700">
            <a:miter lim="400000"/>
          </a:ln>
        </p:spPr>
      </p:pic>
      <p:pic>
        <p:nvPicPr>
          <p:cNvPr id="3" name="Picture 2">
            <a:extLst>
              <a:ext uri="{FF2B5EF4-FFF2-40B4-BE49-F238E27FC236}">
                <a16:creationId xmlns:a16="http://schemas.microsoft.com/office/drawing/2014/main" id="{A4183087-2771-E6CD-E3C2-181653FDB009}"/>
              </a:ext>
            </a:extLst>
          </p:cNvPr>
          <p:cNvPicPr>
            <a:picLocks noChangeAspect="1"/>
          </p:cNvPicPr>
          <p:nvPr userDrawn="1"/>
        </p:nvPicPr>
        <p:blipFill>
          <a:blip r:embed="rId6"/>
          <a:stretch>
            <a:fillRect/>
          </a:stretch>
        </p:blipFill>
        <p:spPr>
          <a:xfrm>
            <a:off x="-3847599" y="2495634"/>
            <a:ext cx="3524250" cy="2695575"/>
          </a:xfrm>
          <a:prstGeom prst="rect">
            <a:avLst/>
          </a:prstGeom>
        </p:spPr>
      </p:pic>
      <p:sp>
        <p:nvSpPr>
          <p:cNvPr id="6" name="Title 4">
            <a:extLst>
              <a:ext uri="{FF2B5EF4-FFF2-40B4-BE49-F238E27FC236}">
                <a16:creationId xmlns:a16="http://schemas.microsoft.com/office/drawing/2014/main" id="{401FE1BF-7A96-A0F6-803D-89DF55CFD1E4}"/>
              </a:ext>
            </a:extLst>
          </p:cNvPr>
          <p:cNvSpPr>
            <a:spLocks noGrp="1"/>
          </p:cNvSpPr>
          <p:nvPr>
            <p:ph type="title" hasCustomPrompt="1"/>
          </p:nvPr>
        </p:nvSpPr>
        <p:spPr>
          <a:xfrm>
            <a:off x="382860" y="622800"/>
            <a:ext cx="10933200" cy="4431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200" b="0" i="0" u="none" kern="1200" spc="0">
                <a:solidFill>
                  <a:srgbClr val="006C67"/>
                </a:solidFill>
                <a:latin typeface="+mj-lt"/>
                <a:sym typeface="Trebuchet MS" panose="020B0603020202020204" pitchFamily="34" charset="0"/>
              </a:defRPr>
            </a:lvl1pPr>
          </a:lstStyle>
          <a:p>
            <a:pPr lvl="0"/>
            <a:r>
              <a:rPr lang="en-GB"/>
              <a:t>Click to add title</a:t>
            </a:r>
          </a:p>
        </p:txBody>
      </p:sp>
    </p:spTree>
    <p:extLst>
      <p:ext uri="{BB962C8B-B14F-4D97-AF65-F5344CB8AC3E}">
        <p14:creationId xmlns:p14="http://schemas.microsoft.com/office/powerpoint/2010/main" val="3353989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130282-3E3A-4C35-A11C-2D6C365A53EB}"/>
              </a:ext>
            </a:extLst>
          </p:cNvPr>
          <p:cNvGraphicFramePr>
            <a:graphicFrameLocks noChangeAspect="1"/>
          </p:cNvGraphicFramePr>
          <p:nvPr userDrawn="1">
            <p:custDataLst>
              <p:tags r:id="rId1"/>
            </p:custDataLst>
            <p:extLst>
              <p:ext uri="{D42A27DB-BD31-4B8C-83A1-F6EECF244321}">
                <p14:modId xmlns:p14="http://schemas.microsoft.com/office/powerpoint/2010/main" val="387854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63" progId="TCLayout.ActiveDocument.1">
                  <p:embed/>
                </p:oleObj>
              </mc:Choice>
              <mc:Fallback>
                <p:oleObj name="think-cell Slide" r:id="rId3" imgW="353" imgH="363" progId="TCLayout.ActiveDocument.1">
                  <p:embed/>
                  <p:pic>
                    <p:nvPicPr>
                      <p:cNvPr id="4" name="Object 3" hidden="1">
                        <a:extLst>
                          <a:ext uri="{FF2B5EF4-FFF2-40B4-BE49-F238E27FC236}">
                            <a16:creationId xmlns:a16="http://schemas.microsoft.com/office/drawing/2014/main" id="{15130282-3E3A-4C35-A11C-2D6C365A53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5" name="Title 4"/>
          <p:cNvSpPr>
            <a:spLocks noGrp="1"/>
          </p:cNvSpPr>
          <p:nvPr>
            <p:ph type="title" hasCustomPrompt="1"/>
          </p:nvPr>
        </p:nvSpPr>
        <p:spPr>
          <a:xfrm>
            <a:off x="382860" y="622800"/>
            <a:ext cx="10933200" cy="4431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200" b="0" i="0" u="none" kern="1200" spc="0">
                <a:solidFill>
                  <a:srgbClr val="006C67"/>
                </a:solidFill>
                <a:latin typeface="+mj-lt"/>
                <a:sym typeface="Trebuchet MS" panose="020B0603020202020204" pitchFamily="34" charset="0"/>
              </a:defRPr>
            </a:lvl1pPr>
          </a:lstStyle>
          <a:p>
            <a:pPr lvl="0"/>
            <a:r>
              <a:rPr lang="en-GB"/>
              <a:t>Click to add title</a:t>
            </a:r>
          </a:p>
        </p:txBody>
      </p:sp>
      <p:pic>
        <p:nvPicPr>
          <p:cNvPr id="2" name="PP Templet-09.jpg" descr="PP Templet-09.jpg">
            <a:extLst>
              <a:ext uri="{FF2B5EF4-FFF2-40B4-BE49-F238E27FC236}">
                <a16:creationId xmlns:a16="http://schemas.microsoft.com/office/drawing/2014/main" id="{CC628583-DFBA-A6D1-FC9C-0C0F4A454C64}"/>
              </a:ext>
            </a:extLst>
          </p:cNvPr>
          <p:cNvPicPr>
            <a:picLocks noChangeAspect="1"/>
          </p:cNvPicPr>
          <p:nvPr userDrawn="1"/>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11664708" y="652176"/>
            <a:ext cx="335360" cy="6148270"/>
          </a:xfrm>
          <a:prstGeom prst="rect">
            <a:avLst/>
          </a:prstGeom>
          <a:ln w="12700">
            <a:miter lim="400000"/>
          </a:ln>
        </p:spPr>
      </p:pic>
    </p:spTree>
    <p:extLst>
      <p:ext uri="{BB962C8B-B14F-4D97-AF65-F5344CB8AC3E}">
        <p14:creationId xmlns:p14="http://schemas.microsoft.com/office/powerpoint/2010/main" val="3081865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86276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sp>
        <p:nvSpPr>
          <p:cNvPr id="3" name="Rectangle 2"/>
          <p:cNvSpPr/>
          <p:nvPr userDrawn="1"/>
        </p:nvSpPr>
        <p:spPr>
          <a:xfrm>
            <a:off x="667408" y="1659004"/>
            <a:ext cx="7344478" cy="16383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6C67"/>
                </a:solidFill>
              </a14:hiddenFill>
            </a:ext>
            <a:ext uri="{91240B29-F687-4F45-9708-019B960494DF}">
              <a14:hiddenLine xmlns:a14="http://schemas.microsoft.com/office/drawing/2010/main" w="9525" cap="rnd" cmpd="sng" algn="ctr">
                <a:solidFill>
                  <a:srgbClr val="006C6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l" defTabSz="914400" rtl="0" eaLnBrk="1" latinLnBrk="0" hangingPunct="1">
              <a:lnSpc>
                <a:spcPct val="90000"/>
              </a:lnSpc>
              <a:spcBef>
                <a:spcPct val="0"/>
              </a:spcBef>
              <a:buNone/>
            </a:pPr>
            <a:r>
              <a:rPr lang="en-GB" sz="5400" b="1" kern="1200">
                <a:solidFill>
                  <a:srgbClr val="006C67"/>
                </a:solidFill>
                <a:latin typeface="Sakkal Majalla" panose="02000000000000000000" pitchFamily="2" charset="-78"/>
                <a:ea typeface="+mj-ea"/>
                <a:cs typeface="Sakkal Majalla" panose="02000000000000000000" pitchFamily="2" charset="-78"/>
                <a:sym typeface="+mj-lt"/>
              </a:rPr>
              <a:t>Thank you</a:t>
            </a:r>
          </a:p>
        </p:txBody>
      </p:sp>
      <p:pic>
        <p:nvPicPr>
          <p:cNvPr id="14" name="Picture 13"/>
          <p:cNvPicPr>
            <a:picLocks noChangeAspect="1"/>
          </p:cNvPicPr>
          <p:nvPr userDrawn="1"/>
        </p:nvPicPr>
        <p:blipFill rotWithShape="1">
          <a:blip r:embed="rId6"/>
          <a:srcRect/>
          <a:stretch/>
        </p:blipFill>
        <p:spPr>
          <a:xfrm>
            <a:off x="562633" y="3343543"/>
            <a:ext cx="7260614" cy="71407"/>
          </a:xfrm>
          <a:prstGeom prst="rect">
            <a:avLst/>
          </a:prstGeom>
        </p:spPr>
      </p:pic>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17" name="Picture 16"/>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9" name="Graphic 8">
            <a:extLst>
              <a:ext uri="{FF2B5EF4-FFF2-40B4-BE49-F238E27FC236}">
                <a16:creationId xmlns:a16="http://schemas.microsoft.com/office/drawing/2014/main" id="{0875E17A-EBA8-45DB-B0D7-60C4290199C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2027980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41015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pic>
        <p:nvPicPr>
          <p:cNvPr id="14" name="Picture 13"/>
          <p:cNvPicPr>
            <a:picLocks noChangeAspect="1"/>
          </p:cNvPicPr>
          <p:nvPr userDrawn="1"/>
        </p:nvPicPr>
        <p:blipFill rotWithShape="1">
          <a:blip r:embed="rId6"/>
          <a:srcRect/>
          <a:stretch/>
        </p:blipFill>
        <p:spPr>
          <a:xfrm>
            <a:off x="562633" y="3343543"/>
            <a:ext cx="7260614" cy="71407"/>
          </a:xfrm>
          <a:prstGeom prst="rect">
            <a:avLst/>
          </a:prstGeom>
        </p:spPr>
      </p:pic>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17" name="Picture 16"/>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9" name="Graphic 8">
            <a:extLst>
              <a:ext uri="{FF2B5EF4-FFF2-40B4-BE49-F238E27FC236}">
                <a16:creationId xmlns:a16="http://schemas.microsoft.com/office/drawing/2014/main" id="{0875E17A-EBA8-45DB-B0D7-60C4290199C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356922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84717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sp>
        <p:nvSpPr>
          <p:cNvPr id="17" name="Title 5"/>
          <p:cNvSpPr>
            <a:spLocks noGrp="1"/>
          </p:cNvSpPr>
          <p:nvPr>
            <p:ph type="ctrTitle"/>
          </p:nvPr>
        </p:nvSpPr>
        <p:spPr>
          <a:xfrm>
            <a:off x="667408" y="1659004"/>
            <a:ext cx="7344478" cy="1638300"/>
          </a:xfrm>
        </p:spPr>
        <p:txBody>
          <a:bodyPr vert="horz" lIns="0" tIns="0" rIns="0" bIns="0" anchor="b">
            <a:normAutofit/>
          </a:bodyPr>
          <a:lstStyle>
            <a:lvl1pPr algn="r" rtl="0">
              <a:defRPr sz="5400">
                <a:solidFill>
                  <a:srgbClr val="006C67"/>
                </a:solidFill>
                <a:latin typeface="+mj-lt"/>
                <a:ea typeface="+mj-ea"/>
                <a:cs typeface="+mj-cs"/>
                <a:sym typeface="+mj-lt"/>
              </a:defRPr>
            </a:lvl1pPr>
          </a:lstStyle>
          <a:p>
            <a:r>
              <a:rPr lang="en-GB"/>
              <a:t>Click to edit Master title style</a:t>
            </a:r>
          </a:p>
        </p:txBody>
      </p:sp>
      <p:sp>
        <p:nvSpPr>
          <p:cNvPr id="19" name="Text Placeholder 7"/>
          <p:cNvSpPr>
            <a:spLocks noGrp="1"/>
          </p:cNvSpPr>
          <p:nvPr>
            <p:ph type="body" sz="quarter" idx="10" hasCustomPrompt="1"/>
          </p:nvPr>
        </p:nvSpPr>
        <p:spPr>
          <a:xfrm>
            <a:off x="667407" y="3461188"/>
            <a:ext cx="7344478" cy="662940"/>
          </a:xfrm>
        </p:spPr>
        <p:txBody>
          <a:bodyPr lIns="0" tIns="0" rIns="0" bIns="0">
            <a:normAutofit/>
          </a:bodyPr>
          <a:lstStyle>
            <a:lvl1pPr marL="0" indent="0" algn="l" rtl="0">
              <a:buNone/>
              <a:defRPr sz="2400">
                <a:solidFill>
                  <a:schemeClr val="tx1"/>
                </a:solidFill>
                <a:latin typeface="+mn-lt"/>
                <a:ea typeface="+mn-ea"/>
                <a:cs typeface="+mn-cs"/>
                <a:sym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subtitle style</a:t>
            </a:r>
          </a:p>
        </p:txBody>
      </p:sp>
      <p:sp>
        <p:nvSpPr>
          <p:cNvPr id="23" name="Text Placeholder 2"/>
          <p:cNvSpPr>
            <a:spLocks noGrp="1"/>
          </p:cNvSpPr>
          <p:nvPr>
            <p:ph type="body" sz="quarter" idx="11" hasCustomPrompt="1"/>
          </p:nvPr>
        </p:nvSpPr>
        <p:spPr>
          <a:xfrm>
            <a:off x="667407" y="4198448"/>
            <a:ext cx="7344478" cy="251460"/>
          </a:xfrm>
        </p:spPr>
        <p:txBody>
          <a:bodyPr anchor="ctr"/>
          <a:lstStyle>
            <a:lvl1pPr algn="l" rtl="0">
              <a:defRPr sz="1600" cap="all" baseline="0">
                <a:solidFill>
                  <a:srgbClr val="7F7F7F"/>
                </a:solidFill>
              </a:defRPr>
            </a:lvl1pPr>
          </a:lstStyle>
          <a:p>
            <a:pPr lvl="0"/>
            <a:r>
              <a:rPr lang="en-GB"/>
              <a:t>Click to edit date/place</a:t>
            </a:r>
          </a:p>
        </p:txBody>
      </p:sp>
      <p:pic>
        <p:nvPicPr>
          <p:cNvPr id="24" name="Picture 23"/>
          <p:cNvPicPr>
            <a:picLocks noChangeAspect="1"/>
          </p:cNvPicPr>
          <p:nvPr userDrawn="1"/>
        </p:nvPicPr>
        <p:blipFill rotWithShape="1">
          <a:blip r:embed="rId7"/>
          <a:srcRect/>
          <a:stretch/>
        </p:blipFill>
        <p:spPr>
          <a:xfrm>
            <a:off x="562633" y="3343543"/>
            <a:ext cx="7260614" cy="71407"/>
          </a:xfrm>
          <a:prstGeom prst="rect">
            <a:avLst/>
          </a:prstGeom>
        </p:spPr>
      </p:pic>
      <p:pic>
        <p:nvPicPr>
          <p:cNvPr id="25" name="Picture 24"/>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28" name="Picture 27"/>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12" name="Graphic 11">
            <a:extLst>
              <a:ext uri="{FF2B5EF4-FFF2-40B4-BE49-F238E27FC236}">
                <a16:creationId xmlns:a16="http://schemas.microsoft.com/office/drawing/2014/main" id="{E5DB6A6D-0DD1-4546-860A-F4108A3FCA24}"/>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2309628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ACD732-0EAB-B5C7-7A8C-2EC223DCCBCF}"/>
              </a:ext>
            </a:extLst>
          </p:cNvPr>
          <p:cNvGraphicFramePr>
            <a:graphicFrameLocks noChangeAspect="1"/>
          </p:cNvGraphicFramePr>
          <p:nvPr userDrawn="1">
            <p:custDataLst>
              <p:tags r:id="rId1"/>
            </p:custDataLst>
            <p:extLst>
              <p:ext uri="{D42A27DB-BD31-4B8C-83A1-F6EECF244321}">
                <p14:modId xmlns:p14="http://schemas.microsoft.com/office/powerpoint/2010/main" val="1844483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BACD732-0EAB-B5C7-7A8C-2EC223DCCB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GB"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en-GB"/>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lgn="l" rtl="0">
              <a:defRPr sz="3200">
                <a:solidFill>
                  <a:srgbClr val="006C67"/>
                </a:solidFill>
                <a:latin typeface="+mj-lt"/>
              </a:defRPr>
            </a:lvl1pPr>
          </a:lstStyle>
          <a:p>
            <a:r>
              <a:rPr lang="en-GB"/>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0087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a:xfrm>
            <a:off x="10110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8" name="Title 7"/>
          <p:cNvSpPr>
            <a:spLocks noGrp="1"/>
          </p:cNvSpPr>
          <p:nvPr>
            <p:ph type="title" hasCustomPrompt="1"/>
          </p:nvPr>
        </p:nvSpPr>
        <p:spPr>
          <a:xfrm>
            <a:off x="630000" y="622800"/>
            <a:ext cx="10933350" cy="332399"/>
          </a:xfrm>
        </p:spPr>
        <p:txBody>
          <a:bodyPr vert="horz"/>
          <a:lstStyle>
            <a:lvl1pPr algn="l" rtl="0">
              <a:defRPr>
                <a:solidFill>
                  <a:srgbClr val="006C67"/>
                </a:solidFill>
                <a:latin typeface="+mj-lt"/>
                <a:sym typeface="Trebuchet MS" panose="020B0603020202020204" pitchFamily="34" charset="0"/>
              </a:defRPr>
            </a:lvl1pPr>
          </a:lstStyle>
          <a:p>
            <a:r>
              <a:rPr lang="en-GB"/>
              <a:t>Click to add title</a:t>
            </a:r>
          </a:p>
        </p:txBody>
      </p:sp>
      <p:pic>
        <p:nvPicPr>
          <p:cNvPr id="11" name="PP Templet-09.jpg" descr="PP Templet-09.jpg"/>
          <p:cNvPicPr>
            <a:picLocks noChangeAspect="1"/>
          </p:cNvPicPr>
          <p:nvPr userDrawn="1"/>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11691954" y="652176"/>
            <a:ext cx="335360" cy="6148270"/>
          </a:xfrm>
          <a:prstGeom prst="rect">
            <a:avLst/>
          </a:prstGeom>
          <a:ln w="12700">
            <a:miter lim="400000"/>
          </a:ln>
        </p:spPr>
      </p:pic>
    </p:spTree>
    <p:extLst>
      <p:ext uri="{BB962C8B-B14F-4D97-AF65-F5344CB8AC3E}">
        <p14:creationId xmlns:p14="http://schemas.microsoft.com/office/powerpoint/2010/main" val="2159532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281A33-93E6-B770-D361-611354922ACB}"/>
              </a:ext>
            </a:extLst>
          </p:cNvPr>
          <p:cNvGraphicFramePr>
            <a:graphicFrameLocks noChangeAspect="1"/>
          </p:cNvGraphicFramePr>
          <p:nvPr userDrawn="1">
            <p:custDataLst>
              <p:tags r:id="rId1"/>
            </p:custDataLst>
            <p:extLst>
              <p:ext uri="{D42A27DB-BD31-4B8C-83A1-F6EECF244321}">
                <p14:modId xmlns:p14="http://schemas.microsoft.com/office/powerpoint/2010/main" val="1957004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7F281A33-93E6-B770-D361-611354922A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lgn="l" rtl="0">
              <a:defRPr>
                <a:solidFill>
                  <a:srgbClr val="006C67"/>
                </a:solidFill>
              </a:defRPr>
            </a:lvl1pPr>
          </a:lstStyle>
          <a:p>
            <a:r>
              <a:rPr lang="en-GB"/>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algn="l" rtl="0">
              <a:lnSpc>
                <a:spcPct val="100000"/>
              </a:lnSpc>
              <a:spcBef>
                <a:spcPts val="0"/>
              </a:spcBef>
              <a:spcAft>
                <a:spcPts val="0"/>
              </a:spcAft>
              <a:defRPr/>
            </a:lvl1pPr>
            <a:lvl2pPr algn="l" rtl="0">
              <a:lnSpc>
                <a:spcPct val="100000"/>
              </a:lnSpc>
              <a:spcBef>
                <a:spcPts val="0"/>
              </a:spcBef>
              <a:spcAft>
                <a:spcPts val="0"/>
              </a:spcAft>
              <a:defRPr/>
            </a:lvl2pPr>
            <a:lvl3pPr algn="l" rtl="0">
              <a:lnSpc>
                <a:spcPct val="100000"/>
              </a:lnSpc>
              <a:spcBef>
                <a:spcPts val="0"/>
              </a:spcBef>
              <a:spcAft>
                <a:spcPts val="0"/>
              </a:spcAft>
              <a:defRPr/>
            </a:lvl3pPr>
            <a:lvl4pPr algn="l" rtl="0">
              <a:lnSpc>
                <a:spcPct val="100000"/>
              </a:lnSpc>
              <a:spcBef>
                <a:spcPts val="0"/>
              </a:spcBef>
              <a:spcAft>
                <a:spcPts val="0"/>
              </a:spcAft>
              <a:defRPr/>
            </a:lvl4pPr>
            <a:lvl5pPr algn="l" rtl="0">
              <a:lnSpc>
                <a:spcPct val="100000"/>
              </a:lnSpc>
              <a:spcBef>
                <a:spcPts val="0"/>
              </a:spcBef>
              <a:spcAft>
                <a:spcPts val="0"/>
              </a:spcAft>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7" name="PP Templet-09.jpg" descr="PP Templet-09.jpg"/>
          <p:cNvPicPr>
            <a:picLocks noChangeAspect="1"/>
          </p:cNvPicPr>
          <p:nvPr userDrawn="1"/>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11691954" y="652176"/>
            <a:ext cx="335360" cy="6148270"/>
          </a:xfrm>
          <a:prstGeom prst="rect">
            <a:avLst/>
          </a:prstGeom>
          <a:ln w="12700">
            <a:miter lim="400000"/>
          </a:ln>
        </p:spPr>
      </p:pic>
    </p:spTree>
    <p:extLst>
      <p:ext uri="{BB962C8B-B14F-4D97-AF65-F5344CB8AC3E}">
        <p14:creationId xmlns:p14="http://schemas.microsoft.com/office/powerpoint/2010/main" val="2089939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116A14F-EFAA-91D5-57A4-88060F685947}"/>
              </a:ext>
            </a:extLst>
          </p:cNvPr>
          <p:cNvGraphicFramePr>
            <a:graphicFrameLocks noChangeAspect="1"/>
          </p:cNvGraphicFramePr>
          <p:nvPr userDrawn="1">
            <p:custDataLst>
              <p:tags r:id="rId1"/>
            </p:custDataLst>
            <p:extLst>
              <p:ext uri="{D42A27DB-BD31-4B8C-83A1-F6EECF244321}">
                <p14:modId xmlns:p14="http://schemas.microsoft.com/office/powerpoint/2010/main" val="2895563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0116A14F-EFAA-91D5-57A4-88060F685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a:xfrm>
            <a:off x="10110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r" rtl="0">
              <a:buNone/>
              <a:defRPr sz="1600">
                <a:solidFill>
                  <a:srgbClr val="006C6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lgn="l" rtl="0">
              <a:defRPr sz="2400">
                <a:solidFill>
                  <a:srgbClr val="006C67"/>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83294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123D57-A474-E2AA-182D-23ACE502B4E6}"/>
              </a:ext>
            </a:extLst>
          </p:cNvPr>
          <p:cNvGraphicFramePr>
            <a:graphicFrameLocks noChangeAspect="1"/>
          </p:cNvGraphicFramePr>
          <p:nvPr userDrawn="1">
            <p:custDataLst>
              <p:tags r:id="rId1"/>
            </p:custDataLst>
            <p:extLst>
              <p:ext uri="{D42A27DB-BD31-4B8C-83A1-F6EECF244321}">
                <p14:modId xmlns:p14="http://schemas.microsoft.com/office/powerpoint/2010/main" val="3209832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7C123D57-A474-E2AA-182D-23ACE502B4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a:xfrm>
            <a:off x="10110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C67"/>
                </a:solidFill>
                <a:latin typeface="+mj-lt"/>
                <a:ea typeface="+mn-ea"/>
                <a:cs typeface="Arial" panose="020B0604020202020204" pitchFamily="34" charset="0"/>
                <a:sym typeface="Trebuchet MS" panose="020B0603020202020204" pitchFamily="34" charset="0"/>
              </a:defRPr>
            </a:lvl1pPr>
          </a:lstStyle>
          <a:p>
            <a:r>
              <a:rPr lang="en-GB"/>
              <a:t>Click to add section title</a:t>
            </a:r>
          </a:p>
        </p:txBody>
      </p:sp>
      <p:sp>
        <p:nvSpPr>
          <p:cNvPr id="11" name="Rectangle 10"/>
          <p:cNvSpPr/>
          <p:nvPr userDrawn="1"/>
        </p:nvSpPr>
        <p:spPr bwMode="white">
          <a:xfrm>
            <a:off x="1280693" y="1424081"/>
            <a:ext cx="951721" cy="951721"/>
          </a:xfrm>
          <a:prstGeom prst="rect">
            <a:avLst/>
          </a:prstGeom>
          <a:noFill/>
          <a:ln>
            <a:solidFill>
              <a:srgbClr val="009A9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06598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C1E310-3544-30D5-F510-CAC83EC56DA3}"/>
              </a:ext>
            </a:extLst>
          </p:cNvPr>
          <p:cNvGraphicFramePr>
            <a:graphicFrameLocks noChangeAspect="1"/>
          </p:cNvGraphicFramePr>
          <p:nvPr userDrawn="1">
            <p:custDataLst>
              <p:tags r:id="rId1"/>
            </p:custDataLst>
            <p:extLst>
              <p:ext uri="{D42A27DB-BD31-4B8C-83A1-F6EECF244321}">
                <p14:modId xmlns:p14="http://schemas.microsoft.com/office/powerpoint/2010/main" val="919364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0FC1E310-3544-30D5-F510-CAC83EC56D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a:xfrm>
            <a:off x="10110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lgn="l" rtl="0">
              <a:defRPr sz="5400">
                <a:solidFill>
                  <a:srgbClr val="006C67"/>
                </a:solidFill>
                <a:latin typeface="+mj-lt"/>
                <a:sym typeface="Trebuchet MS" panose="020B0603020202020204" pitchFamily="34" charset="0"/>
              </a:defRPr>
            </a:lvl1pPr>
          </a:lstStyle>
          <a:p>
            <a:r>
              <a:rPr lang="en-GB"/>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009A93"/>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3711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DEE8520-9691-4800-7297-DAB4B46CDF2D}"/>
              </a:ext>
            </a:extLst>
          </p:cNvPr>
          <p:cNvGraphicFramePr>
            <a:graphicFrameLocks noChangeAspect="1"/>
          </p:cNvGraphicFramePr>
          <p:nvPr userDrawn="1">
            <p:custDataLst>
              <p:tags r:id="rId1"/>
            </p:custDataLst>
            <p:extLst>
              <p:ext uri="{D42A27DB-BD31-4B8C-83A1-F6EECF244321}">
                <p14:modId xmlns:p14="http://schemas.microsoft.com/office/powerpoint/2010/main" val="2589590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4DEE8520-9691-4800-7297-DAB4B46CDF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lgn="l" rtl="0">
              <a:defRPr sz="2400">
                <a:solidFill>
                  <a:srgbClr val="006C67"/>
                </a:solidFill>
                <a:latin typeface="+mj-lt"/>
                <a:sym typeface="Trebuchet MS" panose="020B0603020202020204" pitchFamily="34" charset="0"/>
              </a:defRPr>
            </a:lvl1pPr>
          </a:lstStyle>
          <a:p>
            <a:r>
              <a:rPr lang="en-GB"/>
              <a:t>Click to add title</a:t>
            </a:r>
          </a:p>
        </p:txBody>
      </p:sp>
      <p:pic>
        <p:nvPicPr>
          <p:cNvPr id="11" name="Picture 10">
            <a:extLst>
              <a:ext uri="{FF2B5EF4-FFF2-40B4-BE49-F238E27FC236}">
                <a16:creationId xmlns:a16="http://schemas.microsoft.com/office/drawing/2014/main" id="{CCF5566F-5DE7-44C7-8472-479F86C22CF7}"/>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039730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226276B-BE86-E34E-9235-C4616069DC97}"/>
              </a:ext>
            </a:extLst>
          </p:cNvPr>
          <p:cNvGraphicFramePr>
            <a:graphicFrameLocks noChangeAspect="1"/>
          </p:cNvGraphicFramePr>
          <p:nvPr userDrawn="1">
            <p:custDataLst>
              <p:tags r:id="rId1"/>
            </p:custDataLst>
            <p:extLst>
              <p:ext uri="{D42A27DB-BD31-4B8C-83A1-F6EECF244321}">
                <p14:modId xmlns:p14="http://schemas.microsoft.com/office/powerpoint/2010/main" val="196371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E226276B-BE86-E34E-9235-C4616069DC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lgn="l" rtl="0">
              <a:defRPr>
                <a:solidFill>
                  <a:srgbClr val="006C67"/>
                </a:solidFill>
                <a:latin typeface="+mj-lt"/>
                <a:sym typeface="Trebuchet MS" panose="020B0603020202020204" pitchFamily="34" charset="0"/>
              </a:defRPr>
            </a:lvl1pPr>
          </a:lstStyle>
          <a:p>
            <a:r>
              <a:rPr lang="en-GB"/>
              <a:t>Click to add title</a:t>
            </a:r>
          </a:p>
        </p:txBody>
      </p:sp>
      <p:pic>
        <p:nvPicPr>
          <p:cNvPr id="11" name="Picture 10">
            <a:extLst>
              <a:ext uri="{FF2B5EF4-FFF2-40B4-BE49-F238E27FC236}">
                <a16:creationId xmlns:a16="http://schemas.microsoft.com/office/drawing/2014/main" id="{7E81D9EE-7DCA-4757-9805-463846A646DA}"/>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942982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7CE4BAB-0594-2CC9-4F49-517FDCFBC617}"/>
              </a:ext>
            </a:extLst>
          </p:cNvPr>
          <p:cNvGraphicFramePr>
            <a:graphicFrameLocks noChangeAspect="1"/>
          </p:cNvGraphicFramePr>
          <p:nvPr userDrawn="1">
            <p:custDataLst>
              <p:tags r:id="rId1"/>
            </p:custDataLst>
            <p:extLst>
              <p:ext uri="{D42A27DB-BD31-4B8C-83A1-F6EECF244321}">
                <p14:modId xmlns:p14="http://schemas.microsoft.com/office/powerpoint/2010/main" val="26246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87CE4BAB-0594-2CC9-4F49-517FDCFBC6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lgn="l" rtl="0">
              <a:defRPr>
                <a:solidFill>
                  <a:srgbClr val="006C67"/>
                </a:solidFill>
                <a:latin typeface="+mj-lt"/>
                <a:sym typeface="Trebuchet MS" panose="020B0603020202020204" pitchFamily="34" charset="0"/>
              </a:defRPr>
            </a:lvl1pPr>
          </a:lstStyle>
          <a:p>
            <a:r>
              <a:rPr lang="en-GB"/>
              <a:t>Click to add title</a:t>
            </a:r>
          </a:p>
        </p:txBody>
      </p:sp>
      <p:pic>
        <p:nvPicPr>
          <p:cNvPr id="11" name="Picture 10">
            <a:extLst>
              <a:ext uri="{FF2B5EF4-FFF2-40B4-BE49-F238E27FC236}">
                <a16:creationId xmlns:a16="http://schemas.microsoft.com/office/drawing/2014/main" id="{C63B693B-4AD5-4D68-8296-3092FDBDAED9}"/>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868147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26D325D-0BC1-732B-D00E-6AEE061C59F1}"/>
              </a:ext>
            </a:extLst>
          </p:cNvPr>
          <p:cNvGraphicFramePr>
            <a:graphicFrameLocks noChangeAspect="1"/>
          </p:cNvGraphicFramePr>
          <p:nvPr userDrawn="1">
            <p:custDataLst>
              <p:tags r:id="rId1"/>
            </p:custDataLst>
            <p:extLst>
              <p:ext uri="{D42A27DB-BD31-4B8C-83A1-F6EECF244321}">
                <p14:modId xmlns:p14="http://schemas.microsoft.com/office/powerpoint/2010/main" val="199860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26D325D-0BC1-732B-D00E-6AEE061C5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lgn="l" rtl="0">
              <a:defRPr sz="2400">
                <a:solidFill>
                  <a:schemeClr val="bg1"/>
                </a:solidFill>
                <a:latin typeface="+mj-lt"/>
                <a:sym typeface="Trebuchet MS" panose="020B0603020202020204" pitchFamily="34" charset="0"/>
              </a:defRPr>
            </a:lvl1pPr>
          </a:lstStyle>
          <a:p>
            <a:r>
              <a:rPr lang="en-GB"/>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10" name="Picture 9">
            <a:extLst>
              <a:ext uri="{FF2B5EF4-FFF2-40B4-BE49-F238E27FC236}">
                <a16:creationId xmlns:a16="http://schemas.microsoft.com/office/drawing/2014/main" id="{E05A7C20-AA08-4BFA-9709-9EAC1151E602}"/>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238799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D972EB-B776-0523-B203-043298194556}"/>
              </a:ext>
            </a:extLst>
          </p:cNvPr>
          <p:cNvGraphicFramePr>
            <a:graphicFrameLocks noChangeAspect="1"/>
          </p:cNvGraphicFramePr>
          <p:nvPr userDrawn="1">
            <p:custDataLst>
              <p:tags r:id="rId1"/>
            </p:custDataLst>
            <p:extLst>
              <p:ext uri="{D42A27DB-BD31-4B8C-83A1-F6EECF244321}">
                <p14:modId xmlns:p14="http://schemas.microsoft.com/office/powerpoint/2010/main" val="2782741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4CD972EB-B776-0523-B203-0432981945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lgn="l" rtl="0">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18" name="Picture 17">
            <a:extLst>
              <a:ext uri="{FF2B5EF4-FFF2-40B4-BE49-F238E27FC236}">
                <a16:creationId xmlns:a16="http://schemas.microsoft.com/office/drawing/2014/main" id="{3AA8C9F0-F04D-4944-BA87-3AAE11A470BF}"/>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4005663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364283D-069D-233B-323C-8D3C98D74A76}"/>
              </a:ext>
            </a:extLst>
          </p:cNvPr>
          <p:cNvGraphicFramePr>
            <a:graphicFrameLocks noChangeAspect="1"/>
          </p:cNvGraphicFramePr>
          <p:nvPr userDrawn="1">
            <p:custDataLst>
              <p:tags r:id="rId1"/>
            </p:custDataLst>
            <p:extLst>
              <p:ext uri="{D42A27DB-BD31-4B8C-83A1-F6EECF244321}">
                <p14:modId xmlns:p14="http://schemas.microsoft.com/office/powerpoint/2010/main" val="142978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6364283D-069D-233B-323C-8D3C98D74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pic>
        <p:nvPicPr>
          <p:cNvPr id="9" name="Picture 8">
            <a:extLst>
              <a:ext uri="{FF2B5EF4-FFF2-40B4-BE49-F238E27FC236}">
                <a16:creationId xmlns:a16="http://schemas.microsoft.com/office/drawing/2014/main" id="{E1F77846-4160-4C3F-996E-CCD92DD95571}"/>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pic>
        <p:nvPicPr>
          <p:cNvPr id="6" name="Picture 5">
            <a:extLst>
              <a:ext uri="{FF2B5EF4-FFF2-40B4-BE49-F238E27FC236}">
                <a16:creationId xmlns:a16="http://schemas.microsoft.com/office/drawing/2014/main" id="{C56412D9-1366-632D-8B48-E883FB42E516}"/>
              </a:ext>
            </a:extLst>
          </p:cNvPr>
          <p:cNvPicPr>
            <a:picLocks noChangeAspect="1"/>
          </p:cNvPicPr>
          <p:nvPr userDrawn="1"/>
        </p:nvPicPr>
        <p:blipFill>
          <a:blip r:embed="rId7">
            <a:biLevel thresh="25000"/>
          </a:blip>
          <a:stretch>
            <a:fillRect/>
          </a:stretch>
        </p:blipFill>
        <p:spPr>
          <a:xfrm>
            <a:off x="130967" y="86239"/>
            <a:ext cx="1190626" cy="350391"/>
          </a:xfrm>
          <a:prstGeom prst="rect">
            <a:avLst/>
          </a:prstGeom>
        </p:spPr>
      </p:pic>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0092D56-6F97-8B00-3F53-FFE1DBEDC293}"/>
              </a:ext>
            </a:extLst>
          </p:cNvPr>
          <p:cNvGraphicFramePr>
            <a:graphicFrameLocks noChangeAspect="1"/>
          </p:cNvGraphicFramePr>
          <p:nvPr userDrawn="1">
            <p:custDataLst>
              <p:tags r:id="rId1"/>
            </p:custDataLst>
            <p:extLst>
              <p:ext uri="{D42A27DB-BD31-4B8C-83A1-F6EECF244321}">
                <p14:modId xmlns:p14="http://schemas.microsoft.com/office/powerpoint/2010/main" val="799412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D0092D56-6F97-8B00-3F53-FFE1DBEDC2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lgn="l" rtl="0">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0D08559D-B634-4DE1-B3CB-076B1A315F9E}"/>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605275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603151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lgn="l" rtl="0">
              <a:defRPr sz="2400">
                <a:solidFill>
                  <a:srgbClr val="006C67"/>
                </a:solidFill>
                <a:latin typeface="+mj-lt"/>
                <a:sym typeface="Trebuchet MS" panose="020B0603020202020204" pitchFamily="34" charset="0"/>
              </a:defRPr>
            </a:lvl1pPr>
          </a:lstStyle>
          <a:p>
            <a:r>
              <a:rPr lang="en-GB">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74B6C4EB-7234-49BE-933E-C47B1D627A51}"/>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670286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CA64CFB-B1BF-FF91-7AEC-CE841303DE34}"/>
              </a:ext>
            </a:extLst>
          </p:cNvPr>
          <p:cNvGraphicFramePr>
            <a:graphicFrameLocks noChangeAspect="1"/>
          </p:cNvGraphicFramePr>
          <p:nvPr userDrawn="1">
            <p:custDataLst>
              <p:tags r:id="rId1"/>
            </p:custDataLst>
            <p:extLst>
              <p:ext uri="{D42A27DB-BD31-4B8C-83A1-F6EECF244321}">
                <p14:modId xmlns:p14="http://schemas.microsoft.com/office/powerpoint/2010/main" val="118510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CA64CFB-B1BF-FF91-7AEC-CE841303DE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lgn="l" rtl="0">
              <a:defRPr>
                <a:solidFill>
                  <a:srgbClr val="FFFFFF"/>
                </a:solidFill>
                <a:latin typeface="+mj-lt"/>
              </a:defRPr>
            </a:lvl1pPr>
          </a:lstStyle>
          <a:p>
            <a:r>
              <a:rPr lang="en-GB"/>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a:extLst>
              <a:ext uri="{FF2B5EF4-FFF2-40B4-BE49-F238E27FC236}">
                <a16:creationId xmlns:a16="http://schemas.microsoft.com/office/drawing/2014/main" id="{2D1FD59A-4685-48EA-99FE-D5D1F4A0DD97}"/>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955639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A94FB46-C91F-5247-4380-9E54CBAF8F66}"/>
              </a:ext>
            </a:extLst>
          </p:cNvPr>
          <p:cNvGraphicFramePr>
            <a:graphicFrameLocks noChangeAspect="1"/>
          </p:cNvGraphicFramePr>
          <p:nvPr userDrawn="1">
            <p:custDataLst>
              <p:tags r:id="rId1"/>
            </p:custDataLst>
            <p:extLst>
              <p:ext uri="{D42A27DB-BD31-4B8C-83A1-F6EECF244321}">
                <p14:modId xmlns:p14="http://schemas.microsoft.com/office/powerpoint/2010/main" val="1114649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3A94FB46-C91F-5247-4380-9E54CBAF8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lgn="l" rtl="0">
              <a:defRPr sz="4400" b="0">
                <a:solidFill>
                  <a:srgbClr val="006C67"/>
                </a:solidFill>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45C878E9-1B5E-4086-BF6E-E63942A82EEA}"/>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616530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FA8A586-11DE-0B03-CEEB-6034FB186A5A}"/>
              </a:ext>
            </a:extLst>
          </p:cNvPr>
          <p:cNvGraphicFramePr>
            <a:graphicFrameLocks noChangeAspect="1"/>
          </p:cNvGraphicFramePr>
          <p:nvPr userDrawn="1">
            <p:custDataLst>
              <p:tags r:id="rId1"/>
            </p:custDataLst>
            <p:extLst>
              <p:ext uri="{D42A27DB-BD31-4B8C-83A1-F6EECF244321}">
                <p14:modId xmlns:p14="http://schemas.microsoft.com/office/powerpoint/2010/main" val="1246899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5FA8A586-11DE-0B03-CEEB-6034FB186A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lgn="l" rtl="0">
              <a:defRPr sz="4400" b="0">
                <a:solidFill>
                  <a:srgbClr val="FFFFFF"/>
                </a:solidFill>
                <a:latin typeface="+mj-lt"/>
                <a:sym typeface="Trebuchet MS" panose="020B0603020202020204" pitchFamily="34" charset="0"/>
              </a:defRPr>
            </a:lvl1pPr>
          </a:lstStyle>
          <a:p>
            <a:r>
              <a:rPr lang="en-GB"/>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a:extLst>
              <a:ext uri="{FF2B5EF4-FFF2-40B4-BE49-F238E27FC236}">
                <a16:creationId xmlns:a16="http://schemas.microsoft.com/office/drawing/2014/main" id="{F15C7EC3-FAF7-423A-85C5-6C704DBD2D83}"/>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3299948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69A39D7-7232-3C59-9275-C4BD86C8FEE9}"/>
              </a:ext>
            </a:extLst>
          </p:cNvPr>
          <p:cNvGraphicFramePr>
            <a:graphicFrameLocks noChangeAspect="1"/>
          </p:cNvGraphicFramePr>
          <p:nvPr userDrawn="1">
            <p:custDataLst>
              <p:tags r:id="rId1"/>
            </p:custDataLst>
            <p:extLst>
              <p:ext uri="{D42A27DB-BD31-4B8C-83A1-F6EECF244321}">
                <p14:modId xmlns:p14="http://schemas.microsoft.com/office/powerpoint/2010/main" val="321316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A69A39D7-7232-3C59-9275-C4BD86C8FE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lgn="l" rtl="0">
              <a:defRPr>
                <a:solidFill>
                  <a:srgbClr val="006C67"/>
                </a:solidFill>
                <a:latin typeface="+mj-lt"/>
                <a:sym typeface="Trebuchet MS" panose="020B0603020202020204" pitchFamily="34" charset="0"/>
              </a:defRPr>
            </a:lvl1pPr>
          </a:lstStyle>
          <a:p>
            <a:r>
              <a:rPr lang="en-GB"/>
              <a:t>Click to add title</a:t>
            </a: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558C5587-AA67-4CE8-ADFC-650D492A0DFF}"/>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463407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3FE3A7B-0E94-53C0-45A5-CE9CF4BE9176}"/>
              </a:ext>
            </a:extLst>
          </p:cNvPr>
          <p:cNvGraphicFramePr>
            <a:graphicFrameLocks noChangeAspect="1"/>
          </p:cNvGraphicFramePr>
          <p:nvPr userDrawn="1">
            <p:custDataLst>
              <p:tags r:id="rId1"/>
            </p:custDataLst>
            <p:extLst>
              <p:ext uri="{D42A27DB-BD31-4B8C-83A1-F6EECF244321}">
                <p14:modId xmlns:p14="http://schemas.microsoft.com/office/powerpoint/2010/main" val="119391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53FE3A7B-0E94-53C0-45A5-CE9CF4BE91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006C67"/>
              </a:gs>
              <a:gs pos="100000">
                <a:srgbClr val="004C4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lgn="l" rtl="0">
              <a:defRPr>
                <a:solidFill>
                  <a:srgbClr val="FFFFFF"/>
                </a:solidFill>
                <a:latin typeface="+mj-lt"/>
                <a:sym typeface="Trebuchet MS" panose="020B0603020202020204" pitchFamily="34" charset="0"/>
              </a:defRPr>
            </a:lvl1pPr>
          </a:lstStyle>
          <a:p>
            <a:r>
              <a:rPr lang="en-GB"/>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3" name="Picture 12">
            <a:extLst>
              <a:ext uri="{FF2B5EF4-FFF2-40B4-BE49-F238E27FC236}">
                <a16:creationId xmlns:a16="http://schemas.microsoft.com/office/drawing/2014/main" id="{41E1C2F9-3E4F-4853-B467-2BDA5842956F}"/>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465901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BF583D-8050-EB1E-7C26-F78339E125DB}"/>
              </a:ext>
            </a:extLst>
          </p:cNvPr>
          <p:cNvGraphicFramePr>
            <a:graphicFrameLocks noChangeAspect="1"/>
          </p:cNvGraphicFramePr>
          <p:nvPr userDrawn="1">
            <p:custDataLst>
              <p:tags r:id="rId1"/>
            </p:custDataLst>
            <p:extLst>
              <p:ext uri="{D42A27DB-BD31-4B8C-83A1-F6EECF244321}">
                <p14:modId xmlns:p14="http://schemas.microsoft.com/office/powerpoint/2010/main" val="2794727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5CBF583D-8050-EB1E-7C26-F78339E125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lgn="l" rtl="0">
              <a:defRPr>
                <a:solidFill>
                  <a:srgbClr val="006C67"/>
                </a:solidFill>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067780EB-A7EC-44AE-9321-8DA349D3E2C5}"/>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909932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35EFFF-252D-766F-3C0E-B99FDF1AB627}"/>
              </a:ext>
            </a:extLst>
          </p:cNvPr>
          <p:cNvGraphicFramePr>
            <a:graphicFrameLocks noChangeAspect="1"/>
          </p:cNvGraphicFramePr>
          <p:nvPr userDrawn="1">
            <p:custDataLst>
              <p:tags r:id="rId1"/>
            </p:custDataLst>
            <p:extLst>
              <p:ext uri="{D42A27DB-BD31-4B8C-83A1-F6EECF244321}">
                <p14:modId xmlns:p14="http://schemas.microsoft.com/office/powerpoint/2010/main" val="2958818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4035EFFF-252D-766F-3C0E-B99FDF1AB6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C67"/>
              </a:gs>
              <a:gs pos="100000">
                <a:srgbClr val="004C48"/>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lgn="l" rtl="0">
              <a:defRPr>
                <a:solidFill>
                  <a:srgbClr val="FFFFFF"/>
                </a:solidFill>
                <a:latin typeface="+mj-lt"/>
                <a:sym typeface="Trebuchet MS" panose="020B0603020202020204" pitchFamily="34" charset="0"/>
              </a:defRPr>
            </a:lvl1pPr>
          </a:lstStyle>
          <a:p>
            <a:r>
              <a:rPr lang="en-GB"/>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a:extLst>
              <a:ext uri="{FF2B5EF4-FFF2-40B4-BE49-F238E27FC236}">
                <a16:creationId xmlns:a16="http://schemas.microsoft.com/office/drawing/2014/main" id="{3CBA65E1-29F4-47C1-8611-7C29BB873BEB}"/>
              </a:ext>
            </a:extLst>
          </p:cNvPr>
          <p:cNvPicPr>
            <a:picLocks noChangeAspect="1"/>
          </p:cNvPicPr>
          <p:nvPr userDrawn="1"/>
        </p:nvPicPr>
        <p:blipFill>
          <a:blip r:embed="rId6"/>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580812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8782FA-0B43-225A-235E-056D71EA1D73}"/>
              </a:ext>
            </a:extLst>
          </p:cNvPr>
          <p:cNvGraphicFramePr>
            <a:graphicFrameLocks noChangeAspect="1"/>
          </p:cNvGraphicFramePr>
          <p:nvPr userDrawn="1">
            <p:custDataLst>
              <p:tags r:id="rId1"/>
            </p:custDataLst>
            <p:extLst>
              <p:ext uri="{D42A27DB-BD31-4B8C-83A1-F6EECF244321}">
                <p14:modId xmlns:p14="http://schemas.microsoft.com/office/powerpoint/2010/main" val="2504666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C08782FA-0B43-225A-235E-056D71EA1D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pic>
        <p:nvPicPr>
          <p:cNvPr id="8" name="Picture 7">
            <a:extLst>
              <a:ext uri="{FF2B5EF4-FFF2-40B4-BE49-F238E27FC236}">
                <a16:creationId xmlns:a16="http://schemas.microsoft.com/office/drawing/2014/main" id="{EA881E27-71F6-4BCC-8D52-6F57B33755FD}"/>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831732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26B2ED3-FD17-CBD8-596E-A4BAC40C4D70}"/>
              </a:ext>
            </a:extLst>
          </p:cNvPr>
          <p:cNvGraphicFramePr>
            <a:graphicFrameLocks noChangeAspect="1"/>
          </p:cNvGraphicFramePr>
          <p:nvPr userDrawn="1">
            <p:custDataLst>
              <p:tags r:id="rId1"/>
            </p:custDataLst>
            <p:extLst>
              <p:ext uri="{D42A27DB-BD31-4B8C-83A1-F6EECF244321}">
                <p14:modId xmlns:p14="http://schemas.microsoft.com/office/powerpoint/2010/main" val="2709221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think-cell data - do not delete" hidden="1">
                        <a:extLst>
                          <a:ext uri="{FF2B5EF4-FFF2-40B4-BE49-F238E27FC236}">
                            <a16:creationId xmlns:a16="http://schemas.microsoft.com/office/drawing/2014/main" id="{926B2ED3-FD17-CBD8-596E-A4BAC40C4D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lgn="l" rtl="0">
              <a:defRPr sz="5400">
                <a:solidFill>
                  <a:schemeClr val="bg1"/>
                </a:solidFill>
                <a:latin typeface="Sakkal Majalla" panose="02000000000000000000" pitchFamily="2" charset="-78"/>
                <a:cs typeface="Sakkal Majalla" panose="02000000000000000000" pitchFamily="2" charset="-78"/>
                <a:sym typeface="Trebuchet MS" panose="020B0603020202020204" pitchFamily="34" charset="0"/>
              </a:defRPr>
            </a:lvl1pPr>
          </a:lstStyle>
          <a:p>
            <a:r>
              <a:rPr lang="en-GB"/>
              <a:t>Click to add big statement text</a:t>
            </a:r>
          </a:p>
        </p:txBody>
      </p:sp>
      <p:cxnSp>
        <p:nvCxnSpPr>
          <p:cNvPr id="148" name="Straight Connector 147"/>
          <p:cNvCxnSpPr/>
          <p:nvPr userDrawn="1"/>
        </p:nvCxnSpPr>
        <p:spPr bwMode="white">
          <a:xfrm>
            <a:off x="618898" y="3680016"/>
            <a:ext cx="11576304" cy="0"/>
          </a:xfrm>
          <a:prstGeom prst="line">
            <a:avLst/>
          </a:prstGeom>
          <a:ln w="9525" cap="rnd">
            <a:solidFill>
              <a:schemeClr val="tx2">
                <a:lumMod val="60000"/>
                <a:lumOff val="40000"/>
                <a:alpha val="49000"/>
              </a:schemeClr>
            </a:solidFill>
            <a:prstDash val="solid"/>
            <a:roun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50D4392-19D4-DBB5-7726-D5981BC22F60}"/>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30967" y="86239"/>
            <a:ext cx="1190626" cy="350391"/>
          </a:xfrm>
          <a:prstGeom prst="rect">
            <a:avLst/>
          </a:prstGeom>
        </p:spPr>
      </p:pic>
      <p:sp>
        <p:nvSpPr>
          <p:cNvPr id="6" name="Date Placeholder 3">
            <a:extLst>
              <a:ext uri="{FF2B5EF4-FFF2-40B4-BE49-F238E27FC236}">
                <a16:creationId xmlns:a16="http://schemas.microsoft.com/office/drawing/2014/main" id="{000A0FA8-5116-242A-5B38-813E65A56A44}"/>
              </a:ext>
            </a:extLst>
          </p:cNvPr>
          <p:cNvSpPr txBox="1">
            <a:spLocks/>
          </p:cNvSpPr>
          <p:nvPr userDrawn="1"/>
        </p:nvSpPr>
        <p:spPr>
          <a:xfrm>
            <a:off x="1032549" y="6405036"/>
            <a:ext cx="1482051" cy="153888"/>
          </a:xfrm>
          <a:prstGeom prst="rect">
            <a:avLst/>
          </a:prstGeom>
        </p:spPr>
        <p:txBody>
          <a:bodyPr vert="horz" wrap="square" lIns="0" tIns="0" rIns="0" bIns="0" rtlCol="0" anchor="b">
            <a:spAutoFit/>
          </a:bodyPr>
          <a:lstStyle>
            <a:defPPr>
              <a:defRPr lang="en-US"/>
            </a:defPPr>
            <a:lvl1pPr marL="0" algn="ctr" defTabSz="914400" rtl="0" eaLnBrk="1" latinLnBrk="0" hangingPunct="1">
              <a:defRPr sz="1000" kern="1200">
                <a:solidFill>
                  <a:schemeClr val="bg1"/>
                </a:solidFill>
                <a:latin typeface="+mn-lt"/>
                <a:ea typeface="+mn-ea"/>
                <a:cs typeface="+mn-cs"/>
                <a:sym typeface="Trebuchet MS" panose="020B0603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sp>
        <p:nvSpPr>
          <p:cNvPr id="5" name="Title 8">
            <a:extLst>
              <a:ext uri="{FF2B5EF4-FFF2-40B4-BE49-F238E27FC236}">
                <a16:creationId xmlns:a16="http://schemas.microsoft.com/office/drawing/2014/main" id="{5852F6A1-B25A-7D6E-97B5-C8C39F0415F8}"/>
              </a:ext>
            </a:extLst>
          </p:cNvPr>
          <p:cNvSpPr txBox="1">
            <a:spLocks/>
          </p:cNvSpPr>
          <p:nvPr userDrawn="1"/>
        </p:nvSpPr>
        <p:spPr>
          <a:xfrm>
            <a:off x="10008224" y="6544322"/>
            <a:ext cx="1980110" cy="193938"/>
          </a:xfrm>
          <a:prstGeom prst="rect">
            <a:avLst/>
          </a:prstGeom>
          <a:noFill/>
          <a:ln w="9525">
            <a:noFill/>
            <a:miter lim="800000"/>
            <a:headEnd/>
            <a:tailEnd/>
          </a:ln>
        </p:spPr>
        <p:txBody>
          <a:bodyPr vert="horz" wrap="square" lIns="182880" tIns="0" rIns="182880" bIns="0" numCol="1" rtlCol="0" anchor="ctr" anchorCtr="0" compatLnSpc="1">
            <a:prstTxWarp prst="textNoShape">
              <a:avLst/>
            </a:prstTxWarp>
            <a:noAutofit/>
          </a:bodyPr>
          <a:lstStyle>
            <a:defPPr>
              <a:defRPr lang="en-US"/>
            </a:defPPr>
            <a:lvl1pPr lvl="0" algn="r" rtl="1">
              <a:lnSpc>
                <a:spcPct val="100000"/>
              </a:lnSpc>
              <a:spcBef>
                <a:spcPts val="0"/>
              </a:spcBef>
              <a:buNone/>
              <a:defRPr sz="2800" b="1" i="0">
                <a:solidFill>
                  <a:schemeClr val="accent6">
                    <a:lumMod val="75000"/>
                  </a:schemeClr>
                </a:solidFill>
                <a:latin typeface="Traditional Arabic" panose="02010000000000000000" pitchFamily="2" charset="-78"/>
                <a:ea typeface="+mj-ea"/>
                <a:cs typeface="Traditional Arabic Bold" panose="02010000000000000000" pitchFamily="2" charset="-78"/>
              </a:defRPr>
            </a:lvl1pPr>
          </a:lstStyle>
          <a:p>
            <a:pPr algn="l" defTabSz="954436" rtl="0">
              <a:defRPr/>
            </a:pPr>
            <a:r>
              <a:rPr lang="en-GB" sz="1000" b="0" err="1">
                <a:solidFill>
                  <a:schemeClr val="bg1"/>
                </a:solidFill>
                <a:latin typeface="+mj-lt"/>
                <a:cs typeface="Sakkal Majalla" panose="02000000000000000000" pitchFamily="2" charset="-78"/>
                <a:sym typeface="Georgia"/>
              </a:rPr>
              <a:t>مشروع</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بناء</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أدوات</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وأنظمة</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دعم</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القرار</a:t>
            </a:r>
            <a:r>
              <a:rPr lang="en-GB" sz="1000" b="0">
                <a:solidFill>
                  <a:schemeClr val="bg1"/>
                </a:solidFill>
                <a:latin typeface="+mj-lt"/>
                <a:cs typeface="Sakkal Majalla" panose="02000000000000000000" pitchFamily="2" charset="-78"/>
                <a:sym typeface="Georgia"/>
              </a:rPr>
              <a:t>​</a:t>
            </a:r>
          </a:p>
        </p:txBody>
      </p:sp>
      <p:sp>
        <p:nvSpPr>
          <p:cNvPr id="7" name="TextBox 6">
            <a:extLst>
              <a:ext uri="{FF2B5EF4-FFF2-40B4-BE49-F238E27FC236}">
                <a16:creationId xmlns:a16="http://schemas.microsoft.com/office/drawing/2014/main" id="{67D79183-B67E-0CDE-21C4-C928D3B897EE}"/>
              </a:ext>
            </a:extLst>
          </p:cNvPr>
          <p:cNvSpPr txBox="1"/>
          <p:nvPr userDrawn="1"/>
        </p:nvSpPr>
        <p:spPr>
          <a:xfrm>
            <a:off x="203666" y="654855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79EBB6-CB1C-B306-1325-888B21931BDE}"/>
              </a:ext>
            </a:extLst>
          </p:cNvPr>
          <p:cNvGraphicFramePr>
            <a:graphicFrameLocks noChangeAspect="1"/>
          </p:cNvGraphicFramePr>
          <p:nvPr userDrawn="1">
            <p:custDataLst>
              <p:tags r:id="rId1"/>
            </p:custDataLst>
            <p:extLst>
              <p:ext uri="{D42A27DB-BD31-4B8C-83A1-F6EECF244321}">
                <p14:modId xmlns:p14="http://schemas.microsoft.com/office/powerpoint/2010/main" val="3742273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2F79EBB6-CB1C-B306-1325-888B21931B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a:xfrm>
            <a:off x="1011000" y="6405036"/>
            <a:ext cx="1482051" cy="153888"/>
          </a:xfrm>
          <a:prstGeom prst="rect">
            <a:avLst/>
          </a:prstGeom>
        </p:spPr>
        <p:txBody>
          <a:bodyPr/>
          <a:lstStyle>
            <a:lvl1pPr rtl="0">
              <a:defRPr>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6" name="Rectangle 5"/>
          <p:cNvSpPr/>
          <p:nvPr userDrawn="1"/>
        </p:nvSpPr>
        <p:spPr bwMode="white">
          <a:xfrm>
            <a:off x="630000" y="625475"/>
            <a:ext cx="932688" cy="932688"/>
          </a:xfrm>
          <a:prstGeom prst="rect">
            <a:avLst/>
          </a:prstGeom>
          <a:noFill/>
          <a:ln>
            <a:solidFill>
              <a:srgbClr val="009A9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9A93"/>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2593074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3A3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02703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a:xfrm>
            <a:off x="10110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6C67"/>
          </a:solidFill>
          <a:ln>
            <a:noFill/>
          </a:ln>
          <a:effectLst/>
        </p:spPr>
        <p:txBody>
          <a:bodyPr vert="horz" wrap="square" lIns="91440" tIns="45720" rIns="91440" bIns="45720" numCol="1" anchor="t" anchorCtr="0" compatLnSpc="1">
            <a:prstTxWarp prst="textNoShape">
              <a:avLst/>
            </a:prstTxWarp>
            <a:noAutofit/>
          </a:bodyPr>
          <a:lstStyle/>
          <a:p>
            <a:pPr rtl="0"/>
            <a:endParaRPr lang="en-GB">
              <a:latin typeface="+mn-lt"/>
              <a:sym typeface="Trebuchet MS" panose="020B0603020202020204" pitchFamily="34" charset="0"/>
            </a:endParaRPr>
          </a:p>
        </p:txBody>
      </p:sp>
      <p:pic>
        <p:nvPicPr>
          <p:cNvPr id="9" name="Picture 8">
            <a:extLst>
              <a:ext uri="{FF2B5EF4-FFF2-40B4-BE49-F238E27FC236}">
                <a16:creationId xmlns:a16="http://schemas.microsoft.com/office/drawing/2014/main" id="{C021B772-7822-4263-889A-CC0F855DB35C}"/>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14583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0993-1474-1006-08E1-F8314AF00877}"/>
              </a:ext>
            </a:extLst>
          </p:cNvPr>
          <p:cNvGraphicFramePr>
            <a:graphicFrameLocks noChangeAspect="1"/>
          </p:cNvGraphicFramePr>
          <p:nvPr userDrawn="1">
            <p:custDataLst>
              <p:tags r:id="rId1"/>
            </p:custDataLst>
            <p:extLst>
              <p:ext uri="{D42A27DB-BD31-4B8C-83A1-F6EECF244321}">
                <p14:modId xmlns:p14="http://schemas.microsoft.com/office/powerpoint/2010/main" val="262983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623B0993-1474-1006-08E1-F8314AF00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10110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2" name="Title 1"/>
          <p:cNvSpPr>
            <a:spLocks noGrp="1"/>
          </p:cNvSpPr>
          <p:nvPr>
            <p:ph type="title" hasCustomPrompt="1"/>
          </p:nvPr>
        </p:nvSpPr>
        <p:spPr>
          <a:xfrm>
            <a:off x="630000" y="622800"/>
            <a:ext cx="10933200" cy="332399"/>
          </a:xfrm>
        </p:spPr>
        <p:txBody>
          <a:bodyPr vert="horz"/>
          <a:lstStyle>
            <a:lvl1pPr algn="l" rtl="0">
              <a:defRPr>
                <a:solidFill>
                  <a:schemeClr val="bg1"/>
                </a:solidFill>
                <a:latin typeface="+mj-lt"/>
                <a:sym typeface="Trebuchet MS" panose="020B0603020202020204" pitchFamily="34" charset="0"/>
              </a:defRPr>
            </a:lvl1pPr>
          </a:lstStyle>
          <a:p>
            <a:r>
              <a:rPr lang="en-GB"/>
              <a:t>Click to add title</a:t>
            </a:r>
          </a:p>
        </p:txBody>
      </p:sp>
      <p:pic>
        <p:nvPicPr>
          <p:cNvPr id="8" name="Picture 7">
            <a:extLst>
              <a:ext uri="{FF2B5EF4-FFF2-40B4-BE49-F238E27FC236}">
                <a16:creationId xmlns:a16="http://schemas.microsoft.com/office/drawing/2014/main" id="{ED80C188-34C3-4D0B-A4C2-4CF092C76E52}"/>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815592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EA2BD9A-EDCA-016C-AD58-C8792BCB7633}"/>
              </a:ext>
            </a:extLst>
          </p:cNvPr>
          <p:cNvGraphicFramePr>
            <a:graphicFrameLocks noChangeAspect="1"/>
          </p:cNvGraphicFramePr>
          <p:nvPr userDrawn="1">
            <p:custDataLst>
              <p:tags r:id="rId1"/>
            </p:custDataLst>
            <p:extLst>
              <p:ext uri="{D42A27DB-BD31-4B8C-83A1-F6EECF244321}">
                <p14:modId xmlns:p14="http://schemas.microsoft.com/office/powerpoint/2010/main" val="4002176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6EA2BD9A-EDCA-016C-AD58-C8792BCB7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a:solidFill>
                  <a:srgbClr val="006C67"/>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E0359BA8-1A52-4A09-9C4A-A7646D16C613}"/>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2938020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F22C70B-9D1A-9D6F-C544-BFE63CEB70F1}"/>
              </a:ext>
            </a:extLst>
          </p:cNvPr>
          <p:cNvGraphicFramePr>
            <a:graphicFrameLocks noChangeAspect="1"/>
          </p:cNvGraphicFramePr>
          <p:nvPr userDrawn="1">
            <p:custDataLst>
              <p:tags r:id="rId1"/>
            </p:custDataLst>
            <p:extLst>
              <p:ext uri="{D42A27DB-BD31-4B8C-83A1-F6EECF244321}">
                <p14:modId xmlns:p14="http://schemas.microsoft.com/office/powerpoint/2010/main" val="2694466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2F22C70B-9D1A-9D6F-C544-BFE63CEB70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5. All rights reserved.</a:t>
            </a:r>
          </a:p>
        </p:txBody>
      </p:sp>
      <p:pic>
        <p:nvPicPr>
          <p:cNvPr id="4" name="Picture 3">
            <a:extLst>
              <a:ext uri="{FF2B5EF4-FFF2-40B4-BE49-F238E27FC236}">
                <a16:creationId xmlns:a16="http://schemas.microsoft.com/office/drawing/2014/main" id="{521D13C9-E3E2-E2E0-7125-8C1F1024BE68}"/>
              </a:ext>
            </a:extLst>
          </p:cNvPr>
          <p:cNvPicPr>
            <a:picLocks noChangeAspect="1"/>
          </p:cNvPicPr>
          <p:nvPr userDrawn="1"/>
        </p:nvPicPr>
        <p:blipFill>
          <a:blip r:embed="rId5">
            <a:biLevel thresh="25000"/>
          </a:blip>
          <a:stretch>
            <a:fillRect/>
          </a:stretch>
        </p:blipFill>
        <p:spPr>
          <a:xfrm>
            <a:off x="130967" y="86239"/>
            <a:ext cx="1190626" cy="350391"/>
          </a:xfrm>
          <a:prstGeom prst="rect">
            <a:avLst/>
          </a:prstGeom>
        </p:spPr>
      </p:pic>
      <p:sp>
        <p:nvSpPr>
          <p:cNvPr id="6" name="Title 8">
            <a:extLst>
              <a:ext uri="{FF2B5EF4-FFF2-40B4-BE49-F238E27FC236}">
                <a16:creationId xmlns:a16="http://schemas.microsoft.com/office/drawing/2014/main" id="{DD556A2B-14F9-1853-FDC9-4BE0C3FD583A}"/>
              </a:ext>
            </a:extLst>
          </p:cNvPr>
          <p:cNvSpPr txBox="1">
            <a:spLocks/>
          </p:cNvSpPr>
          <p:nvPr userDrawn="1"/>
        </p:nvSpPr>
        <p:spPr>
          <a:xfrm>
            <a:off x="10008224" y="6544322"/>
            <a:ext cx="1980110" cy="193938"/>
          </a:xfrm>
          <a:prstGeom prst="rect">
            <a:avLst/>
          </a:prstGeom>
          <a:noFill/>
          <a:ln w="9525">
            <a:noFill/>
            <a:miter lim="800000"/>
            <a:headEnd/>
            <a:tailEnd/>
          </a:ln>
        </p:spPr>
        <p:txBody>
          <a:bodyPr vert="horz" wrap="square" lIns="182880" tIns="0" rIns="182880" bIns="0" numCol="1" rtlCol="0" anchor="ctr" anchorCtr="0" compatLnSpc="1">
            <a:prstTxWarp prst="textNoShape">
              <a:avLst/>
            </a:prstTxWarp>
            <a:noAutofit/>
          </a:bodyPr>
          <a:lstStyle>
            <a:defPPr>
              <a:defRPr lang="en-US"/>
            </a:defPPr>
            <a:lvl1pPr lvl="0" algn="r" rtl="1">
              <a:lnSpc>
                <a:spcPct val="100000"/>
              </a:lnSpc>
              <a:spcBef>
                <a:spcPts val="0"/>
              </a:spcBef>
              <a:buNone/>
              <a:defRPr sz="2800" b="1" i="0">
                <a:solidFill>
                  <a:schemeClr val="accent6">
                    <a:lumMod val="75000"/>
                  </a:schemeClr>
                </a:solidFill>
                <a:latin typeface="Traditional Arabic" panose="02010000000000000000" pitchFamily="2" charset="-78"/>
                <a:ea typeface="+mj-ea"/>
                <a:cs typeface="Traditional Arabic Bold" panose="02010000000000000000" pitchFamily="2" charset="-78"/>
              </a:defRPr>
            </a:lvl1pPr>
          </a:lstStyle>
          <a:p>
            <a:pPr algn="l" defTabSz="954436" rtl="0">
              <a:defRPr/>
            </a:pPr>
            <a:r>
              <a:rPr lang="en-GB" sz="1000" b="0" err="1">
                <a:solidFill>
                  <a:schemeClr val="bg1"/>
                </a:solidFill>
                <a:latin typeface="+mj-lt"/>
                <a:cs typeface="Sakkal Majalla" panose="02000000000000000000" pitchFamily="2" charset="-78"/>
                <a:sym typeface="Georgia"/>
              </a:rPr>
              <a:t>مشروع</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بناء</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أدوات</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وأنظمة</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دعم</a:t>
            </a:r>
            <a:r>
              <a:rPr lang="en-GB" sz="1000" b="0">
                <a:solidFill>
                  <a:schemeClr val="bg1"/>
                </a:solidFill>
                <a:latin typeface="+mj-lt"/>
                <a:cs typeface="Sakkal Majalla" panose="02000000000000000000" pitchFamily="2" charset="-78"/>
                <a:sym typeface="Georgia"/>
              </a:rPr>
              <a:t> </a:t>
            </a:r>
            <a:r>
              <a:rPr lang="en-GB" sz="1000" b="0" err="1">
                <a:solidFill>
                  <a:schemeClr val="bg1"/>
                </a:solidFill>
                <a:latin typeface="+mj-lt"/>
                <a:cs typeface="Sakkal Majalla" panose="02000000000000000000" pitchFamily="2" charset="-78"/>
                <a:sym typeface="Georgia"/>
              </a:rPr>
              <a:t>القرار</a:t>
            </a:r>
            <a:r>
              <a:rPr lang="en-GB" sz="1000" b="0">
                <a:solidFill>
                  <a:schemeClr val="bg1"/>
                </a:solidFill>
                <a:latin typeface="+mj-lt"/>
                <a:cs typeface="Sakkal Majalla" panose="02000000000000000000" pitchFamily="2" charset="-78"/>
                <a:sym typeface="Georgia"/>
              </a:rPr>
              <a:t>​</a:t>
            </a:r>
          </a:p>
        </p:txBody>
      </p:sp>
      <p:sp>
        <p:nvSpPr>
          <p:cNvPr id="7" name="TextBox 6">
            <a:extLst>
              <a:ext uri="{FF2B5EF4-FFF2-40B4-BE49-F238E27FC236}">
                <a16:creationId xmlns:a16="http://schemas.microsoft.com/office/drawing/2014/main" id="{8DA942C1-7CEA-FBF8-3AC9-3654A029FA98}"/>
              </a:ext>
            </a:extLst>
          </p:cNvPr>
          <p:cNvSpPr txBox="1"/>
          <p:nvPr userDrawn="1"/>
        </p:nvSpPr>
        <p:spPr>
          <a:xfrm>
            <a:off x="203666" y="6545082"/>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58650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EE17D9-E3C0-A9D6-D35D-ECA151D356D0}"/>
              </a:ext>
            </a:extLst>
          </p:cNvPr>
          <p:cNvGraphicFramePr>
            <a:graphicFrameLocks noChangeAspect="1"/>
          </p:cNvGraphicFramePr>
          <p:nvPr userDrawn="1">
            <p:custDataLst>
              <p:tags r:id="rId1"/>
            </p:custDataLst>
            <p:extLst>
              <p:ext uri="{D42A27DB-BD31-4B8C-83A1-F6EECF244321}">
                <p14:modId xmlns:p14="http://schemas.microsoft.com/office/powerpoint/2010/main" val="2627876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39EE17D9-E3C0-A9D6-D35D-ECA151D356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a:xfrm>
            <a:off x="1011000" y="6405036"/>
            <a:ext cx="1482051" cy="153888"/>
          </a:xfrm>
          <a:prstGeom prst="rect">
            <a:avLst/>
          </a:prstGeom>
        </p:spPr>
        <p:txBody>
          <a:bodyPr/>
          <a:lstStyle>
            <a:lvl1pPr rtl="0">
              <a:defRPr>
                <a:latin typeface="+mn-lt"/>
                <a:sym typeface="Trebuchet MS" panose="020B0603020202020204" pitchFamily="34" charset="0"/>
              </a:defRPr>
            </a:lvl1pPr>
          </a:lstStyle>
          <a:p>
            <a:endParaRPr lang="en-GB"/>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Tree>
    <p:extLst>
      <p:ext uri="{BB962C8B-B14F-4D97-AF65-F5344CB8AC3E}">
        <p14:creationId xmlns:p14="http://schemas.microsoft.com/office/powerpoint/2010/main" val="3248327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85CEF2-F141-9BBF-EA03-FD22FB2991DC}"/>
              </a:ext>
            </a:extLst>
          </p:cNvPr>
          <p:cNvGraphicFramePr>
            <a:graphicFrameLocks noChangeAspect="1"/>
          </p:cNvGraphicFramePr>
          <p:nvPr userDrawn="1">
            <p:custDataLst>
              <p:tags r:id="rId1"/>
            </p:custDataLst>
            <p:extLst>
              <p:ext uri="{D42A27DB-BD31-4B8C-83A1-F6EECF244321}">
                <p14:modId xmlns:p14="http://schemas.microsoft.com/office/powerpoint/2010/main" val="758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B485CEF2-F141-9BBF-EA03-FD22FB2991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1011000" y="6405036"/>
            <a:ext cx="1482051" cy="153888"/>
          </a:xfrm>
          <a:prstGeom prst="rect">
            <a:avLst/>
          </a:prstGeom>
        </p:spPr>
        <p:txBody>
          <a:bodyPr/>
          <a:lstStyle>
            <a:lvl1pPr rtl="0">
              <a:defRPr>
                <a:latin typeface="+mn-lt"/>
                <a:sym typeface="Trebuchet MS" panose="020B0603020202020204" pitchFamily="34" charset="0"/>
              </a:defRPr>
            </a:lvl1pPr>
          </a:lstStyle>
          <a:p>
            <a:endParaRPr lang="en-GB"/>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5. All rights reserved.</a:t>
            </a:r>
          </a:p>
        </p:txBody>
      </p:sp>
      <p:sp>
        <p:nvSpPr>
          <p:cNvPr id="5" name="Title 6">
            <a:extLst>
              <a:ext uri="{FF2B5EF4-FFF2-40B4-BE49-F238E27FC236}">
                <a16:creationId xmlns:a16="http://schemas.microsoft.com/office/drawing/2014/main" id="{66FB03DE-C2B4-4054-8BFA-745FC38FC326}"/>
              </a:ext>
            </a:extLst>
          </p:cNvPr>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GB" sz="5100">
                <a:gradFill>
                  <a:gsLst>
                    <a:gs pos="100000">
                      <a:schemeClr val="tx2"/>
                    </a:gs>
                    <a:gs pos="2000">
                      <a:schemeClr val="accent2"/>
                    </a:gs>
                  </a:gsLst>
                  <a:lin ang="2700000" scaled="0"/>
                </a:gradFill>
                <a:latin typeface="+mn-lt"/>
                <a:sym typeface="Trebuchet MS" panose="020B0603020202020204" pitchFamily="34" charset="0"/>
              </a:rPr>
              <a:t>Disclaimer</a:t>
            </a:r>
          </a:p>
        </p:txBody>
      </p:sp>
      <p:sp>
        <p:nvSpPr>
          <p:cNvPr id="6" name="Rectangle 5">
            <a:extLst>
              <a:ext uri="{FF2B5EF4-FFF2-40B4-BE49-F238E27FC236}">
                <a16:creationId xmlns:a16="http://schemas.microsoft.com/office/drawing/2014/main" id="{DD3DB328-C67A-43C8-8A2E-A78DF8F8DD97}"/>
              </a:ext>
            </a:extLst>
          </p:cNvPr>
          <p:cNvSpPr/>
          <p:nvPr userDrawn="1"/>
        </p:nvSpPr>
        <p:spPr>
          <a:xfrm>
            <a:off x="5021826" y="1387258"/>
            <a:ext cx="6209072" cy="3877985"/>
          </a:xfrm>
          <a:prstGeom prst="rect">
            <a:avLst/>
          </a:prstGeom>
        </p:spPr>
        <p:txBody>
          <a:bodyPr wrap="square" lIns="0" tIns="0" rIns="0" bIns="0" anchor="ctr">
            <a:spAutoFit/>
          </a:bodyPr>
          <a:lstStyle/>
          <a:p>
            <a:pPr indent="0" rtl="0">
              <a:lnSpc>
                <a:spcPct val="100000"/>
              </a:lnSpc>
            </a:pPr>
            <a:r>
              <a:rPr lang="en-GB" sz="900" b="0">
                <a:latin typeface="+mn-lt"/>
                <a:sym typeface="Trebuchet MS" panose="020B0603020202020204" pitchFamily="34" charset="0"/>
              </a:rPr>
              <a:t>Disclaimer &amp; Non-reliance </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services and materials provided by the issuer of the report are subject to the issuer of the report's Standard Terms and Conditions (a copy of which is available upon request) or such other agreement as may have been previously executed by the issuer of the report.  The issuer of the report does not provide legal, accounting, or tax advice.  Client is responsible for obtaining independent advice concerning these matters, which advice may affect the guidance given by the issuer of the report.  Further, the issuer of the report has made no undertaking to update these materials after the date hereof notwithstanding that such information may become outdated or inaccurate.</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material contained in this presentation are designed for the sole use by the Board of Directors or senior management of the Client and solely for the limited purposes described in the proposal.  The materials shall not be copied, disclosed or given to any person or entity other than the Client (“Third-Parties”) without the prior written consent being provided.  These materials serve only as the focus for discussion and are incomplete without the accompanying oral commentary and may not be relied on as a stand-alone document.  Further, Third-Parties may not, and it is unreasonable for any Third-Party to, rely on these materials for any purpose whatsoever.  To the fullest extent permitted by law (and except to the extent otherwise agreed in a signed writing the issuer of this report), issuer of this report shall have no liability whatsoever to any Third-Party, and any Third-Party hereby waives any rights and claims it may, have at any time against the issuer of this report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en-GB" sz="900" b="0">
              <a:latin typeface="+mn-lt"/>
              <a:sym typeface="Trebuchet MS" panose="020B0603020202020204" pitchFamily="34" charset="0"/>
            </a:endParaRPr>
          </a:p>
          <a:p>
            <a:pPr indent="0" rtl="0">
              <a:lnSpc>
                <a:spcPct val="100000"/>
              </a:lnSpc>
            </a:pPr>
            <a:r>
              <a:rPr lang="en-GB" sz="900" b="0">
                <a:latin typeface="+mn-lt"/>
                <a:sym typeface="Trebuchet MS" panose="020B0603020202020204" pitchFamily="34" charset="0"/>
              </a:rPr>
              <a:t>The issuer of this report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the issuer of the report. Issuer of the report has used public and/or confidential data and assumptions provided to it by the Client which the issuer of the report has not independently verified the data and assumptions used in these analyses. Changes in the underlying data or operating assumptions will clearly impact the analyses and conclusions.</a:t>
            </a:r>
          </a:p>
        </p:txBody>
      </p:sp>
      <p:cxnSp>
        <p:nvCxnSpPr>
          <p:cNvPr id="7" name="Straight Connector 6">
            <a:extLst>
              <a:ext uri="{FF2B5EF4-FFF2-40B4-BE49-F238E27FC236}">
                <a16:creationId xmlns:a16="http://schemas.microsoft.com/office/drawing/2014/main" id="{6AA8A27B-7BE5-4FAB-96B0-D384108FEEBA}"/>
              </a:ext>
            </a:extLst>
          </p:cNvPr>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407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14221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1844"/>
          <a:stretch/>
        </p:blipFill>
        <p:spPr>
          <a:xfrm>
            <a:off x="2003977" y="561096"/>
            <a:ext cx="10178295" cy="6234890"/>
          </a:xfrm>
          <a:prstGeom prst="rect">
            <a:avLst/>
          </a:prstGeom>
        </p:spPr>
      </p:pic>
      <p:sp>
        <p:nvSpPr>
          <p:cNvPr id="11" name="Rectangle 10"/>
          <p:cNvSpPr/>
          <p:nvPr userDrawn="1"/>
        </p:nvSpPr>
        <p:spPr>
          <a:xfrm>
            <a:off x="667408" y="1659004"/>
            <a:ext cx="7344478" cy="16383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6C67"/>
                </a:solidFill>
              </a14:hiddenFill>
            </a:ext>
            <a:ext uri="{91240B29-F687-4F45-9708-019B960494DF}">
              <a14:hiddenLine xmlns:a14="http://schemas.microsoft.com/office/drawing/2010/main" w="9525" cap="rnd" cmpd="sng" algn="ctr">
                <a:solidFill>
                  <a:srgbClr val="006C6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l" defTabSz="914400" rtl="0" eaLnBrk="1" latinLnBrk="0" hangingPunct="1">
              <a:lnSpc>
                <a:spcPct val="90000"/>
              </a:lnSpc>
              <a:spcBef>
                <a:spcPct val="0"/>
              </a:spcBef>
              <a:buNone/>
            </a:pPr>
            <a:r>
              <a:rPr lang="en-GB" sz="5400" kern="1200">
                <a:solidFill>
                  <a:srgbClr val="006C67"/>
                </a:solidFill>
                <a:latin typeface="+mj-lt"/>
                <a:ea typeface="+mj-ea"/>
                <a:cs typeface="+mj-cs"/>
                <a:sym typeface="+mj-lt"/>
              </a:rPr>
              <a:t>Thank you</a:t>
            </a:r>
          </a:p>
        </p:txBody>
      </p:sp>
      <p:pic>
        <p:nvPicPr>
          <p:cNvPr id="12" name="Picture 11"/>
          <p:cNvPicPr>
            <a:picLocks noChangeAspect="1"/>
          </p:cNvPicPr>
          <p:nvPr userDrawn="1"/>
        </p:nvPicPr>
        <p:blipFill rotWithShape="1">
          <a:blip r:embed="rId6"/>
          <a:srcRect/>
          <a:stretch/>
        </p:blipFill>
        <p:spPr>
          <a:xfrm>
            <a:off x="562633" y="3343543"/>
            <a:ext cx="7260614" cy="71407"/>
          </a:xfrm>
          <a:prstGeom prst="rect">
            <a:avLst/>
          </a:prstGeom>
        </p:spPr>
      </p:pic>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6668392"/>
            <a:ext cx="12192000" cy="252811"/>
          </a:xfrm>
          <a:prstGeom prst="rect">
            <a:avLst/>
          </a:prstGeom>
        </p:spPr>
      </p:pic>
      <p:pic>
        <p:nvPicPr>
          <p:cNvPr id="14" name="Picture 1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12192000" cy="252811"/>
          </a:xfrm>
          <a:prstGeom prst="rect">
            <a:avLst/>
          </a:prstGeom>
        </p:spPr>
      </p:pic>
      <p:pic>
        <p:nvPicPr>
          <p:cNvPr id="9" name="Graphic 8">
            <a:extLst>
              <a:ext uri="{FF2B5EF4-FFF2-40B4-BE49-F238E27FC236}">
                <a16:creationId xmlns:a16="http://schemas.microsoft.com/office/drawing/2014/main" id="{6AD2E01B-64DC-4C33-9BE3-56040786355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26215" y="399621"/>
            <a:ext cx="4248151" cy="1246419"/>
          </a:xfrm>
          <a:prstGeom prst="rect">
            <a:avLst/>
          </a:prstGeom>
        </p:spPr>
      </p:pic>
    </p:spTree>
    <p:extLst>
      <p:ext uri="{BB962C8B-B14F-4D97-AF65-F5344CB8AC3E}">
        <p14:creationId xmlns:p14="http://schemas.microsoft.com/office/powerpoint/2010/main" val="2500469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2545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en-GB"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rtl="0" fontAlgn="auto">
              <a:lnSpc>
                <a:spcPct val="95000"/>
              </a:lnSpc>
              <a:spcBef>
                <a:spcPts val="0"/>
              </a:spcBef>
              <a:spcAft>
                <a:spcPts val="0"/>
              </a:spcAft>
            </a:pPr>
            <a:r>
              <a:rPr lang="en-GB" sz="5400">
                <a:solidFill>
                  <a:schemeClr val="bg1"/>
                </a:solidFill>
                <a:latin typeface="+mj-lt"/>
              </a:rPr>
              <a:t>Agenda</a:t>
            </a:r>
          </a:p>
        </p:txBody>
      </p:sp>
      <p:pic>
        <p:nvPicPr>
          <p:cNvPr id="14" name="Picture 13">
            <a:extLst>
              <a:ext uri="{FF2B5EF4-FFF2-40B4-BE49-F238E27FC236}">
                <a16:creationId xmlns:a16="http://schemas.microsoft.com/office/drawing/2014/main" id="{DAC6128D-88B6-4D14-8635-3103664EFE1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296199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6C67"/>
            </a:gs>
            <a:gs pos="100000">
              <a:srgbClr val="004C4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81144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5.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pic>
        <p:nvPicPr>
          <p:cNvPr id="11" name="Picture 10">
            <a:extLst>
              <a:ext uri="{FF2B5EF4-FFF2-40B4-BE49-F238E27FC236}">
                <a16:creationId xmlns:a16="http://schemas.microsoft.com/office/drawing/2014/main" id="{6E55DDE3-6C87-45BB-B976-4AE82BCA328D}"/>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870407" y="86239"/>
            <a:ext cx="1190626" cy="350391"/>
          </a:xfrm>
          <a:prstGeom prst="rect">
            <a:avLst/>
          </a:prstGeom>
        </p:spPr>
      </p:pic>
    </p:spTree>
    <p:extLst>
      <p:ext uri="{BB962C8B-B14F-4D97-AF65-F5344CB8AC3E}">
        <p14:creationId xmlns:p14="http://schemas.microsoft.com/office/powerpoint/2010/main" val="1471414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slideLayout" Target="../slideLayouts/slideLayout102.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47" Type="http://schemas.openxmlformats.org/officeDocument/2006/relationships/theme" Target="../theme/theme2.xml"/><Relationship Id="rId50" Type="http://schemas.openxmlformats.org/officeDocument/2006/relationships/image" Target="../media/image1.emf"/><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slideLayout" Target="../slideLayouts/slideLayout108.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oleObject" Target="../embeddings/oleObject65.bin"/><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tags" Target="../tags/tag70.xml"/><Relationship Id="rId8" Type="http://schemas.openxmlformats.org/officeDocument/2006/relationships/slideLayout" Target="../slideLayouts/slideLayout71.xml"/><Relationship Id="rId51" Type="http://schemas.openxmlformats.org/officeDocument/2006/relationships/image" Target="../media/image2.png"/><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slideLayout" Target="../slideLayouts/slideLayout109.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1" Type="http://schemas.openxmlformats.org/officeDocument/2006/relationships/slideLayout" Target="../slideLayouts/slideLayout64.xml"/><Relationship Id="rId6" Type="http://schemas.openxmlformats.org/officeDocument/2006/relationships/slideLayout" Target="../slideLayouts/slideLayout69.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heme" Target="../theme/theme3.xml"/><Relationship Id="rId1" Type="http://schemas.openxmlformats.org/officeDocument/2006/relationships/slideLayout" Target="../slideLayouts/slideLayout110.xml"/><Relationship Id="rId5" Type="http://schemas.openxmlformats.org/officeDocument/2006/relationships/image" Target="../media/image12.emf"/><Relationship Id="rId4" Type="http://schemas.openxmlformats.org/officeDocument/2006/relationships/oleObject" Target="../embeddings/oleObject111.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slideLayout" Target="../slideLayouts/slideLayout149.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slideLayout" Target="../slideLayouts/slideLayout152.xml"/><Relationship Id="rId47" Type="http://schemas.openxmlformats.org/officeDocument/2006/relationships/theme" Target="../theme/theme4.xml"/><Relationship Id="rId50" Type="http://schemas.openxmlformats.org/officeDocument/2006/relationships/image" Target="../media/image1.emf"/><Relationship Id="rId7" Type="http://schemas.openxmlformats.org/officeDocument/2006/relationships/slideLayout" Target="../slideLayouts/slideLayout11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9" Type="http://schemas.openxmlformats.org/officeDocument/2006/relationships/slideLayout" Target="../slideLayouts/slideLayout139.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slideLayout" Target="../slideLayouts/slideLayout150.xml"/><Relationship Id="rId45" Type="http://schemas.openxmlformats.org/officeDocument/2006/relationships/slideLayout" Target="../slideLayouts/slideLayout155.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49" Type="http://schemas.openxmlformats.org/officeDocument/2006/relationships/oleObject" Target="../embeddings/oleObject113.bin"/><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4" Type="http://schemas.openxmlformats.org/officeDocument/2006/relationships/slideLayout" Target="../slideLayouts/slideLayout154.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 Id="rId43" Type="http://schemas.openxmlformats.org/officeDocument/2006/relationships/slideLayout" Target="../slideLayouts/slideLayout153.xml"/><Relationship Id="rId48" Type="http://schemas.openxmlformats.org/officeDocument/2006/relationships/tags" Target="../tags/tag123.xml"/><Relationship Id="rId8" Type="http://schemas.openxmlformats.org/officeDocument/2006/relationships/slideLayout" Target="../slideLayouts/slideLayout118.xml"/><Relationship Id="rId51" Type="http://schemas.openxmlformats.org/officeDocument/2006/relationships/image" Target="../media/image2.png"/><Relationship Id="rId3" Type="http://schemas.openxmlformats.org/officeDocument/2006/relationships/slideLayout" Target="../slideLayouts/slideLayout113.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 Id="rId46" Type="http://schemas.openxmlformats.org/officeDocument/2006/relationships/slideLayout" Target="../slideLayouts/slideLayout156.xml"/><Relationship Id="rId20" Type="http://schemas.openxmlformats.org/officeDocument/2006/relationships/slideLayout" Target="../slideLayouts/slideLayout130.xml"/><Relationship Id="rId41" Type="http://schemas.openxmlformats.org/officeDocument/2006/relationships/slideLayout" Target="../slideLayouts/slideLayout151.xml"/><Relationship Id="rId1" Type="http://schemas.openxmlformats.org/officeDocument/2006/relationships/slideLayout" Target="../slideLayouts/slideLayout111.xml"/><Relationship Id="rId6"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5"/>
            </p:custDataLst>
            <p:extLst>
              <p:ext uri="{D42A27DB-BD31-4B8C-83A1-F6EECF244321}">
                <p14:modId xmlns:p14="http://schemas.microsoft.com/office/powerpoint/2010/main" val="36704278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6" imgW="270" imgH="270" progId="TCLayout.ActiveDocument.1">
                  <p:embed/>
                </p:oleObj>
              </mc:Choice>
              <mc:Fallback>
                <p:oleObj name="think-cell Slide" r:id="rId66" imgW="270" imgH="270" progId="TCLayout.ActiveDocument.1">
                  <p:embed/>
                  <p:pic>
                    <p:nvPicPr>
                      <p:cNvPr id="2" name="Object 1" hidden="1"/>
                      <p:cNvPicPr/>
                      <p:nvPr/>
                    </p:nvPicPr>
                    <p:blipFill>
                      <a:blip r:embed="rId6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1011000" y="6405036"/>
            <a:ext cx="1482051" cy="153888"/>
          </a:xfrm>
          <a:prstGeom prst="rect">
            <a:avLst/>
          </a:prstGeom>
        </p:spPr>
        <p:txBody>
          <a:bodyPr vert="horz" wrap="square" lIns="0" tIns="0" rIns="0" bIns="0" rtlCol="0" anchor="b">
            <a:spAutoFit/>
          </a:bodyPr>
          <a:lstStyle>
            <a:lvl1pPr algn="ctr" rtl="0">
              <a:defRPr sz="1000">
                <a:solidFill>
                  <a:schemeClr val="bg1">
                    <a:lumMod val="50000"/>
                  </a:schemeClr>
                </a:solidFill>
                <a:latin typeface="+mn-lt"/>
                <a:sym typeface="Trebuchet MS" panose="020B0603020202020204" pitchFamily="34" charset="0"/>
              </a:defRPr>
            </a:lvl1pPr>
          </a:lstStyle>
          <a:p>
            <a:endParaRPr lang="en-GB"/>
          </a:p>
        </p:txBody>
      </p:sp>
      <p:sp>
        <p:nvSpPr>
          <p:cNvPr id="9" name="Title Placeholder 1"/>
          <p:cNvSpPr>
            <a:spLocks noGrp="1"/>
          </p:cNvSpPr>
          <p:nvPr>
            <p:ph type="title"/>
          </p:nvPr>
        </p:nvSpPr>
        <p:spPr>
          <a:xfrm>
            <a:off x="630000" y="622800"/>
            <a:ext cx="10933350" cy="341632"/>
          </a:xfrm>
          <a:prstGeom prst="rect">
            <a:avLst/>
          </a:prstGeom>
        </p:spPr>
        <p:txBody>
          <a:bodyPr vert="horz" wrap="square" lIns="0" tIns="0" rIns="0" bIns="0" rtlCol="0" anchor="t">
            <a:spAutoFit/>
          </a:bodyPr>
          <a:lstStyle/>
          <a:p>
            <a:r>
              <a:rPr lang="en-GB"/>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Level six</a:t>
            </a:r>
          </a:p>
          <a:p>
            <a:pPr lvl="6"/>
            <a:r>
              <a:rPr lang="en-GB"/>
              <a:t>Level seven</a:t>
            </a:r>
          </a:p>
          <a:p>
            <a:pPr lvl="7"/>
            <a:r>
              <a:rPr lang="en-GB"/>
              <a:t>Level eight</a:t>
            </a:r>
          </a:p>
          <a:p>
            <a:pPr lvl="8"/>
            <a:r>
              <a:rPr lang="en-GB"/>
              <a:t>Level nine</a:t>
            </a:r>
          </a:p>
        </p:txBody>
      </p:sp>
      <p:pic>
        <p:nvPicPr>
          <p:cNvPr id="10" name="Picture 9">
            <a:extLst>
              <a:ext uri="{FF2B5EF4-FFF2-40B4-BE49-F238E27FC236}">
                <a16:creationId xmlns:a16="http://schemas.microsoft.com/office/drawing/2014/main" id="{417FFCF0-FB3A-D968-599A-2AD5888C2B27}"/>
              </a:ext>
            </a:extLst>
          </p:cNvPr>
          <p:cNvPicPr>
            <a:picLocks noChangeAspect="1"/>
          </p:cNvPicPr>
          <p:nvPr userDrawn="1"/>
        </p:nvPicPr>
        <p:blipFill>
          <a:blip r:embed="rId68"/>
          <a:stretch>
            <a:fillRect/>
          </a:stretch>
        </p:blipFill>
        <p:spPr>
          <a:xfrm>
            <a:off x="130967" y="86239"/>
            <a:ext cx="1190626" cy="350391"/>
          </a:xfrm>
          <a:prstGeom prst="rect">
            <a:avLst/>
          </a:prstGeom>
        </p:spPr>
      </p:pic>
      <p:sp>
        <p:nvSpPr>
          <p:cNvPr id="8" name="Title 8">
            <a:extLst>
              <a:ext uri="{FF2B5EF4-FFF2-40B4-BE49-F238E27FC236}">
                <a16:creationId xmlns:a16="http://schemas.microsoft.com/office/drawing/2014/main" id="{1C10C088-5613-E048-4358-A421D1260FC0}"/>
              </a:ext>
            </a:extLst>
          </p:cNvPr>
          <p:cNvSpPr txBox="1">
            <a:spLocks/>
          </p:cNvSpPr>
          <p:nvPr userDrawn="1"/>
        </p:nvSpPr>
        <p:spPr>
          <a:xfrm>
            <a:off x="10008224" y="6544322"/>
            <a:ext cx="1980110" cy="193938"/>
          </a:xfrm>
          <a:prstGeom prst="rect">
            <a:avLst/>
          </a:prstGeom>
          <a:noFill/>
          <a:ln w="9525">
            <a:noFill/>
            <a:miter lim="800000"/>
            <a:headEnd/>
            <a:tailEnd/>
          </a:ln>
        </p:spPr>
        <p:txBody>
          <a:bodyPr vert="horz" wrap="square" lIns="182880" tIns="0" rIns="182880" bIns="0" numCol="1" rtlCol="0" anchor="ctr" anchorCtr="0" compatLnSpc="1">
            <a:prstTxWarp prst="textNoShape">
              <a:avLst/>
            </a:prstTxWarp>
            <a:noAutofit/>
          </a:bodyPr>
          <a:lstStyle>
            <a:defPPr>
              <a:defRPr lang="en-US"/>
            </a:defPPr>
            <a:lvl1pPr lvl="0" algn="r" defTabSz="954436" rtl="1">
              <a:lnSpc>
                <a:spcPct val="100000"/>
              </a:lnSpc>
              <a:spcBef>
                <a:spcPts val="0"/>
              </a:spcBef>
              <a:buNone/>
              <a:defRPr sz="1000" b="0" i="0">
                <a:solidFill>
                  <a:schemeClr val="tx1">
                    <a:lumMod val="50000"/>
                    <a:lumOff val="50000"/>
                  </a:schemeClr>
                </a:solidFill>
                <a:latin typeface="+mj-lt"/>
                <a:ea typeface="+mj-ea"/>
                <a:cs typeface="Sakkal Majalla" panose="02000000000000000000" pitchFamily="2" charset="-78"/>
              </a:defRPr>
            </a:lvl1pPr>
          </a:lstStyle>
          <a:p>
            <a:pPr lvl="0" algn="l" rtl="0"/>
            <a:r>
              <a:rPr lang="en-GB" err="1">
                <a:sym typeface="Georgia"/>
              </a:rPr>
              <a:t>مشروع</a:t>
            </a:r>
            <a:r>
              <a:rPr lang="en-GB">
                <a:sym typeface="Georgia"/>
              </a:rPr>
              <a:t> </a:t>
            </a:r>
            <a:r>
              <a:rPr lang="en-GB" err="1">
                <a:sym typeface="Georgia"/>
              </a:rPr>
              <a:t>بناء</a:t>
            </a:r>
            <a:r>
              <a:rPr lang="en-GB">
                <a:sym typeface="Georgia"/>
              </a:rPr>
              <a:t> </a:t>
            </a:r>
            <a:r>
              <a:rPr lang="en-GB" err="1">
                <a:sym typeface="Georgia"/>
              </a:rPr>
              <a:t>أدوات</a:t>
            </a:r>
            <a:r>
              <a:rPr lang="en-GB">
                <a:sym typeface="Georgia"/>
              </a:rPr>
              <a:t> </a:t>
            </a:r>
            <a:r>
              <a:rPr lang="en-GB" err="1">
                <a:sym typeface="Georgia"/>
              </a:rPr>
              <a:t>وأنظمة</a:t>
            </a:r>
            <a:r>
              <a:rPr lang="en-GB">
                <a:sym typeface="Georgia"/>
              </a:rPr>
              <a:t> </a:t>
            </a:r>
            <a:r>
              <a:rPr lang="en-GB" err="1">
                <a:sym typeface="Georgia"/>
              </a:rPr>
              <a:t>دعم</a:t>
            </a:r>
            <a:r>
              <a:rPr lang="en-GB">
                <a:sym typeface="Georgia"/>
              </a:rPr>
              <a:t> </a:t>
            </a:r>
            <a:r>
              <a:rPr lang="en-GB" err="1">
                <a:sym typeface="Georgia"/>
              </a:rPr>
              <a:t>القرار</a:t>
            </a:r>
            <a:r>
              <a:rPr lang="en-GB">
                <a:sym typeface="Georgia"/>
              </a:rPr>
              <a:t>​</a:t>
            </a:r>
          </a:p>
        </p:txBody>
      </p:sp>
      <p:sp>
        <p:nvSpPr>
          <p:cNvPr id="13" name="TextBox 12"/>
          <p:cNvSpPr txBox="1"/>
          <p:nvPr userDrawn="1"/>
        </p:nvSpPr>
        <p:spPr>
          <a:xfrm>
            <a:off x="203666" y="6544322"/>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90" r:id="rId2"/>
    <p:sldLayoutId id="2147485086" r:id="rId3"/>
    <p:sldLayoutId id="2147485289" r:id="rId4"/>
    <p:sldLayoutId id="2147485183" r:id="rId5"/>
    <p:sldLayoutId id="2147485291" r:id="rId6"/>
    <p:sldLayoutId id="2147485158" r:id="rId7"/>
    <p:sldLayoutId id="2147485113" r:id="rId8"/>
    <p:sldLayoutId id="2147485114" r:id="rId9"/>
    <p:sldLayoutId id="2147485154" r:id="rId10"/>
    <p:sldLayoutId id="2147485162" r:id="rId11"/>
    <p:sldLayoutId id="2147485149" r:id="rId12"/>
    <p:sldLayoutId id="2147485087" r:id="rId13"/>
    <p:sldLayoutId id="2147485112" r:id="rId14"/>
    <p:sldLayoutId id="2147485155" r:id="rId15"/>
    <p:sldLayoutId id="2147485164" r:id="rId16"/>
    <p:sldLayoutId id="2147485109" r:id="rId17"/>
    <p:sldLayoutId id="2147485165" r:id="rId18"/>
    <p:sldLayoutId id="2147485110" r:id="rId19"/>
    <p:sldLayoutId id="2147485166" r:id="rId20"/>
    <p:sldLayoutId id="2147485156" r:id="rId21"/>
    <p:sldLayoutId id="2147485167" r:id="rId22"/>
    <p:sldLayoutId id="2147485108" r:id="rId23"/>
    <p:sldLayoutId id="2147485107" r:id="rId24"/>
    <p:sldLayoutId id="2147485106" r:id="rId25"/>
    <p:sldLayoutId id="2147485090" r:id="rId26"/>
    <p:sldLayoutId id="2147485091" r:id="rId27"/>
    <p:sldLayoutId id="2147485092" r:id="rId28"/>
    <p:sldLayoutId id="2147485093" r:id="rId29"/>
    <p:sldLayoutId id="2147485116" r:id="rId30"/>
    <p:sldLayoutId id="2147485186" r:id="rId31"/>
    <p:sldLayoutId id="2147485140" r:id="rId32"/>
    <p:sldLayoutId id="2147485122" r:id="rId33"/>
    <p:sldLayoutId id="2147485123" r:id="rId34"/>
    <p:sldLayoutId id="2147485151" r:id="rId35"/>
    <p:sldLayoutId id="2147485168" r:id="rId36"/>
    <p:sldLayoutId id="2147485127" r:id="rId37"/>
    <p:sldLayoutId id="2147485169" r:id="rId38"/>
    <p:sldLayoutId id="2147485126" r:id="rId39"/>
    <p:sldLayoutId id="2147485170" r:id="rId40"/>
    <p:sldLayoutId id="2147485153" r:id="rId41"/>
    <p:sldLayoutId id="2147485171" r:id="rId42"/>
    <p:sldLayoutId id="2147485128" r:id="rId43"/>
    <p:sldLayoutId id="2147485129" r:id="rId44"/>
    <p:sldLayoutId id="2147485130" r:id="rId45"/>
    <p:sldLayoutId id="2147485131" r:id="rId46"/>
    <p:sldLayoutId id="2147485145" r:id="rId47"/>
    <p:sldLayoutId id="2147485133" r:id="rId48"/>
    <p:sldLayoutId id="2147485144" r:id="rId49"/>
    <p:sldLayoutId id="2147485134" r:id="rId50"/>
    <p:sldLayoutId id="2147485146" r:id="rId51"/>
    <p:sldLayoutId id="2147485172" r:id="rId52"/>
    <p:sldLayoutId id="2147485173" r:id="rId53"/>
    <p:sldLayoutId id="2147485174" r:id="rId54"/>
    <p:sldLayoutId id="2147485175" r:id="rId55"/>
    <p:sldLayoutId id="2147485176" r:id="rId56"/>
    <p:sldLayoutId id="2147485177" r:id="rId57"/>
    <p:sldLayoutId id="2147485178" r:id="rId58"/>
    <p:sldLayoutId id="2147485179" r:id="rId59"/>
    <p:sldLayoutId id="2147485180" r:id="rId60"/>
    <p:sldLayoutId id="2147485185" r:id="rId61"/>
    <p:sldLayoutId id="2147485189" r:id="rId62"/>
    <p:sldLayoutId id="2147485200" r:id="rId6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006C67"/>
          </a:solidFill>
          <a:latin typeface="Sakkal Majalla" panose="02000000000000000000" pitchFamily="2" charset="-78"/>
          <a:ea typeface="+mj-ea"/>
          <a:cs typeface="Sakkal Majalla" panose="02000000000000000000" pitchFamily="2" charset="-78"/>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8"/>
            </p:custDataLst>
            <p:extLst>
              <p:ext uri="{D42A27DB-BD31-4B8C-83A1-F6EECF244321}">
                <p14:modId xmlns:p14="http://schemas.microsoft.com/office/powerpoint/2010/main" val="4247573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9" imgW="270" imgH="270" progId="TCLayout.ActiveDocument.1">
                  <p:embed/>
                </p:oleObj>
              </mc:Choice>
              <mc:Fallback>
                <p:oleObj name="think-cell Slide" r:id="rId49" imgW="270" imgH="270" progId="TCLayout.ActiveDocument.1">
                  <p:embed/>
                  <p:pic>
                    <p:nvPicPr>
                      <p:cNvPr id="2" name="Object 1" hidden="1"/>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341632"/>
          </a:xfrm>
          <a:prstGeom prst="rect">
            <a:avLst/>
          </a:prstGeom>
        </p:spPr>
        <p:txBody>
          <a:bodyPr vert="horz" wrap="square" lIns="0" tIns="0" rIns="0" bIns="0" rtlCol="0" anchor="t">
            <a:spAutoFit/>
          </a:bodyPr>
          <a:lstStyle/>
          <a:p>
            <a:r>
              <a:rPr lang="en-GB"/>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Level six</a:t>
            </a:r>
          </a:p>
          <a:p>
            <a:pPr lvl="6"/>
            <a:r>
              <a:rPr lang="en-GB"/>
              <a:t>Level seven</a:t>
            </a:r>
          </a:p>
          <a:p>
            <a:pPr lvl="7"/>
            <a:r>
              <a:rPr lang="en-GB"/>
              <a:t>Level eight</a:t>
            </a:r>
          </a:p>
          <a:p>
            <a:pPr lvl="8"/>
            <a:r>
              <a:rPr lang="en-GB"/>
              <a:t>Level nine</a:t>
            </a:r>
          </a:p>
        </p:txBody>
      </p:sp>
      <p:pic>
        <p:nvPicPr>
          <p:cNvPr id="10" name="Picture 9">
            <a:extLst>
              <a:ext uri="{FF2B5EF4-FFF2-40B4-BE49-F238E27FC236}">
                <a16:creationId xmlns:a16="http://schemas.microsoft.com/office/drawing/2014/main" id="{417FFCF0-FB3A-D968-599A-2AD5888C2B27}"/>
              </a:ext>
            </a:extLst>
          </p:cNvPr>
          <p:cNvPicPr>
            <a:picLocks noChangeAspect="1"/>
          </p:cNvPicPr>
          <p:nvPr userDrawn="1"/>
        </p:nvPicPr>
        <p:blipFill>
          <a:blip r:embed="rId51"/>
          <a:stretch>
            <a:fillRect/>
          </a:stretch>
        </p:blipFill>
        <p:spPr>
          <a:xfrm>
            <a:off x="10797708" y="86239"/>
            <a:ext cx="1190626" cy="350391"/>
          </a:xfrm>
          <a:prstGeom prst="rect">
            <a:avLst/>
          </a:prstGeom>
        </p:spPr>
      </p:pic>
      <p:sp>
        <p:nvSpPr>
          <p:cNvPr id="3" name="Title 8">
            <a:extLst>
              <a:ext uri="{FF2B5EF4-FFF2-40B4-BE49-F238E27FC236}">
                <a16:creationId xmlns:a16="http://schemas.microsoft.com/office/drawing/2014/main" id="{02E359F2-1223-97EA-F8A7-2860EEE8CC24}"/>
              </a:ext>
            </a:extLst>
          </p:cNvPr>
          <p:cNvSpPr txBox="1">
            <a:spLocks/>
          </p:cNvSpPr>
          <p:nvPr userDrawn="1"/>
        </p:nvSpPr>
        <p:spPr>
          <a:xfrm>
            <a:off x="247650" y="6574496"/>
            <a:ext cx="3113388" cy="182325"/>
          </a:xfrm>
          <a:prstGeom prst="rect">
            <a:avLst/>
          </a:prstGeom>
          <a:noFill/>
          <a:ln w="9525">
            <a:noFill/>
            <a:miter lim="800000"/>
            <a:headEnd/>
            <a:tailEnd/>
          </a:ln>
        </p:spPr>
        <p:txBody>
          <a:bodyPr vert="horz" wrap="square" lIns="182880" tIns="0" rIns="182880" bIns="0" numCol="1" rtlCol="0" anchor="ctr" anchorCtr="0" compatLnSpc="1">
            <a:prstTxWarp prst="textNoShape">
              <a:avLst/>
            </a:prstTxWarp>
            <a:noAutofit/>
          </a:bodyPr>
          <a:lstStyle>
            <a:defPPr>
              <a:defRPr lang="en-US"/>
            </a:defPPr>
            <a:lvl1pPr lvl="0" algn="r" defTabSz="954436" rtl="1">
              <a:lnSpc>
                <a:spcPct val="100000"/>
              </a:lnSpc>
              <a:spcBef>
                <a:spcPts val="0"/>
              </a:spcBef>
              <a:buNone/>
              <a:defRPr sz="1000" b="0" i="0">
                <a:solidFill>
                  <a:schemeClr val="tx1">
                    <a:lumMod val="50000"/>
                    <a:lumOff val="50000"/>
                  </a:schemeClr>
                </a:solidFill>
                <a:latin typeface="+mj-lt"/>
                <a:ea typeface="+mj-ea"/>
                <a:cs typeface="Sakkal Majalla" panose="02000000000000000000" pitchFamily="2" charset="-78"/>
              </a:defRPr>
            </a:lvl1pPr>
          </a:lstStyle>
          <a:p>
            <a:pPr lvl="0" algn="l" rtl="0"/>
            <a:r>
              <a:rPr lang="en-GB" sz="900">
                <a:sym typeface="Georgia"/>
              </a:rPr>
              <a:t>Decision Support System and Tools Project</a:t>
            </a:r>
          </a:p>
        </p:txBody>
      </p:sp>
      <p:sp>
        <p:nvSpPr>
          <p:cNvPr id="5" name="TextBox 4">
            <a:extLst>
              <a:ext uri="{FF2B5EF4-FFF2-40B4-BE49-F238E27FC236}">
                <a16:creationId xmlns:a16="http://schemas.microsoft.com/office/drawing/2014/main" id="{4834094C-C259-C2EA-B8E7-1E3DB0F991AB}"/>
              </a:ext>
            </a:extLst>
          </p:cNvPr>
          <p:cNvSpPr txBox="1"/>
          <p:nvPr userDrawn="1"/>
        </p:nvSpPr>
        <p:spPr>
          <a:xfrm>
            <a:off x="11563350" y="6602933"/>
            <a:ext cx="381000" cy="153888"/>
          </a:xfrm>
          <a:prstGeom prst="rect">
            <a:avLst/>
          </a:prstGeom>
          <a:noFill/>
        </p:spPr>
        <p:txBody>
          <a:bodyPr wrap="square" lIns="0" tIns="0" rIns="0" bIns="0" rtlCol="0" anchor="b">
            <a:spAutoFit/>
          </a:bodyPr>
          <a:lstStyle>
            <a:defPPr>
              <a:defRPr lang="en-US"/>
            </a:defPPr>
            <a:lvl1pPr marR="0" indent="0" fontAlgn="auto">
              <a:lnSpc>
                <a:spcPct val="100000"/>
              </a:lnSpc>
              <a:spcBef>
                <a:spcPts val="0"/>
              </a:spcBef>
              <a:spcAft>
                <a:spcPts val="0"/>
              </a:spcAft>
              <a:buClrTx/>
              <a:buSzTx/>
              <a:buFontTx/>
              <a:buNone/>
              <a:tabLst/>
              <a:defRPr sz="1000">
                <a:solidFill>
                  <a:schemeClr val="bg1">
                    <a:lumMod val="50000"/>
                  </a:schemeClr>
                </a:solidFill>
              </a:defRPr>
            </a:lvl1pPr>
          </a:lstStyle>
          <a:p>
            <a:pPr lvl="0" rtl="0"/>
            <a:fld id="{DFCF27A5-1A5B-48D3-A060-2758FFBB1ADD}" type="slidenum">
              <a:rPr lang="en-GB" noProof="0" smtClean="0">
                <a:sym typeface="Trebuchet MS" panose="020B0603020202020204" pitchFamily="34" charset="0"/>
              </a:rPr>
              <a:pPr lvl="0" rtl="0"/>
              <a:t>‹#›</a:t>
            </a:fld>
            <a:endParaRPr lang="en-GB" noProof="0">
              <a:sym typeface="Trebuchet MS" panose="020B0603020202020204" pitchFamily="34" charset="0"/>
            </a:endParaRPr>
          </a:p>
        </p:txBody>
      </p:sp>
    </p:spTree>
    <p:extLst>
      <p:ext uri="{BB962C8B-B14F-4D97-AF65-F5344CB8AC3E}">
        <p14:creationId xmlns:p14="http://schemas.microsoft.com/office/powerpoint/2010/main" val="1161936956"/>
      </p:ext>
    </p:extLst>
  </p:cSld>
  <p:clrMap bg1="lt1" tx1="dk1" bg2="lt2" tx2="dk2" accent1="accent1" accent2="accent2" accent3="accent3" accent4="accent4" accent5="accent5" accent6="accent6" hlink="hlink" folHlink="folHlink"/>
  <p:sldLayoutIdLst>
    <p:sldLayoutId id="2147485315" r:id="rId1"/>
    <p:sldLayoutId id="2147485389" r:id="rId2"/>
    <p:sldLayoutId id="2147485317" r:id="rId3"/>
    <p:sldLayoutId id="2147485344" r:id="rId4"/>
    <p:sldLayoutId id="2147485345" r:id="rId5"/>
    <p:sldLayoutId id="2147485347" r:id="rId6"/>
    <p:sldLayoutId id="2147485348" r:id="rId7"/>
    <p:sldLayoutId id="2147485349" r:id="rId8"/>
    <p:sldLayoutId id="2147485350" r:id="rId9"/>
    <p:sldLayoutId id="2147485351" r:id="rId10"/>
    <p:sldLayoutId id="2147485352" r:id="rId11"/>
    <p:sldLayoutId id="2147485353" r:id="rId12"/>
    <p:sldLayoutId id="2147485354" r:id="rId13"/>
    <p:sldLayoutId id="2147485355" r:id="rId14"/>
    <p:sldLayoutId id="2147485356" r:id="rId15"/>
    <p:sldLayoutId id="2147485357" r:id="rId16"/>
    <p:sldLayoutId id="2147485358" r:id="rId17"/>
    <p:sldLayoutId id="2147485359" r:id="rId18"/>
    <p:sldLayoutId id="2147485360" r:id="rId19"/>
    <p:sldLayoutId id="2147485361" r:id="rId20"/>
    <p:sldLayoutId id="2147485362" r:id="rId21"/>
    <p:sldLayoutId id="2147485363" r:id="rId22"/>
    <p:sldLayoutId id="2147485364" r:id="rId23"/>
    <p:sldLayoutId id="2147485365" r:id="rId24"/>
    <p:sldLayoutId id="2147485366" r:id="rId25"/>
    <p:sldLayoutId id="2147485367" r:id="rId26"/>
    <p:sldLayoutId id="2147485368" r:id="rId27"/>
    <p:sldLayoutId id="2147485369" r:id="rId28"/>
    <p:sldLayoutId id="2147485370" r:id="rId29"/>
    <p:sldLayoutId id="2147485371" r:id="rId30"/>
    <p:sldLayoutId id="2147485372" r:id="rId31"/>
    <p:sldLayoutId id="2147485373" r:id="rId32"/>
    <p:sldLayoutId id="2147485374" r:id="rId33"/>
    <p:sldLayoutId id="2147485375" r:id="rId34"/>
    <p:sldLayoutId id="2147485377" r:id="rId35"/>
    <p:sldLayoutId id="2147485378" r:id="rId36"/>
    <p:sldLayoutId id="2147485379" r:id="rId37"/>
    <p:sldLayoutId id="2147485380" r:id="rId38"/>
    <p:sldLayoutId id="2147485381" r:id="rId39"/>
    <p:sldLayoutId id="2147485382" r:id="rId40"/>
    <p:sldLayoutId id="2147485383" r:id="rId41"/>
    <p:sldLayoutId id="2147485384" r:id="rId42"/>
    <p:sldLayoutId id="2147485385" r:id="rId43"/>
    <p:sldLayoutId id="2147485386" r:id="rId44"/>
    <p:sldLayoutId id="2147485387" r:id="rId45"/>
    <p:sldLayoutId id="2147485388" r:id="rId4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006C67"/>
          </a:solidFill>
          <a:latin typeface="Sakkal Majalla" panose="02000000000000000000" pitchFamily="2" charset="-78"/>
          <a:ea typeface="+mj-ea"/>
          <a:cs typeface="Sakkal Majalla" panose="02000000000000000000" pitchFamily="2" charset="-78"/>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151FD1-AA8A-2D7C-8D06-2DCDA0D63F68}"/>
              </a:ext>
            </a:extLst>
          </p:cNvPr>
          <p:cNvGraphicFramePr>
            <a:graphicFrameLocks noChangeAspect="1"/>
          </p:cNvGraphicFramePr>
          <p:nvPr userDrawn="1">
            <p:custDataLst>
              <p:tags r:id="rId3"/>
            </p:custDataLst>
            <p:extLst>
              <p:ext uri="{D42A27DB-BD31-4B8C-83A1-F6EECF244321}">
                <p14:modId xmlns:p14="http://schemas.microsoft.com/office/powerpoint/2010/main" val="415292578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63151FD1-AA8A-2D7C-8D06-2DCDA0D63F6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442915" y="432001"/>
            <a:ext cx="11306175" cy="1387275"/>
          </a:xfrm>
          <a:prstGeom prst="rect">
            <a:avLst/>
          </a:prstGeom>
        </p:spPr>
        <p:txBody>
          <a:bodyPr vert="horz" lIns="0" tIns="0" rIns="0" bIns="0" rtlCol="0" anchor="t" anchorCtr="0">
            <a:normAutofit/>
          </a:bodyPr>
          <a:lstStyle/>
          <a:p>
            <a:r>
              <a:rPr lang="en-GB"/>
              <a:t>[Slide title]</a:t>
            </a:r>
          </a:p>
        </p:txBody>
      </p:sp>
      <p:sp>
        <p:nvSpPr>
          <p:cNvPr id="3" name="Text Placeholder 2"/>
          <p:cNvSpPr>
            <a:spLocks noGrp="1"/>
          </p:cNvSpPr>
          <p:nvPr>
            <p:ph type="body" idx="1"/>
          </p:nvPr>
        </p:nvSpPr>
        <p:spPr>
          <a:xfrm>
            <a:off x="442915" y="2103437"/>
            <a:ext cx="11306175" cy="4068763"/>
          </a:xfrm>
          <a:prstGeom prst="rect">
            <a:avLst/>
          </a:prstGeom>
        </p:spPr>
        <p:txBody>
          <a:bodyPr vert="horz" lIns="0" tIns="0" rIns="0" bIns="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grpSp>
        <p:nvGrpSpPr>
          <p:cNvPr id="4" name="Group 3">
            <a:extLst>
              <a:ext uri="{FF2B5EF4-FFF2-40B4-BE49-F238E27FC236}">
                <a16:creationId xmlns:a16="http://schemas.microsoft.com/office/drawing/2014/main" id="{95F64372-B9AB-8BFF-ED0C-038EB84ECB41}"/>
              </a:ext>
            </a:extLst>
          </p:cNvPr>
          <p:cNvGrpSpPr/>
          <p:nvPr userDrawn="1"/>
        </p:nvGrpSpPr>
        <p:grpSpPr>
          <a:xfrm>
            <a:off x="54427" y="-655675"/>
            <a:ext cx="6161316" cy="539891"/>
            <a:chOff x="232230" y="1197799"/>
            <a:chExt cx="8737600" cy="592841"/>
          </a:xfrm>
        </p:grpSpPr>
        <p:sp>
          <p:nvSpPr>
            <p:cNvPr id="6" name="Google Shape;4253;gf48e1857c3_38_0">
              <a:extLst>
                <a:ext uri="{FF2B5EF4-FFF2-40B4-BE49-F238E27FC236}">
                  <a16:creationId xmlns:a16="http://schemas.microsoft.com/office/drawing/2014/main" id="{CEC6E46E-B9F4-EDEE-B0F4-85ECFB7BEC30}"/>
                </a:ext>
              </a:extLst>
            </p:cNvPr>
            <p:cNvSpPr/>
            <p:nvPr/>
          </p:nvSpPr>
          <p:spPr>
            <a:xfrm flipH="1">
              <a:off x="3772657" y="1197799"/>
              <a:ext cx="1681103" cy="579430"/>
            </a:xfrm>
            <a:prstGeom prst="rect">
              <a:avLst/>
            </a:prstGeom>
            <a:solidFill>
              <a:srgbClr val="FF0000"/>
            </a:solidFill>
            <a:ln>
              <a:noFill/>
            </a:ln>
          </p:spPr>
          <p:txBody>
            <a:bodyPr spcFirstLastPara="1" wrap="square" lIns="0" tIns="0" rIns="0" bIns="0" anchor="ctr" anchorCtr="0">
              <a:noAutofit/>
            </a:bodyPr>
            <a:lstStyle/>
            <a:p>
              <a:pPr algn="ctr" defTabSz="830163" rtl="0">
                <a:buSzPts val="1400"/>
                <a:defRPr/>
              </a:pPr>
              <a:endParaRPr lang="en-GB" sz="1333" b="1">
                <a:solidFill>
                  <a:schemeClr val="bg1"/>
                </a:solidFill>
                <a:latin typeface="Sakkal Majalla" panose="02000000000000000000" pitchFamily="2" charset="-78"/>
                <a:cs typeface="Sakkal Majalla" panose="02000000000000000000" pitchFamily="2" charset="-78"/>
              </a:endParaRPr>
            </a:p>
          </p:txBody>
        </p:sp>
        <p:sp>
          <p:nvSpPr>
            <p:cNvPr id="7" name="Google Shape;4258;gf48e1857c3_38_0">
              <a:extLst>
                <a:ext uri="{FF2B5EF4-FFF2-40B4-BE49-F238E27FC236}">
                  <a16:creationId xmlns:a16="http://schemas.microsoft.com/office/drawing/2014/main" id="{2682A7C3-D1FE-36A5-B849-DB81E1810AE7}"/>
                </a:ext>
              </a:extLst>
            </p:cNvPr>
            <p:cNvSpPr/>
            <p:nvPr/>
          </p:nvSpPr>
          <p:spPr>
            <a:xfrm flipH="1">
              <a:off x="5561638" y="1199174"/>
              <a:ext cx="1660769" cy="579430"/>
            </a:xfrm>
            <a:prstGeom prst="rect">
              <a:avLst/>
            </a:prstGeom>
            <a:solidFill>
              <a:srgbClr val="464646"/>
            </a:solidFill>
            <a:ln>
              <a:noFill/>
            </a:ln>
          </p:spPr>
          <p:txBody>
            <a:bodyPr spcFirstLastPara="1" wrap="square" lIns="0" tIns="0" rIns="0" bIns="0" anchor="ctr" anchorCtr="0">
              <a:noAutofit/>
            </a:bodyPr>
            <a:lstStyle/>
            <a:p>
              <a:pPr algn="ctr" defTabSz="830163" rtl="0">
                <a:buSzPts val="1400"/>
                <a:defRPr/>
              </a:pPr>
              <a:endParaRPr lang="en-GB" sz="1333" b="1">
                <a:solidFill>
                  <a:schemeClr val="bg1"/>
                </a:solidFill>
                <a:latin typeface="Sakkal Majalla" panose="02000000000000000000" pitchFamily="2" charset="-78"/>
                <a:cs typeface="Sakkal Majalla" panose="02000000000000000000" pitchFamily="2" charset="-78"/>
              </a:endParaRPr>
            </a:p>
          </p:txBody>
        </p:sp>
        <p:sp>
          <p:nvSpPr>
            <p:cNvPr id="8" name="Google Shape;4248;gf48e1857c3_38_0">
              <a:extLst>
                <a:ext uri="{FF2B5EF4-FFF2-40B4-BE49-F238E27FC236}">
                  <a16:creationId xmlns:a16="http://schemas.microsoft.com/office/drawing/2014/main" id="{388766BB-7624-9907-A030-26B8282440F8}"/>
                </a:ext>
              </a:extLst>
            </p:cNvPr>
            <p:cNvSpPr/>
            <p:nvPr/>
          </p:nvSpPr>
          <p:spPr>
            <a:xfrm flipH="1">
              <a:off x="1983282" y="1211210"/>
              <a:ext cx="1684733" cy="579430"/>
            </a:xfrm>
            <a:prstGeom prst="rect">
              <a:avLst/>
            </a:prstGeom>
            <a:solidFill>
              <a:srgbClr val="7D7D7D"/>
            </a:solidFill>
            <a:ln>
              <a:noFill/>
            </a:ln>
          </p:spPr>
          <p:txBody>
            <a:bodyPr spcFirstLastPara="1" wrap="square" lIns="182880" tIns="0" rIns="182880" bIns="0" anchor="ctr" anchorCtr="0">
              <a:noAutofit/>
            </a:bodyPr>
            <a:lstStyle/>
            <a:p>
              <a:pPr algn="ctr" defTabSz="830163" rtl="0">
                <a:buSzPts val="1400"/>
                <a:defRPr/>
              </a:pPr>
              <a:endParaRPr lang="en-GB" sz="1333" b="1">
                <a:solidFill>
                  <a:schemeClr val="bg1"/>
                </a:solidFill>
                <a:latin typeface="Sakkal Majalla" panose="02000000000000000000" pitchFamily="2" charset="-78"/>
                <a:cs typeface="Sakkal Majalla" panose="02000000000000000000" pitchFamily="2" charset="-78"/>
              </a:endParaRPr>
            </a:p>
          </p:txBody>
        </p:sp>
        <p:sp>
          <p:nvSpPr>
            <p:cNvPr id="9" name="Google Shape;4242;gf48e1857c3_38_0">
              <a:extLst>
                <a:ext uri="{FF2B5EF4-FFF2-40B4-BE49-F238E27FC236}">
                  <a16:creationId xmlns:a16="http://schemas.microsoft.com/office/drawing/2014/main" id="{02063666-BA87-83C6-7E26-003045DD554C}"/>
                </a:ext>
              </a:extLst>
            </p:cNvPr>
            <p:cNvSpPr/>
            <p:nvPr/>
          </p:nvSpPr>
          <p:spPr>
            <a:xfrm flipH="1">
              <a:off x="7288726" y="1205051"/>
              <a:ext cx="1681104" cy="579430"/>
            </a:xfrm>
            <a:prstGeom prst="rect">
              <a:avLst/>
            </a:prstGeom>
            <a:solidFill>
              <a:srgbClr val="C00000"/>
            </a:solidFill>
            <a:ln>
              <a:noFill/>
            </a:ln>
          </p:spPr>
          <p:txBody>
            <a:bodyPr spcFirstLastPara="1" wrap="square" lIns="0" tIns="0" rIns="0" bIns="0" anchor="ctr" anchorCtr="0">
              <a:noAutofit/>
            </a:bodyPr>
            <a:lstStyle/>
            <a:p>
              <a:pPr algn="ctr" defTabSz="830163" rtl="0">
                <a:buSzPts val="1400"/>
                <a:defRPr/>
              </a:pPr>
              <a:endParaRPr lang="en-GB" sz="1333" b="1">
                <a:solidFill>
                  <a:schemeClr val="bg1"/>
                </a:solidFill>
                <a:latin typeface="Sakkal Majalla" panose="02000000000000000000" pitchFamily="2" charset="-78"/>
                <a:cs typeface="Sakkal Majalla" panose="02000000000000000000" pitchFamily="2" charset="-78"/>
              </a:endParaRPr>
            </a:p>
          </p:txBody>
        </p:sp>
        <p:sp>
          <p:nvSpPr>
            <p:cNvPr id="10" name="Google Shape;4248;gf48e1857c3_38_0">
              <a:extLst>
                <a:ext uri="{FF2B5EF4-FFF2-40B4-BE49-F238E27FC236}">
                  <a16:creationId xmlns:a16="http://schemas.microsoft.com/office/drawing/2014/main" id="{07493964-2366-25E8-2796-659867B084BA}"/>
                </a:ext>
              </a:extLst>
            </p:cNvPr>
            <p:cNvSpPr/>
            <p:nvPr/>
          </p:nvSpPr>
          <p:spPr>
            <a:xfrm flipH="1">
              <a:off x="232230" y="1203699"/>
              <a:ext cx="1684733" cy="579430"/>
            </a:xfrm>
            <a:prstGeom prst="rect">
              <a:avLst/>
            </a:prstGeom>
            <a:solidFill>
              <a:srgbClr val="DB536A"/>
            </a:solidFill>
            <a:ln>
              <a:noFill/>
            </a:ln>
          </p:spPr>
          <p:txBody>
            <a:bodyPr spcFirstLastPara="1" wrap="square" lIns="182880" tIns="0" rIns="182880" bIns="0" anchor="ctr" anchorCtr="0">
              <a:noAutofit/>
            </a:bodyPr>
            <a:lstStyle/>
            <a:p>
              <a:pPr algn="ctr" defTabSz="830163" rtl="0">
                <a:buSzPts val="1400"/>
                <a:defRPr/>
              </a:pPr>
              <a:endParaRPr lang="en-GB" sz="1333" b="1">
                <a:solidFill>
                  <a:schemeClr val="bg1"/>
                </a:solidFill>
                <a:latin typeface="Sakkal Majalla" panose="02000000000000000000" pitchFamily="2" charset="-78"/>
                <a:cs typeface="Sakkal Majalla" panose="02000000000000000000" pitchFamily="2" charset="-78"/>
              </a:endParaRPr>
            </a:p>
          </p:txBody>
        </p:sp>
      </p:grpSp>
    </p:spTree>
    <p:extLst>
      <p:ext uri="{BB962C8B-B14F-4D97-AF65-F5344CB8AC3E}">
        <p14:creationId xmlns:p14="http://schemas.microsoft.com/office/powerpoint/2010/main" val="2254764294"/>
      </p:ext>
    </p:extLst>
  </p:cSld>
  <p:clrMap bg1="lt1" tx1="dk1" bg2="lt2" tx2="dk2" accent1="accent1" accent2="accent2" accent3="accent3" accent4="accent4" accent5="accent5" accent6="accent6" hlink="hlink" folHlink="folHlink"/>
  <p:sldLayoutIdLst>
    <p:sldLayoutId id="2147485390" r:id="rId1"/>
  </p:sldLayoutIdLst>
  <p:hf sldNum="0" hdr="0" ftr="0" dt="0"/>
  <p:txStyles>
    <p:titleStyle>
      <a:lvl1pPr algn="l" defTabSz="914400" rtl="0" eaLnBrk="1" latinLnBrk="0" hangingPunct="1">
        <a:lnSpc>
          <a:spcPct val="85000"/>
        </a:lnSpc>
        <a:spcBef>
          <a:spcPct val="0"/>
        </a:spcBef>
        <a:buNone/>
        <a:defRPr sz="3200" kern="1200">
          <a:solidFill>
            <a:schemeClr val="tx1"/>
          </a:solidFill>
          <a:latin typeface="Sakkal Majalla" panose="02000000000000000000" pitchFamily="2" charset="-78"/>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1" b="1" kern="1200">
          <a:solidFill>
            <a:schemeClr val="accent1"/>
          </a:solidFill>
          <a:latin typeface="Sakkal Majalla" panose="02000000000000000000" pitchFamily="2" charset="-78"/>
          <a:ea typeface="+mn-ea"/>
          <a:cs typeface="+mn-cs"/>
        </a:defRPr>
      </a:lvl1pPr>
      <a:lvl2pPr marL="0" indent="0" algn="l" defTabSz="914400" rtl="0" eaLnBrk="1" latinLnBrk="0" hangingPunct="1">
        <a:lnSpc>
          <a:spcPct val="100000"/>
        </a:lnSpc>
        <a:spcBef>
          <a:spcPts val="0"/>
        </a:spcBef>
        <a:spcAft>
          <a:spcPts val="601"/>
        </a:spcAft>
        <a:buFont typeface="Arial" panose="020B0604020202020204" pitchFamily="34" charset="0"/>
        <a:buNone/>
        <a:defRPr sz="1600" kern="1200">
          <a:solidFill>
            <a:schemeClr val="tx1"/>
          </a:solidFill>
          <a:latin typeface="Sakkal Majalla" panose="02000000000000000000" pitchFamily="2" charset="-78"/>
          <a:ea typeface="+mn-ea"/>
          <a:cs typeface="+mn-cs"/>
        </a:defRPr>
      </a:lvl2pPr>
      <a:lvl3pPr marL="180974" indent="-180974" algn="l" defTabSz="914400" rtl="0" eaLnBrk="1" latinLnBrk="0" hangingPunct="1">
        <a:lnSpc>
          <a:spcPct val="100000"/>
        </a:lnSpc>
        <a:spcBef>
          <a:spcPts val="0"/>
        </a:spcBef>
        <a:spcAft>
          <a:spcPts val="601"/>
        </a:spcAft>
        <a:buFont typeface="Arial" panose="020B0604020202020204" pitchFamily="34" charset="0"/>
        <a:buChar char="•"/>
        <a:defRPr sz="1600" kern="1200">
          <a:solidFill>
            <a:schemeClr val="tx1"/>
          </a:solidFill>
          <a:latin typeface="Sakkal Majalla" panose="02000000000000000000" pitchFamily="2" charset="-78"/>
          <a:ea typeface="+mn-ea"/>
          <a:cs typeface="+mn-cs"/>
        </a:defRPr>
      </a:lvl3pPr>
      <a:lvl4pPr marL="361950" indent="-180974" algn="l" defTabSz="914400" rtl="0" eaLnBrk="1" latinLnBrk="0" hangingPunct="1">
        <a:lnSpc>
          <a:spcPct val="100000"/>
        </a:lnSpc>
        <a:spcBef>
          <a:spcPts val="0"/>
        </a:spcBef>
        <a:spcAft>
          <a:spcPts val="601"/>
        </a:spcAft>
        <a:buFont typeface="Arial" panose="020B0604020202020204" pitchFamily="34" charset="0"/>
        <a:buChar char="–"/>
        <a:defRPr sz="1600" kern="1200">
          <a:solidFill>
            <a:schemeClr val="tx1"/>
          </a:solidFill>
          <a:latin typeface="Sakkal Majalla" panose="02000000000000000000" pitchFamily="2" charset="-78"/>
          <a:ea typeface="+mn-ea"/>
          <a:cs typeface="+mn-cs"/>
        </a:defRPr>
      </a:lvl4pPr>
      <a:lvl5pPr marL="548641" indent="-180974" algn="l" defTabSz="914400" rtl="0" eaLnBrk="1" latinLnBrk="0" hangingPunct="1">
        <a:lnSpc>
          <a:spcPct val="100000"/>
        </a:lnSpc>
        <a:spcBef>
          <a:spcPts val="0"/>
        </a:spcBef>
        <a:spcAft>
          <a:spcPts val="601"/>
        </a:spcAft>
        <a:buFont typeface="Arial" panose="020B0604020202020204" pitchFamily="34" charset="0"/>
        <a:buChar char="•"/>
        <a:defRPr sz="1600" kern="1200">
          <a:solidFill>
            <a:schemeClr val="tx1"/>
          </a:solidFill>
          <a:latin typeface="Sakkal Majalla" panose="02000000000000000000" pitchFamily="2" charset="-78"/>
          <a:ea typeface="+mn-ea"/>
          <a:cs typeface="+mn-cs"/>
        </a:defRPr>
      </a:lvl5pPr>
      <a:lvl6pPr marL="731520" indent="-182881" algn="l" defTabSz="914400" rtl="0" eaLnBrk="1" latinLnBrk="0" hangingPunct="1">
        <a:lnSpc>
          <a:spcPct val="100000"/>
        </a:lnSpc>
        <a:spcBef>
          <a:spcPts val="0"/>
        </a:spcBef>
        <a:spcAft>
          <a:spcPts val="601"/>
        </a:spcAft>
        <a:buFont typeface="Arial" panose="020B0604020202020204" pitchFamily="34" charset="0"/>
        <a:buChar char="–"/>
        <a:defRPr sz="1600" kern="1200">
          <a:solidFill>
            <a:schemeClr val="tx1"/>
          </a:solidFill>
          <a:latin typeface="+mn-lt"/>
          <a:ea typeface="+mn-ea"/>
          <a:cs typeface="+mn-cs"/>
        </a:defRPr>
      </a:lvl6pPr>
      <a:lvl7pPr marL="914400" indent="-182881" algn="l" defTabSz="914400" rtl="0" eaLnBrk="1" latinLnBrk="0" hangingPunct="1">
        <a:lnSpc>
          <a:spcPct val="100000"/>
        </a:lnSpc>
        <a:spcBef>
          <a:spcPts val="0"/>
        </a:spcBef>
        <a:spcAft>
          <a:spcPts val="601"/>
        </a:spcAft>
        <a:buFont typeface="Arial" panose="020B0604020202020204" pitchFamily="34" charset="0"/>
        <a:buChar char="•"/>
        <a:defRPr sz="1600" kern="1200">
          <a:solidFill>
            <a:schemeClr val="tx1"/>
          </a:solidFill>
          <a:latin typeface="+mn-lt"/>
          <a:ea typeface="+mn-ea"/>
          <a:cs typeface="+mn-cs"/>
        </a:defRPr>
      </a:lvl7pPr>
      <a:lvl8pPr marL="1097279" indent="-182881" algn="l" defTabSz="914400" rtl="0" eaLnBrk="1" latinLnBrk="0" hangingPunct="1">
        <a:lnSpc>
          <a:spcPct val="100000"/>
        </a:lnSpc>
        <a:spcBef>
          <a:spcPts val="0"/>
        </a:spcBef>
        <a:spcAft>
          <a:spcPts val="601"/>
        </a:spcAft>
        <a:buFont typeface="Arial" panose="020B0604020202020204" pitchFamily="34" charset="0"/>
        <a:buChar char="–"/>
        <a:defRPr sz="1600" kern="1200">
          <a:solidFill>
            <a:schemeClr val="tx1"/>
          </a:solidFill>
          <a:latin typeface="+mn-lt"/>
          <a:ea typeface="+mn-ea"/>
          <a:cs typeface="+mn-cs"/>
        </a:defRPr>
      </a:lvl8pPr>
      <a:lvl9pPr marL="1280160" indent="-182881" algn="l" defTabSz="914400" rtl="0" eaLnBrk="1" latinLnBrk="0" hangingPunct="1">
        <a:lnSpc>
          <a:spcPct val="100000"/>
        </a:lnSpc>
        <a:spcBef>
          <a:spcPts val="0"/>
        </a:spcBef>
        <a:spcAft>
          <a:spcPts val="601"/>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199"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1"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1"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599"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p15:clr>
            <a:srgbClr val="F26B43"/>
          </p15:clr>
        </p15:guide>
        <p15:guide id="1" pos="209">
          <p15:clr>
            <a:srgbClr val="F26B43"/>
          </p15:clr>
        </p15:guide>
        <p15:guide id="2" pos="5551">
          <p15:clr>
            <a:srgbClr val="F26B43"/>
          </p15:clr>
        </p15:guide>
        <p15:guide id="3" pos="2965">
          <p15:clr>
            <a:srgbClr val="F26B43"/>
          </p15:clr>
        </p15:guide>
        <p15:guide id="4" pos="2795">
          <p15:clr>
            <a:srgbClr val="F26B43"/>
          </p15:clr>
        </p15:guide>
        <p15:guide id="5" orient="horz" pos="2916">
          <p15:clr>
            <a:srgbClr val="F26B43"/>
          </p15:clr>
        </p15:guide>
        <p15:guide id="6" pos="2045">
          <p15:clr>
            <a:srgbClr val="F26B43"/>
          </p15:clr>
        </p15:guide>
        <p15:guide id="7" pos="1877">
          <p15:clr>
            <a:srgbClr val="F26B43"/>
          </p15:clr>
        </p15:guide>
        <p15:guide id="8" pos="3715">
          <p15:clr>
            <a:srgbClr val="F26B43"/>
          </p15:clr>
        </p15:guide>
        <p15:guide id="9" pos="3883">
          <p15:clr>
            <a:srgbClr val="F26B43"/>
          </p15:clr>
        </p15:guide>
        <p15:guide id="10" orient="horz" pos="1620">
          <p15:clr>
            <a:srgbClr val="F26B43"/>
          </p15:clr>
        </p15:guide>
        <p15:guide id="11" orient="horz" pos="994">
          <p15:clr>
            <a:srgbClr val="F26B43"/>
          </p15:clr>
        </p15:guide>
        <p15:guide id="12" orient="horz" pos="860">
          <p15:clr>
            <a:srgbClr val="F26B43"/>
          </p15:clr>
        </p15:guide>
        <p15:guide id="13" orient="horz" pos="203">
          <p15:clr>
            <a:srgbClr val="F26B43"/>
          </p15:clr>
        </p15:guide>
        <p15:guide id="14" orient="horz" pos="71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8"/>
            </p:custDataLst>
            <p:extLst>
              <p:ext uri="{D42A27DB-BD31-4B8C-83A1-F6EECF244321}">
                <p14:modId xmlns:p14="http://schemas.microsoft.com/office/powerpoint/2010/main" val="105935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9" imgW="270" imgH="270" progId="TCLayout.ActiveDocument.1">
                  <p:embed/>
                </p:oleObj>
              </mc:Choice>
              <mc:Fallback>
                <p:oleObj name="think-cell Slide" r:id="rId49" imgW="270" imgH="270" progId="TCLayout.ActiveDocument.1">
                  <p:embed/>
                  <p:pic>
                    <p:nvPicPr>
                      <p:cNvPr id="2" name="Object 1" hidden="1"/>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341632"/>
          </a:xfrm>
          <a:prstGeom prst="rect">
            <a:avLst/>
          </a:prstGeom>
        </p:spPr>
        <p:txBody>
          <a:bodyPr vert="horz" wrap="square" lIns="0" tIns="0" rIns="0" bIns="0" rtlCol="0" anchor="t">
            <a:spAutoFit/>
          </a:bodyPr>
          <a:lstStyle/>
          <a:p>
            <a:r>
              <a:rPr lang="en-GB"/>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Level six</a:t>
            </a:r>
          </a:p>
          <a:p>
            <a:pPr lvl="6"/>
            <a:r>
              <a:rPr lang="en-GB"/>
              <a:t>Level seven</a:t>
            </a:r>
          </a:p>
          <a:p>
            <a:pPr lvl="7"/>
            <a:r>
              <a:rPr lang="en-GB"/>
              <a:t>Level eight</a:t>
            </a:r>
          </a:p>
          <a:p>
            <a:pPr lvl="8"/>
            <a:r>
              <a:rPr lang="en-GB"/>
              <a:t>Level nine</a:t>
            </a:r>
          </a:p>
        </p:txBody>
      </p:sp>
      <p:pic>
        <p:nvPicPr>
          <p:cNvPr id="10" name="Picture 9">
            <a:extLst>
              <a:ext uri="{FF2B5EF4-FFF2-40B4-BE49-F238E27FC236}">
                <a16:creationId xmlns:a16="http://schemas.microsoft.com/office/drawing/2014/main" id="{417FFCF0-FB3A-D968-599A-2AD5888C2B27}"/>
              </a:ext>
            </a:extLst>
          </p:cNvPr>
          <p:cNvPicPr>
            <a:picLocks noChangeAspect="1"/>
          </p:cNvPicPr>
          <p:nvPr userDrawn="1"/>
        </p:nvPicPr>
        <p:blipFill>
          <a:blip r:embed="rId51"/>
          <a:stretch>
            <a:fillRect/>
          </a:stretch>
        </p:blipFill>
        <p:spPr>
          <a:xfrm>
            <a:off x="10797708" y="86239"/>
            <a:ext cx="1190626" cy="350391"/>
          </a:xfrm>
          <a:prstGeom prst="rect">
            <a:avLst/>
          </a:prstGeom>
        </p:spPr>
      </p:pic>
    </p:spTree>
    <p:extLst>
      <p:ext uri="{BB962C8B-B14F-4D97-AF65-F5344CB8AC3E}">
        <p14:creationId xmlns:p14="http://schemas.microsoft.com/office/powerpoint/2010/main" val="28494593"/>
      </p:ext>
    </p:extLst>
  </p:cSld>
  <p:clrMap bg1="lt1" tx1="dk1" bg2="lt2" tx2="dk2" accent1="accent1" accent2="accent2" accent3="accent3" accent4="accent4" accent5="accent5" accent6="accent6" hlink="hlink" folHlink="folHlink"/>
  <p:sldLayoutIdLst>
    <p:sldLayoutId id="2147485392" r:id="rId1"/>
    <p:sldLayoutId id="2147485393" r:id="rId2"/>
    <p:sldLayoutId id="2147485394" r:id="rId3"/>
    <p:sldLayoutId id="2147485395" r:id="rId4"/>
    <p:sldLayoutId id="2147485396" r:id="rId5"/>
    <p:sldLayoutId id="2147485398" r:id="rId6"/>
    <p:sldLayoutId id="2147485399" r:id="rId7"/>
    <p:sldLayoutId id="2147485400" r:id="rId8"/>
    <p:sldLayoutId id="2147485401" r:id="rId9"/>
    <p:sldLayoutId id="2147485402" r:id="rId10"/>
    <p:sldLayoutId id="2147485403" r:id="rId11"/>
    <p:sldLayoutId id="2147485404" r:id="rId12"/>
    <p:sldLayoutId id="2147485405" r:id="rId13"/>
    <p:sldLayoutId id="2147485406" r:id="rId14"/>
    <p:sldLayoutId id="2147485407" r:id="rId15"/>
    <p:sldLayoutId id="2147485408" r:id="rId16"/>
    <p:sldLayoutId id="2147485409" r:id="rId17"/>
    <p:sldLayoutId id="2147485410" r:id="rId18"/>
    <p:sldLayoutId id="2147485411" r:id="rId19"/>
    <p:sldLayoutId id="2147485412" r:id="rId20"/>
    <p:sldLayoutId id="2147485413" r:id="rId21"/>
    <p:sldLayoutId id="2147485414" r:id="rId22"/>
    <p:sldLayoutId id="2147485415" r:id="rId23"/>
    <p:sldLayoutId id="2147485416" r:id="rId24"/>
    <p:sldLayoutId id="2147485417" r:id="rId25"/>
    <p:sldLayoutId id="2147485418" r:id="rId26"/>
    <p:sldLayoutId id="2147485419" r:id="rId27"/>
    <p:sldLayoutId id="2147485420" r:id="rId28"/>
    <p:sldLayoutId id="2147485421" r:id="rId29"/>
    <p:sldLayoutId id="2147485422" r:id="rId30"/>
    <p:sldLayoutId id="2147485423" r:id="rId31"/>
    <p:sldLayoutId id="2147485424" r:id="rId32"/>
    <p:sldLayoutId id="2147485425" r:id="rId33"/>
    <p:sldLayoutId id="2147485426" r:id="rId34"/>
    <p:sldLayoutId id="2147485428" r:id="rId35"/>
    <p:sldLayoutId id="2147485429" r:id="rId36"/>
    <p:sldLayoutId id="2147485430" r:id="rId37"/>
    <p:sldLayoutId id="2147485431" r:id="rId38"/>
    <p:sldLayoutId id="2147485432" r:id="rId39"/>
    <p:sldLayoutId id="2147485433" r:id="rId40"/>
    <p:sldLayoutId id="2147485434" r:id="rId41"/>
    <p:sldLayoutId id="2147485435" r:id="rId42"/>
    <p:sldLayoutId id="2147485436" r:id="rId43"/>
    <p:sldLayoutId id="2147485437" r:id="rId44"/>
    <p:sldLayoutId id="2147485438" r:id="rId45"/>
    <p:sldLayoutId id="2147485439" r:id="rId4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006C67"/>
          </a:solidFill>
          <a:latin typeface="Sakkal Majalla" panose="02000000000000000000" pitchFamily="2" charset="-78"/>
          <a:ea typeface="+mj-ea"/>
          <a:cs typeface="Sakkal Majalla" panose="02000000000000000000" pitchFamily="2" charset="-78"/>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906">
          <p15:clr>
            <a:srgbClr val="F26B43"/>
          </p15:clr>
        </p15:guide>
      </p15:sldGuideLst>
    </p:ext>
  </p:extLst>
</p:sldMaster>
</file>

<file path=ppt/slides/_rels/slide1.xml.rels><?xml version="1.0" encoding="UTF-8" standalone="yes"?>
<Relationships xmlns="http://schemas.openxmlformats.org/package/2006/relationships"><Relationship Id="rId26" Type="http://schemas.openxmlformats.org/officeDocument/2006/relationships/tags" Target="../tags/tag199.xml"/><Relationship Id="rId21" Type="http://schemas.openxmlformats.org/officeDocument/2006/relationships/tags" Target="../tags/tag194.xml"/><Relationship Id="rId42" Type="http://schemas.openxmlformats.org/officeDocument/2006/relationships/tags" Target="../tags/tag215.xml"/><Relationship Id="rId47" Type="http://schemas.openxmlformats.org/officeDocument/2006/relationships/tags" Target="../tags/tag220.xml"/><Relationship Id="rId63" Type="http://schemas.openxmlformats.org/officeDocument/2006/relationships/chart" Target="../charts/chart1.xml"/><Relationship Id="rId68" Type="http://schemas.openxmlformats.org/officeDocument/2006/relationships/image" Target="../media/image27.png"/><Relationship Id="rId7" Type="http://schemas.openxmlformats.org/officeDocument/2006/relationships/tags" Target="../tags/tag180.xml"/><Relationship Id="rId2" Type="http://schemas.openxmlformats.org/officeDocument/2006/relationships/tags" Target="../tags/tag175.xml"/><Relationship Id="rId16" Type="http://schemas.openxmlformats.org/officeDocument/2006/relationships/tags" Target="../tags/tag189.xml"/><Relationship Id="rId29" Type="http://schemas.openxmlformats.org/officeDocument/2006/relationships/tags" Target="../tags/tag202.xml"/><Relationship Id="rId11" Type="http://schemas.openxmlformats.org/officeDocument/2006/relationships/tags" Target="../tags/tag184.xml"/><Relationship Id="rId24" Type="http://schemas.openxmlformats.org/officeDocument/2006/relationships/tags" Target="../tags/tag197.xml"/><Relationship Id="rId32" Type="http://schemas.openxmlformats.org/officeDocument/2006/relationships/tags" Target="../tags/tag205.xml"/><Relationship Id="rId37" Type="http://schemas.openxmlformats.org/officeDocument/2006/relationships/tags" Target="../tags/tag210.xml"/><Relationship Id="rId40" Type="http://schemas.openxmlformats.org/officeDocument/2006/relationships/tags" Target="../tags/tag213.xml"/><Relationship Id="rId45" Type="http://schemas.openxmlformats.org/officeDocument/2006/relationships/tags" Target="../tags/tag218.xml"/><Relationship Id="rId53" Type="http://schemas.openxmlformats.org/officeDocument/2006/relationships/tags" Target="../tags/tag226.xml"/><Relationship Id="rId58" Type="http://schemas.openxmlformats.org/officeDocument/2006/relationships/slideLayout" Target="../slideLayouts/slideLayout113.xml"/><Relationship Id="rId66" Type="http://schemas.openxmlformats.org/officeDocument/2006/relationships/image" Target="../media/image25.png"/><Relationship Id="rId5" Type="http://schemas.openxmlformats.org/officeDocument/2006/relationships/tags" Target="../tags/tag178.xml"/><Relationship Id="rId61" Type="http://schemas.openxmlformats.org/officeDocument/2006/relationships/image" Target="../media/image12.emf"/><Relationship Id="rId19" Type="http://schemas.openxmlformats.org/officeDocument/2006/relationships/tags" Target="../tags/tag19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tags" Target="../tags/tag200.xml"/><Relationship Id="rId30" Type="http://schemas.openxmlformats.org/officeDocument/2006/relationships/tags" Target="../tags/tag203.xml"/><Relationship Id="rId35" Type="http://schemas.openxmlformats.org/officeDocument/2006/relationships/tags" Target="../tags/tag208.xml"/><Relationship Id="rId43" Type="http://schemas.openxmlformats.org/officeDocument/2006/relationships/tags" Target="../tags/tag216.xml"/><Relationship Id="rId48" Type="http://schemas.openxmlformats.org/officeDocument/2006/relationships/tags" Target="../tags/tag221.xml"/><Relationship Id="rId56" Type="http://schemas.openxmlformats.org/officeDocument/2006/relationships/tags" Target="../tags/tag229.xml"/><Relationship Id="rId64" Type="http://schemas.openxmlformats.org/officeDocument/2006/relationships/slide" Target="slide2.xml"/><Relationship Id="rId69" Type="http://schemas.openxmlformats.org/officeDocument/2006/relationships/image" Target="../media/image28.svg"/><Relationship Id="rId8" Type="http://schemas.openxmlformats.org/officeDocument/2006/relationships/tags" Target="../tags/tag181.xml"/><Relationship Id="rId51" Type="http://schemas.openxmlformats.org/officeDocument/2006/relationships/tags" Target="../tags/tag224.xml"/><Relationship Id="rId3" Type="http://schemas.openxmlformats.org/officeDocument/2006/relationships/tags" Target="../tags/tag176.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33" Type="http://schemas.openxmlformats.org/officeDocument/2006/relationships/tags" Target="../tags/tag206.xml"/><Relationship Id="rId38" Type="http://schemas.openxmlformats.org/officeDocument/2006/relationships/tags" Target="../tags/tag211.xml"/><Relationship Id="rId46" Type="http://schemas.openxmlformats.org/officeDocument/2006/relationships/tags" Target="../tags/tag219.xml"/><Relationship Id="rId59" Type="http://schemas.openxmlformats.org/officeDocument/2006/relationships/notesSlide" Target="../notesSlides/notesSlide1.xml"/><Relationship Id="rId67" Type="http://schemas.openxmlformats.org/officeDocument/2006/relationships/image" Target="../media/image26.svg"/><Relationship Id="rId20" Type="http://schemas.openxmlformats.org/officeDocument/2006/relationships/tags" Target="../tags/tag193.xml"/><Relationship Id="rId41" Type="http://schemas.openxmlformats.org/officeDocument/2006/relationships/tags" Target="../tags/tag214.xml"/><Relationship Id="rId54" Type="http://schemas.openxmlformats.org/officeDocument/2006/relationships/tags" Target="../tags/tag227.xml"/><Relationship Id="rId62" Type="http://schemas.openxmlformats.org/officeDocument/2006/relationships/slide" Target="slide3.xml"/><Relationship Id="rId1" Type="http://schemas.openxmlformats.org/officeDocument/2006/relationships/tags" Target="../tags/tag174.xml"/><Relationship Id="rId6" Type="http://schemas.openxmlformats.org/officeDocument/2006/relationships/tags" Target="../tags/tag179.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36" Type="http://schemas.openxmlformats.org/officeDocument/2006/relationships/tags" Target="../tags/tag209.xml"/><Relationship Id="rId49" Type="http://schemas.openxmlformats.org/officeDocument/2006/relationships/tags" Target="../tags/tag222.xml"/><Relationship Id="rId57" Type="http://schemas.openxmlformats.org/officeDocument/2006/relationships/tags" Target="../tags/tag230.xml"/><Relationship Id="rId10" Type="http://schemas.openxmlformats.org/officeDocument/2006/relationships/tags" Target="../tags/tag183.xml"/><Relationship Id="rId31" Type="http://schemas.openxmlformats.org/officeDocument/2006/relationships/tags" Target="../tags/tag204.xml"/><Relationship Id="rId44" Type="http://schemas.openxmlformats.org/officeDocument/2006/relationships/tags" Target="../tags/tag217.xml"/><Relationship Id="rId52" Type="http://schemas.openxmlformats.org/officeDocument/2006/relationships/tags" Target="../tags/tag225.xml"/><Relationship Id="rId60" Type="http://schemas.openxmlformats.org/officeDocument/2006/relationships/oleObject" Target="../embeddings/oleObject159.bin"/><Relationship Id="rId65" Type="http://schemas.openxmlformats.org/officeDocument/2006/relationships/slide" Target="slide4.xml"/><Relationship Id="rId4" Type="http://schemas.openxmlformats.org/officeDocument/2006/relationships/tags" Target="../tags/tag177.xml"/><Relationship Id="rId9" Type="http://schemas.openxmlformats.org/officeDocument/2006/relationships/tags" Target="../tags/tag182.xml"/><Relationship Id="rId13" Type="http://schemas.openxmlformats.org/officeDocument/2006/relationships/tags" Target="../tags/tag186.xml"/><Relationship Id="rId18" Type="http://schemas.openxmlformats.org/officeDocument/2006/relationships/tags" Target="../tags/tag191.xml"/><Relationship Id="rId39" Type="http://schemas.openxmlformats.org/officeDocument/2006/relationships/tags" Target="../tags/tag212.xml"/><Relationship Id="rId34" Type="http://schemas.openxmlformats.org/officeDocument/2006/relationships/tags" Target="../tags/tag207.xml"/><Relationship Id="rId50" Type="http://schemas.openxmlformats.org/officeDocument/2006/relationships/tags" Target="../tags/tag223.xml"/><Relationship Id="rId55" Type="http://schemas.openxmlformats.org/officeDocument/2006/relationships/tags" Target="../tags/tag228.xml"/></Relationships>
</file>

<file path=ppt/slides/_rels/slide2.xml.rels><?xml version="1.0" encoding="UTF-8" standalone="yes"?>
<Relationships xmlns="http://schemas.openxmlformats.org/package/2006/relationships"><Relationship Id="rId26" Type="http://schemas.openxmlformats.org/officeDocument/2006/relationships/tags" Target="../tags/tag256.xml"/><Relationship Id="rId21" Type="http://schemas.openxmlformats.org/officeDocument/2006/relationships/tags" Target="../tags/tag251.xml"/><Relationship Id="rId34" Type="http://schemas.openxmlformats.org/officeDocument/2006/relationships/tags" Target="../tags/tag264.xml"/><Relationship Id="rId42" Type="http://schemas.openxmlformats.org/officeDocument/2006/relationships/tags" Target="../tags/tag272.xml"/><Relationship Id="rId47" Type="http://schemas.openxmlformats.org/officeDocument/2006/relationships/tags" Target="../tags/tag277.xml"/><Relationship Id="rId50" Type="http://schemas.openxmlformats.org/officeDocument/2006/relationships/tags" Target="../tags/tag280.xml"/><Relationship Id="rId55" Type="http://schemas.openxmlformats.org/officeDocument/2006/relationships/tags" Target="../tags/tag285.xml"/><Relationship Id="rId63" Type="http://schemas.openxmlformats.org/officeDocument/2006/relationships/image" Target="../media/image26.svg"/><Relationship Id="rId7" Type="http://schemas.openxmlformats.org/officeDocument/2006/relationships/tags" Target="../tags/tag237.xml"/><Relationship Id="rId2" Type="http://schemas.openxmlformats.org/officeDocument/2006/relationships/tags" Target="../tags/tag232.xml"/><Relationship Id="rId16" Type="http://schemas.openxmlformats.org/officeDocument/2006/relationships/tags" Target="../tags/tag246.xml"/><Relationship Id="rId29" Type="http://schemas.openxmlformats.org/officeDocument/2006/relationships/tags" Target="../tags/tag259.xml"/><Relationship Id="rId11" Type="http://schemas.openxmlformats.org/officeDocument/2006/relationships/tags" Target="../tags/tag241.xml"/><Relationship Id="rId24" Type="http://schemas.openxmlformats.org/officeDocument/2006/relationships/tags" Target="../tags/tag254.xml"/><Relationship Id="rId32" Type="http://schemas.openxmlformats.org/officeDocument/2006/relationships/tags" Target="../tags/tag262.xml"/><Relationship Id="rId37" Type="http://schemas.openxmlformats.org/officeDocument/2006/relationships/tags" Target="../tags/tag267.xml"/><Relationship Id="rId40" Type="http://schemas.openxmlformats.org/officeDocument/2006/relationships/tags" Target="../tags/tag270.xml"/><Relationship Id="rId45" Type="http://schemas.openxmlformats.org/officeDocument/2006/relationships/tags" Target="../tags/tag275.xml"/><Relationship Id="rId53" Type="http://schemas.openxmlformats.org/officeDocument/2006/relationships/tags" Target="../tags/tag283.xml"/><Relationship Id="rId58" Type="http://schemas.openxmlformats.org/officeDocument/2006/relationships/oleObject" Target="../embeddings/oleObject160.bin"/><Relationship Id="rId5" Type="http://schemas.openxmlformats.org/officeDocument/2006/relationships/tags" Target="../tags/tag235.xml"/><Relationship Id="rId61" Type="http://schemas.openxmlformats.org/officeDocument/2006/relationships/slide" Target="slide1.xml"/><Relationship Id="rId19" Type="http://schemas.openxmlformats.org/officeDocument/2006/relationships/tags" Target="../tags/tag249.xml"/><Relationship Id="rId14" Type="http://schemas.openxmlformats.org/officeDocument/2006/relationships/tags" Target="../tags/tag244.xml"/><Relationship Id="rId22" Type="http://schemas.openxmlformats.org/officeDocument/2006/relationships/tags" Target="../tags/tag252.xml"/><Relationship Id="rId27" Type="http://schemas.openxmlformats.org/officeDocument/2006/relationships/tags" Target="../tags/tag257.xml"/><Relationship Id="rId30" Type="http://schemas.openxmlformats.org/officeDocument/2006/relationships/tags" Target="../tags/tag260.xml"/><Relationship Id="rId35" Type="http://schemas.openxmlformats.org/officeDocument/2006/relationships/tags" Target="../tags/tag265.xml"/><Relationship Id="rId43" Type="http://schemas.openxmlformats.org/officeDocument/2006/relationships/tags" Target="../tags/tag273.xml"/><Relationship Id="rId48" Type="http://schemas.openxmlformats.org/officeDocument/2006/relationships/tags" Target="../tags/tag278.xml"/><Relationship Id="rId56" Type="http://schemas.openxmlformats.org/officeDocument/2006/relationships/slideLayout" Target="../slideLayouts/slideLayout113.xml"/><Relationship Id="rId64" Type="http://schemas.openxmlformats.org/officeDocument/2006/relationships/image" Target="../media/image27.png"/><Relationship Id="rId8" Type="http://schemas.openxmlformats.org/officeDocument/2006/relationships/tags" Target="../tags/tag238.xml"/><Relationship Id="rId51" Type="http://schemas.openxmlformats.org/officeDocument/2006/relationships/tags" Target="../tags/tag281.xml"/><Relationship Id="rId3" Type="http://schemas.openxmlformats.org/officeDocument/2006/relationships/tags" Target="../tags/tag233.xml"/><Relationship Id="rId12" Type="http://schemas.openxmlformats.org/officeDocument/2006/relationships/tags" Target="../tags/tag242.xml"/><Relationship Id="rId17" Type="http://schemas.openxmlformats.org/officeDocument/2006/relationships/tags" Target="../tags/tag247.xml"/><Relationship Id="rId25" Type="http://schemas.openxmlformats.org/officeDocument/2006/relationships/tags" Target="../tags/tag255.xml"/><Relationship Id="rId33" Type="http://schemas.openxmlformats.org/officeDocument/2006/relationships/tags" Target="../tags/tag263.xml"/><Relationship Id="rId38" Type="http://schemas.openxmlformats.org/officeDocument/2006/relationships/tags" Target="../tags/tag268.xml"/><Relationship Id="rId46" Type="http://schemas.openxmlformats.org/officeDocument/2006/relationships/tags" Target="../tags/tag276.xml"/><Relationship Id="rId59" Type="http://schemas.openxmlformats.org/officeDocument/2006/relationships/image" Target="../media/image12.emf"/><Relationship Id="rId20" Type="http://schemas.openxmlformats.org/officeDocument/2006/relationships/tags" Target="../tags/tag250.xml"/><Relationship Id="rId41" Type="http://schemas.openxmlformats.org/officeDocument/2006/relationships/tags" Target="../tags/tag271.xml"/><Relationship Id="rId54" Type="http://schemas.openxmlformats.org/officeDocument/2006/relationships/tags" Target="../tags/tag284.xml"/><Relationship Id="rId62" Type="http://schemas.openxmlformats.org/officeDocument/2006/relationships/image" Target="../media/image25.png"/><Relationship Id="rId1" Type="http://schemas.openxmlformats.org/officeDocument/2006/relationships/tags" Target="../tags/tag231.xml"/><Relationship Id="rId6" Type="http://schemas.openxmlformats.org/officeDocument/2006/relationships/tags" Target="../tags/tag236.xml"/><Relationship Id="rId15" Type="http://schemas.openxmlformats.org/officeDocument/2006/relationships/tags" Target="../tags/tag245.xml"/><Relationship Id="rId23" Type="http://schemas.openxmlformats.org/officeDocument/2006/relationships/tags" Target="../tags/tag253.xml"/><Relationship Id="rId28" Type="http://schemas.openxmlformats.org/officeDocument/2006/relationships/tags" Target="../tags/tag258.xml"/><Relationship Id="rId36" Type="http://schemas.openxmlformats.org/officeDocument/2006/relationships/tags" Target="../tags/tag266.xml"/><Relationship Id="rId49" Type="http://schemas.openxmlformats.org/officeDocument/2006/relationships/tags" Target="../tags/tag279.xml"/><Relationship Id="rId57" Type="http://schemas.openxmlformats.org/officeDocument/2006/relationships/notesSlide" Target="../notesSlides/notesSlide2.xml"/><Relationship Id="rId10" Type="http://schemas.openxmlformats.org/officeDocument/2006/relationships/tags" Target="../tags/tag240.xml"/><Relationship Id="rId31" Type="http://schemas.openxmlformats.org/officeDocument/2006/relationships/tags" Target="../tags/tag261.xml"/><Relationship Id="rId44" Type="http://schemas.openxmlformats.org/officeDocument/2006/relationships/tags" Target="../tags/tag274.xml"/><Relationship Id="rId52" Type="http://schemas.openxmlformats.org/officeDocument/2006/relationships/tags" Target="../tags/tag282.xml"/><Relationship Id="rId60" Type="http://schemas.openxmlformats.org/officeDocument/2006/relationships/chart" Target="../charts/chart2.xml"/><Relationship Id="rId65" Type="http://schemas.openxmlformats.org/officeDocument/2006/relationships/image" Target="../media/image28.svg"/><Relationship Id="rId4" Type="http://schemas.openxmlformats.org/officeDocument/2006/relationships/tags" Target="../tags/tag234.xml"/><Relationship Id="rId9" Type="http://schemas.openxmlformats.org/officeDocument/2006/relationships/tags" Target="../tags/tag239.xml"/><Relationship Id="rId13" Type="http://schemas.openxmlformats.org/officeDocument/2006/relationships/tags" Target="../tags/tag243.xml"/><Relationship Id="rId18" Type="http://schemas.openxmlformats.org/officeDocument/2006/relationships/tags" Target="../tags/tag248.xml"/><Relationship Id="rId39" Type="http://schemas.openxmlformats.org/officeDocument/2006/relationships/tags" Target="../tags/tag269.xml"/></Relationships>
</file>

<file path=ppt/slides/_rels/slide3.xml.rels><?xml version="1.0" encoding="UTF-8" standalone="yes"?>
<Relationships xmlns="http://schemas.openxmlformats.org/package/2006/relationships"><Relationship Id="rId13" Type="http://schemas.openxmlformats.org/officeDocument/2006/relationships/tags" Target="../tags/tag298.xml"/><Relationship Id="rId18" Type="http://schemas.openxmlformats.org/officeDocument/2006/relationships/tags" Target="../tags/tag303.xml"/><Relationship Id="rId26" Type="http://schemas.openxmlformats.org/officeDocument/2006/relationships/tags" Target="../tags/tag311.xml"/><Relationship Id="rId39" Type="http://schemas.openxmlformats.org/officeDocument/2006/relationships/image" Target="../media/image27.png"/><Relationship Id="rId21" Type="http://schemas.openxmlformats.org/officeDocument/2006/relationships/tags" Target="../tags/tag306.xml"/><Relationship Id="rId34" Type="http://schemas.openxmlformats.org/officeDocument/2006/relationships/chart" Target="../charts/chart5.xml"/><Relationship Id="rId7" Type="http://schemas.openxmlformats.org/officeDocument/2006/relationships/tags" Target="../tags/tag292.xml"/><Relationship Id="rId12" Type="http://schemas.openxmlformats.org/officeDocument/2006/relationships/tags" Target="../tags/tag297.xml"/><Relationship Id="rId17" Type="http://schemas.openxmlformats.org/officeDocument/2006/relationships/tags" Target="../tags/tag302.xml"/><Relationship Id="rId25" Type="http://schemas.openxmlformats.org/officeDocument/2006/relationships/tags" Target="../tags/tag310.xml"/><Relationship Id="rId33" Type="http://schemas.openxmlformats.org/officeDocument/2006/relationships/chart" Target="../charts/chart4.xml"/><Relationship Id="rId38" Type="http://schemas.openxmlformats.org/officeDocument/2006/relationships/slide" Target="slide1.xml"/><Relationship Id="rId2" Type="http://schemas.openxmlformats.org/officeDocument/2006/relationships/tags" Target="../tags/tag287.xml"/><Relationship Id="rId16" Type="http://schemas.openxmlformats.org/officeDocument/2006/relationships/tags" Target="../tags/tag301.xml"/><Relationship Id="rId20" Type="http://schemas.openxmlformats.org/officeDocument/2006/relationships/tags" Target="../tags/tag305.xml"/><Relationship Id="rId29" Type="http://schemas.openxmlformats.org/officeDocument/2006/relationships/notesSlide" Target="../notesSlides/notesSlide3.xml"/><Relationship Id="rId1" Type="http://schemas.openxmlformats.org/officeDocument/2006/relationships/tags" Target="../tags/tag286.xml"/><Relationship Id="rId6" Type="http://schemas.openxmlformats.org/officeDocument/2006/relationships/tags" Target="../tags/tag291.xml"/><Relationship Id="rId11" Type="http://schemas.openxmlformats.org/officeDocument/2006/relationships/tags" Target="../tags/tag296.xml"/><Relationship Id="rId24" Type="http://schemas.openxmlformats.org/officeDocument/2006/relationships/tags" Target="../tags/tag309.xml"/><Relationship Id="rId32" Type="http://schemas.openxmlformats.org/officeDocument/2006/relationships/chart" Target="../charts/chart3.xml"/><Relationship Id="rId37" Type="http://schemas.openxmlformats.org/officeDocument/2006/relationships/image" Target="../media/image26.svg"/><Relationship Id="rId40" Type="http://schemas.openxmlformats.org/officeDocument/2006/relationships/image" Target="../media/image28.svg"/><Relationship Id="rId5" Type="http://schemas.openxmlformats.org/officeDocument/2006/relationships/tags" Target="../tags/tag290.xml"/><Relationship Id="rId15" Type="http://schemas.openxmlformats.org/officeDocument/2006/relationships/tags" Target="../tags/tag300.xml"/><Relationship Id="rId23" Type="http://schemas.openxmlformats.org/officeDocument/2006/relationships/tags" Target="../tags/tag308.xml"/><Relationship Id="rId28" Type="http://schemas.openxmlformats.org/officeDocument/2006/relationships/slideLayout" Target="../slideLayouts/slideLayout113.xml"/><Relationship Id="rId36" Type="http://schemas.openxmlformats.org/officeDocument/2006/relationships/image" Target="../media/image25.png"/><Relationship Id="rId10" Type="http://schemas.openxmlformats.org/officeDocument/2006/relationships/tags" Target="../tags/tag295.xml"/><Relationship Id="rId19" Type="http://schemas.openxmlformats.org/officeDocument/2006/relationships/tags" Target="../tags/tag304.xml"/><Relationship Id="rId31" Type="http://schemas.openxmlformats.org/officeDocument/2006/relationships/image" Target="../media/image12.emf"/><Relationship Id="rId4" Type="http://schemas.openxmlformats.org/officeDocument/2006/relationships/tags" Target="../tags/tag289.xml"/><Relationship Id="rId9" Type="http://schemas.openxmlformats.org/officeDocument/2006/relationships/tags" Target="../tags/tag294.xml"/><Relationship Id="rId14" Type="http://schemas.openxmlformats.org/officeDocument/2006/relationships/tags" Target="../tags/tag299.xml"/><Relationship Id="rId22" Type="http://schemas.openxmlformats.org/officeDocument/2006/relationships/tags" Target="../tags/tag307.xml"/><Relationship Id="rId27" Type="http://schemas.openxmlformats.org/officeDocument/2006/relationships/tags" Target="../tags/tag312.xml"/><Relationship Id="rId30" Type="http://schemas.openxmlformats.org/officeDocument/2006/relationships/oleObject" Target="../embeddings/oleObject161.bin"/><Relationship Id="rId35" Type="http://schemas.openxmlformats.org/officeDocument/2006/relationships/chart" Target="../charts/chart6.xml"/><Relationship Id="rId8" Type="http://schemas.openxmlformats.org/officeDocument/2006/relationships/tags" Target="../tags/tag293.xml"/><Relationship Id="rId3" Type="http://schemas.openxmlformats.org/officeDocument/2006/relationships/tags" Target="../tags/tag288.xml"/></Relationships>
</file>

<file path=ppt/slides/_rels/slide4.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image" Target="../media/image26.svg"/><Relationship Id="rId3" Type="http://schemas.openxmlformats.org/officeDocument/2006/relationships/tags" Target="../tags/tag315.xml"/><Relationship Id="rId7" Type="http://schemas.openxmlformats.org/officeDocument/2006/relationships/image" Target="../media/image12.emf"/><Relationship Id="rId12" Type="http://schemas.openxmlformats.org/officeDocument/2006/relationships/image" Target="../media/image25.png"/><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oleObject" Target="../embeddings/oleObject162.bin"/><Relationship Id="rId11" Type="http://schemas.openxmlformats.org/officeDocument/2006/relationships/slide" Target="slide1.xml"/><Relationship Id="rId5" Type="http://schemas.openxmlformats.org/officeDocument/2006/relationships/notesSlide" Target="../notesSlides/notesSlide4.xml"/><Relationship Id="rId15" Type="http://schemas.openxmlformats.org/officeDocument/2006/relationships/image" Target="../media/image28.svg"/><Relationship Id="rId10" Type="http://schemas.openxmlformats.org/officeDocument/2006/relationships/slide" Target="slide5.xml"/><Relationship Id="rId4" Type="http://schemas.openxmlformats.org/officeDocument/2006/relationships/slideLayout" Target="../slideLayouts/slideLayout113.xml"/><Relationship Id="rId9" Type="http://schemas.openxmlformats.org/officeDocument/2006/relationships/slide" Target="slide9.xml"/><Relationship Id="rId14" Type="http://schemas.openxmlformats.org/officeDocument/2006/relationships/image" Target="../media/image27.png"/></Relationships>
</file>

<file path=ppt/slides/_rels/slide5.xml.rels><?xml version="1.0" encoding="UTF-8" standalone="yes"?>
<Relationships xmlns="http://schemas.openxmlformats.org/package/2006/relationships"><Relationship Id="rId8" Type="http://schemas.openxmlformats.org/officeDocument/2006/relationships/slide" Target="slide1.xml"/><Relationship Id="rId13" Type="http://schemas.openxmlformats.org/officeDocument/2006/relationships/image" Target="../media/image28.svg"/><Relationship Id="rId3" Type="http://schemas.openxmlformats.org/officeDocument/2006/relationships/tags" Target="../tags/tag318.xml"/><Relationship Id="rId7" Type="http://schemas.openxmlformats.org/officeDocument/2006/relationships/image" Target="../media/image12.emf"/><Relationship Id="rId12" Type="http://schemas.openxmlformats.org/officeDocument/2006/relationships/image" Target="../media/image27.png"/><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oleObject" Target="../embeddings/oleObject163.bin"/><Relationship Id="rId11" Type="http://schemas.openxmlformats.org/officeDocument/2006/relationships/slide" Target="slide4.xml"/><Relationship Id="rId5" Type="http://schemas.openxmlformats.org/officeDocument/2006/relationships/notesSlide" Target="../notesSlides/notesSlide5.xml"/><Relationship Id="rId10" Type="http://schemas.openxmlformats.org/officeDocument/2006/relationships/image" Target="../media/image26.svg"/><Relationship Id="rId4" Type="http://schemas.openxmlformats.org/officeDocument/2006/relationships/slideLayout" Target="../slideLayouts/slideLayout113.xml"/><Relationship Id="rId9"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image" Target="../media/image27.png"/><Relationship Id="rId3" Type="http://schemas.openxmlformats.org/officeDocument/2006/relationships/tags" Target="../tags/tag321.xml"/><Relationship Id="rId7" Type="http://schemas.openxmlformats.org/officeDocument/2006/relationships/image" Target="../media/image12.emf"/><Relationship Id="rId12" Type="http://schemas.openxmlformats.org/officeDocument/2006/relationships/slide" Target="slide4.xml"/><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oleObject" Target="../embeddings/oleObject164.bin"/><Relationship Id="rId11" Type="http://schemas.openxmlformats.org/officeDocument/2006/relationships/image" Target="../media/image26.svg"/><Relationship Id="rId5" Type="http://schemas.openxmlformats.org/officeDocument/2006/relationships/notesSlide" Target="../notesSlides/notesSlide6.xml"/><Relationship Id="rId10" Type="http://schemas.openxmlformats.org/officeDocument/2006/relationships/image" Target="../media/image25.png"/><Relationship Id="rId4" Type="http://schemas.openxmlformats.org/officeDocument/2006/relationships/slideLayout" Target="../slideLayouts/slideLayout113.xml"/><Relationship Id="rId9" Type="http://schemas.openxmlformats.org/officeDocument/2006/relationships/slide" Target="slide1.xml"/><Relationship Id="rId14" Type="http://schemas.openxmlformats.org/officeDocument/2006/relationships/image" Target="../media/image28.svg"/></Relationships>
</file>

<file path=ppt/slides/_rels/slide7.xml.rels><?xml version="1.0" encoding="UTF-8" standalone="yes"?>
<Relationships xmlns="http://schemas.openxmlformats.org/package/2006/relationships"><Relationship Id="rId13" Type="http://schemas.openxmlformats.org/officeDocument/2006/relationships/tags" Target="../tags/tag334.xml"/><Relationship Id="rId18" Type="http://schemas.openxmlformats.org/officeDocument/2006/relationships/tags" Target="../tags/tag339.xml"/><Relationship Id="rId26" Type="http://schemas.openxmlformats.org/officeDocument/2006/relationships/tags" Target="../tags/tag347.xml"/><Relationship Id="rId39" Type="http://schemas.openxmlformats.org/officeDocument/2006/relationships/tags" Target="../tags/tag360.xml"/><Relationship Id="rId21" Type="http://schemas.openxmlformats.org/officeDocument/2006/relationships/tags" Target="../tags/tag342.xml"/><Relationship Id="rId34" Type="http://schemas.openxmlformats.org/officeDocument/2006/relationships/tags" Target="../tags/tag355.xml"/><Relationship Id="rId42" Type="http://schemas.openxmlformats.org/officeDocument/2006/relationships/oleObject" Target="../embeddings/oleObject165.bin"/><Relationship Id="rId47" Type="http://schemas.openxmlformats.org/officeDocument/2006/relationships/image" Target="../media/image25.png"/><Relationship Id="rId50" Type="http://schemas.openxmlformats.org/officeDocument/2006/relationships/image" Target="../media/image27.png"/><Relationship Id="rId7" Type="http://schemas.openxmlformats.org/officeDocument/2006/relationships/tags" Target="../tags/tag328.xml"/><Relationship Id="rId2" Type="http://schemas.openxmlformats.org/officeDocument/2006/relationships/tags" Target="../tags/tag323.xml"/><Relationship Id="rId16" Type="http://schemas.openxmlformats.org/officeDocument/2006/relationships/tags" Target="../tags/tag337.xml"/><Relationship Id="rId29" Type="http://schemas.openxmlformats.org/officeDocument/2006/relationships/tags" Target="../tags/tag350.xml"/><Relationship Id="rId11" Type="http://schemas.openxmlformats.org/officeDocument/2006/relationships/tags" Target="../tags/tag332.xml"/><Relationship Id="rId24" Type="http://schemas.openxmlformats.org/officeDocument/2006/relationships/tags" Target="../tags/tag345.xml"/><Relationship Id="rId32" Type="http://schemas.openxmlformats.org/officeDocument/2006/relationships/tags" Target="../tags/tag353.xml"/><Relationship Id="rId37" Type="http://schemas.openxmlformats.org/officeDocument/2006/relationships/tags" Target="../tags/tag358.xml"/><Relationship Id="rId40" Type="http://schemas.openxmlformats.org/officeDocument/2006/relationships/slideLayout" Target="../slideLayouts/slideLayout113.xml"/><Relationship Id="rId45" Type="http://schemas.openxmlformats.org/officeDocument/2006/relationships/slide" Target="slide8.xml"/><Relationship Id="rId5" Type="http://schemas.openxmlformats.org/officeDocument/2006/relationships/tags" Target="../tags/tag326.xml"/><Relationship Id="rId15" Type="http://schemas.openxmlformats.org/officeDocument/2006/relationships/tags" Target="../tags/tag336.xml"/><Relationship Id="rId23" Type="http://schemas.openxmlformats.org/officeDocument/2006/relationships/tags" Target="../tags/tag344.xml"/><Relationship Id="rId28" Type="http://schemas.openxmlformats.org/officeDocument/2006/relationships/tags" Target="../tags/tag349.xml"/><Relationship Id="rId36" Type="http://schemas.openxmlformats.org/officeDocument/2006/relationships/tags" Target="../tags/tag357.xml"/><Relationship Id="rId49" Type="http://schemas.openxmlformats.org/officeDocument/2006/relationships/slide" Target="slide6.xml"/><Relationship Id="rId10" Type="http://schemas.openxmlformats.org/officeDocument/2006/relationships/tags" Target="../tags/tag331.xml"/><Relationship Id="rId19" Type="http://schemas.openxmlformats.org/officeDocument/2006/relationships/tags" Target="../tags/tag340.xml"/><Relationship Id="rId31" Type="http://schemas.openxmlformats.org/officeDocument/2006/relationships/tags" Target="../tags/tag352.xml"/><Relationship Id="rId44" Type="http://schemas.openxmlformats.org/officeDocument/2006/relationships/chart" Target="../charts/chart7.xml"/><Relationship Id="rId4" Type="http://schemas.openxmlformats.org/officeDocument/2006/relationships/tags" Target="../tags/tag325.xml"/><Relationship Id="rId9" Type="http://schemas.openxmlformats.org/officeDocument/2006/relationships/tags" Target="../tags/tag330.xml"/><Relationship Id="rId14" Type="http://schemas.openxmlformats.org/officeDocument/2006/relationships/tags" Target="../tags/tag335.xml"/><Relationship Id="rId22" Type="http://schemas.openxmlformats.org/officeDocument/2006/relationships/tags" Target="../tags/tag343.xml"/><Relationship Id="rId27" Type="http://schemas.openxmlformats.org/officeDocument/2006/relationships/tags" Target="../tags/tag348.xml"/><Relationship Id="rId30" Type="http://schemas.openxmlformats.org/officeDocument/2006/relationships/tags" Target="../tags/tag351.xml"/><Relationship Id="rId35" Type="http://schemas.openxmlformats.org/officeDocument/2006/relationships/tags" Target="../tags/tag356.xml"/><Relationship Id="rId43" Type="http://schemas.openxmlformats.org/officeDocument/2006/relationships/image" Target="../media/image12.emf"/><Relationship Id="rId48" Type="http://schemas.openxmlformats.org/officeDocument/2006/relationships/image" Target="../media/image26.svg"/><Relationship Id="rId8" Type="http://schemas.openxmlformats.org/officeDocument/2006/relationships/tags" Target="../tags/tag329.xml"/><Relationship Id="rId51" Type="http://schemas.openxmlformats.org/officeDocument/2006/relationships/image" Target="../media/image28.svg"/><Relationship Id="rId3" Type="http://schemas.openxmlformats.org/officeDocument/2006/relationships/tags" Target="../tags/tag324.xml"/><Relationship Id="rId12" Type="http://schemas.openxmlformats.org/officeDocument/2006/relationships/tags" Target="../tags/tag333.xml"/><Relationship Id="rId17" Type="http://schemas.openxmlformats.org/officeDocument/2006/relationships/tags" Target="../tags/tag338.xml"/><Relationship Id="rId25" Type="http://schemas.openxmlformats.org/officeDocument/2006/relationships/tags" Target="../tags/tag346.xml"/><Relationship Id="rId33" Type="http://schemas.openxmlformats.org/officeDocument/2006/relationships/tags" Target="../tags/tag354.xml"/><Relationship Id="rId38" Type="http://schemas.openxmlformats.org/officeDocument/2006/relationships/tags" Target="../tags/tag359.xml"/><Relationship Id="rId46" Type="http://schemas.openxmlformats.org/officeDocument/2006/relationships/slide" Target="slide1.xml"/><Relationship Id="rId20" Type="http://schemas.openxmlformats.org/officeDocument/2006/relationships/tags" Target="../tags/tag341.xml"/><Relationship Id="rId41" Type="http://schemas.openxmlformats.org/officeDocument/2006/relationships/notesSlide" Target="../notesSlides/notesSlide7.xml"/><Relationship Id="rId1" Type="http://schemas.openxmlformats.org/officeDocument/2006/relationships/tags" Target="../tags/tag322.xml"/><Relationship Id="rId6" Type="http://schemas.openxmlformats.org/officeDocument/2006/relationships/tags" Target="../tags/tag327.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63.xml"/><Relationship Id="rId7" Type="http://schemas.openxmlformats.org/officeDocument/2006/relationships/image" Target="../media/image12.emf"/><Relationship Id="rId12" Type="http://schemas.openxmlformats.org/officeDocument/2006/relationships/image" Target="../media/image28.svg"/><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oleObject" Target="../embeddings/oleObject166.bin"/><Relationship Id="rId11" Type="http://schemas.openxmlformats.org/officeDocument/2006/relationships/image" Target="../media/image27.png"/><Relationship Id="rId5" Type="http://schemas.openxmlformats.org/officeDocument/2006/relationships/notesSlide" Target="../notesSlides/notesSlide8.xml"/><Relationship Id="rId10" Type="http://schemas.openxmlformats.org/officeDocument/2006/relationships/slide" Target="slide7.xml"/><Relationship Id="rId4" Type="http://schemas.openxmlformats.org/officeDocument/2006/relationships/slideLayout" Target="../slideLayouts/slideLayout113.xml"/><Relationship Id="rId9" Type="http://schemas.openxmlformats.org/officeDocument/2006/relationships/image" Target="../media/image26.svg"/></Relationships>
</file>

<file path=ppt/slides/_rels/slide9.xml.rels><?xml version="1.0" encoding="UTF-8" standalone="yes"?>
<Relationships xmlns="http://schemas.openxmlformats.org/package/2006/relationships"><Relationship Id="rId8" Type="http://schemas.openxmlformats.org/officeDocument/2006/relationships/slide" Target="slide1.xml"/><Relationship Id="rId13" Type="http://schemas.openxmlformats.org/officeDocument/2006/relationships/image" Target="../media/image28.svg"/><Relationship Id="rId3" Type="http://schemas.openxmlformats.org/officeDocument/2006/relationships/tags" Target="../tags/tag366.xml"/><Relationship Id="rId7" Type="http://schemas.openxmlformats.org/officeDocument/2006/relationships/image" Target="../media/image12.emf"/><Relationship Id="rId12" Type="http://schemas.openxmlformats.org/officeDocument/2006/relationships/image" Target="../media/image27.png"/><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oleObject" Target="../embeddings/oleObject167.bin"/><Relationship Id="rId11" Type="http://schemas.openxmlformats.org/officeDocument/2006/relationships/slide" Target="slide4.xml"/><Relationship Id="rId5" Type="http://schemas.openxmlformats.org/officeDocument/2006/relationships/notesSlide" Target="../notesSlides/notesSlide9.xml"/><Relationship Id="rId10" Type="http://schemas.openxmlformats.org/officeDocument/2006/relationships/image" Target="../media/image26.svg"/><Relationship Id="rId4" Type="http://schemas.openxmlformats.org/officeDocument/2006/relationships/slideLayout" Target="../slideLayouts/slideLayout113.xml"/><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B1E31-37A2-31C0-4D3A-E444887927E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1B682B-0CC5-2A0B-8836-C71B11E7B921}"/>
              </a:ext>
            </a:extLst>
          </p:cNvPr>
          <p:cNvGraphicFramePr>
            <a:graphicFrameLocks noChangeAspect="1"/>
          </p:cNvGraphicFramePr>
          <p:nvPr>
            <p:custDataLst>
              <p:tags r:id="rId1"/>
            </p:custDataLst>
            <p:extLst>
              <p:ext uri="{D42A27DB-BD31-4B8C-83A1-F6EECF244321}">
                <p14:modId xmlns:p14="http://schemas.microsoft.com/office/powerpoint/2010/main" val="4248133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04" imgH="405" progId="TCLayout.ActiveDocument.1">
                  <p:embed/>
                </p:oleObj>
              </mc:Choice>
              <mc:Fallback>
                <p:oleObj name="think-cell Slide" r:id="rId60" imgW="404" imgH="405" progId="TCLayout.ActiveDocument.1">
                  <p:embed/>
                  <p:pic>
                    <p:nvPicPr>
                      <p:cNvPr id="3" name="think-cell data - do not delete" hidden="1">
                        <a:extLst>
                          <a:ext uri="{FF2B5EF4-FFF2-40B4-BE49-F238E27FC236}">
                            <a16:creationId xmlns:a16="http://schemas.microsoft.com/office/drawing/2014/main" id="{36208348-7522-70AD-8DB2-5897289379E1}"/>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14" name="Graphic 3">
            <a:extLst>
              <a:ext uri="{FF2B5EF4-FFF2-40B4-BE49-F238E27FC236}">
                <a16:creationId xmlns:a16="http://schemas.microsoft.com/office/drawing/2014/main" id="{44AD2444-C4A4-11C1-BAB8-45AB14ACDCCE}"/>
              </a:ext>
            </a:extLst>
          </p:cNvPr>
          <p:cNvSpPr>
            <a:spLocks/>
          </p:cNvSpPr>
          <p:nvPr/>
        </p:nvSpPr>
        <p:spPr>
          <a:xfrm>
            <a:off x="1468438" y="1416050"/>
            <a:ext cx="2197100" cy="1220788"/>
          </a:xfrm>
          <a:prstGeom prst="rect">
            <a:avLst/>
          </a:prstGeom>
          <a:solidFill>
            <a:schemeClr val="bg1"/>
          </a:solidFill>
          <a:ln w="0" cap="flat">
            <a:noFill/>
            <a:prstDash val="solid"/>
            <a:miter/>
          </a:ln>
        </p:spPr>
        <p:txBody>
          <a:bodyPr lIns="91440" tIns="91440" rIns="91440" bIns="91440" rtlCol="0" anchor="ctr"/>
          <a:lstStyle/>
          <a:p>
            <a:pPr marL="0" marR="0" lvl="0" indent="0" algn="l"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ln>
                  <a:noFill/>
                </a:ln>
                <a:solidFill>
                  <a:srgbClr val="000000"/>
                </a:solidFill>
                <a:effectLst/>
                <a:uLnTx/>
                <a:uFillTx/>
                <a:latin typeface="Trebuchet MS"/>
                <a:ea typeface="+mn-ea"/>
                <a:cs typeface="+mn-cs"/>
              </a:rPr>
              <a:t>Strong economic and demographic momentum is driving housing demand</a:t>
            </a:r>
          </a:p>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1" u="none" strike="noStrike" kern="1200" cap="none" spc="0" normalizeH="0" baseline="0" noProof="0" dirty="0">
                <a:ln>
                  <a:noFill/>
                </a:ln>
                <a:solidFill>
                  <a:srgbClr val="000000"/>
                </a:solidFill>
                <a:effectLst/>
                <a:uLnTx/>
                <a:uFillTx/>
                <a:latin typeface="Trebuchet MS"/>
                <a:ea typeface="+mn-ea"/>
                <a:cs typeface="+mn-cs"/>
              </a:rPr>
              <a:t>Economic growth, RHQs, tourism and FDI are pulling people and jobs into hubs like Riyadh.</a:t>
            </a:r>
          </a:p>
        </p:txBody>
      </p:sp>
      <p:sp>
        <p:nvSpPr>
          <p:cNvPr id="20" name="Graphic 3">
            <a:extLst>
              <a:ext uri="{FF2B5EF4-FFF2-40B4-BE49-F238E27FC236}">
                <a16:creationId xmlns:a16="http://schemas.microsoft.com/office/drawing/2014/main" id="{4CFCC6FB-037E-93B7-4068-7330703EA40A}"/>
              </a:ext>
            </a:extLst>
          </p:cNvPr>
          <p:cNvSpPr>
            <a:spLocks/>
          </p:cNvSpPr>
          <p:nvPr/>
        </p:nvSpPr>
        <p:spPr>
          <a:xfrm>
            <a:off x="1468438" y="2724150"/>
            <a:ext cx="2197100" cy="1220788"/>
          </a:xfrm>
          <a:prstGeom prst="rect">
            <a:avLst/>
          </a:prstGeom>
          <a:solidFill>
            <a:schemeClr val="bg1"/>
          </a:solidFill>
          <a:ln w="0" cap="flat">
            <a:noFill/>
            <a:prstDash val="solid"/>
            <a:miter/>
          </a:ln>
        </p:spPr>
        <p:txBody>
          <a:bodyPr lIns="91440" tIns="91440" rIns="91440" bIns="91440" rtlCol="0" anchor="ctr"/>
          <a:lstStyle/>
          <a:p>
            <a:pPr marL="0" marR="0" lvl="0" indent="0" algn="l"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a:ln>
                  <a:noFill/>
                </a:ln>
                <a:solidFill>
                  <a:srgbClr val="000000"/>
                </a:solidFill>
                <a:effectLst/>
                <a:uLnTx/>
                <a:uFillTx/>
                <a:latin typeface="Trebuchet MS"/>
                <a:ea typeface="+mn-ea"/>
                <a:cs typeface="+mn-cs"/>
              </a:rPr>
              <a:t>Housing delivery has slowed materially since 2021</a:t>
            </a:r>
          </a:p>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1" u="none" strike="noStrike" kern="1200" cap="none" spc="0" normalizeH="0" baseline="0" noProof="0">
                <a:ln>
                  <a:noFill/>
                </a:ln>
                <a:solidFill>
                  <a:srgbClr val="000000"/>
                </a:solidFill>
                <a:effectLst/>
                <a:uLnTx/>
                <a:uFillTx/>
                <a:latin typeface="Trebuchet MS"/>
                <a:ea typeface="+mn-ea"/>
                <a:cs typeface="+mn-cs"/>
              </a:rPr>
              <a:t>Housing completions in Riyadh peaked at ~83k units in 2021 and have been broadly flat since.</a:t>
            </a:r>
          </a:p>
        </p:txBody>
      </p:sp>
      <p:sp>
        <p:nvSpPr>
          <p:cNvPr id="30" name="Graphic 3">
            <a:extLst>
              <a:ext uri="{FF2B5EF4-FFF2-40B4-BE49-F238E27FC236}">
                <a16:creationId xmlns:a16="http://schemas.microsoft.com/office/drawing/2014/main" id="{5BCA0CC4-742C-3F70-17F3-39D8214CE00C}"/>
              </a:ext>
            </a:extLst>
          </p:cNvPr>
          <p:cNvSpPr>
            <a:spLocks/>
          </p:cNvSpPr>
          <p:nvPr/>
        </p:nvSpPr>
        <p:spPr>
          <a:xfrm>
            <a:off x="1468438" y="4030663"/>
            <a:ext cx="2197100" cy="1220788"/>
          </a:xfrm>
          <a:prstGeom prst="rect">
            <a:avLst/>
          </a:prstGeom>
          <a:solidFill>
            <a:schemeClr val="bg1"/>
          </a:solidFill>
          <a:ln w="0" cap="flat">
            <a:noFill/>
            <a:prstDash val="solid"/>
            <a:miter/>
          </a:ln>
        </p:spPr>
        <p:txBody>
          <a:bodyPr lIns="91440" tIns="91440" rIns="91440" bIns="91440" rtlCol="0" anchor="ctr"/>
          <a:lstStyle/>
          <a:p>
            <a:pPr marL="0" marR="0" lvl="0" indent="0" algn="l"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ln>
                  <a:noFill/>
                </a:ln>
                <a:solidFill>
                  <a:srgbClr val="000000"/>
                </a:solidFill>
                <a:effectLst/>
                <a:uLnTx/>
                <a:uFillTx/>
                <a:latin typeface="Trebuchet MS"/>
                <a:ea typeface="+mn-ea"/>
                <a:cs typeface="+mn-cs"/>
              </a:rPr>
              <a:t>Affordability pressures are most visible in rental accommodation</a:t>
            </a:r>
          </a:p>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1" u="none" strike="noStrike" kern="1200" cap="none" spc="0" normalizeH="0" baseline="0" noProof="0" dirty="0">
                <a:ln>
                  <a:noFill/>
                </a:ln>
                <a:solidFill>
                  <a:srgbClr val="000000"/>
                </a:solidFill>
                <a:effectLst/>
                <a:uLnTx/>
                <a:uFillTx/>
                <a:latin typeface="Trebuchet MS"/>
                <a:ea typeface="+mn-ea"/>
                <a:cs typeface="+mn-cs"/>
              </a:rPr>
              <a:t>Rent-to-income ratios exceed 50% for many households, especially for mid-market apartments.</a:t>
            </a:r>
          </a:p>
        </p:txBody>
      </p:sp>
      <p:sp>
        <p:nvSpPr>
          <p:cNvPr id="34" name="Graphic 3">
            <a:extLst>
              <a:ext uri="{FF2B5EF4-FFF2-40B4-BE49-F238E27FC236}">
                <a16:creationId xmlns:a16="http://schemas.microsoft.com/office/drawing/2014/main" id="{05E0467B-891F-19E0-637D-1BEEF3C002B9}"/>
              </a:ext>
            </a:extLst>
          </p:cNvPr>
          <p:cNvSpPr>
            <a:spLocks/>
          </p:cNvSpPr>
          <p:nvPr/>
        </p:nvSpPr>
        <p:spPr>
          <a:xfrm>
            <a:off x="3768725" y="14160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tx1">
                    <a:lumMod val="65000"/>
                    <a:lumOff val="35000"/>
                  </a:schemeClr>
                </a:solidFill>
                <a:effectLst/>
                <a:uLnTx/>
                <a:uFillTx/>
                <a:latin typeface="Trebuchet MS"/>
                <a:ea typeface="+mn-ea"/>
                <a:cs typeface="Arial"/>
                <a:sym typeface="Arial"/>
              </a:rPr>
              <a:t>~1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population growth fr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21 – ’24</a:t>
            </a:r>
          </a:p>
        </p:txBody>
      </p:sp>
      <p:sp>
        <p:nvSpPr>
          <p:cNvPr id="35" name="Graphic 3">
            <a:extLst>
              <a:ext uri="{FF2B5EF4-FFF2-40B4-BE49-F238E27FC236}">
                <a16:creationId xmlns:a16="http://schemas.microsoft.com/office/drawing/2014/main" id="{5615D494-6A1A-7969-A2E5-59D4257CD5C7}"/>
              </a:ext>
            </a:extLst>
          </p:cNvPr>
          <p:cNvSpPr>
            <a:spLocks/>
          </p:cNvSpPr>
          <p:nvPr/>
        </p:nvSpPr>
        <p:spPr>
          <a:xfrm>
            <a:off x="3768725" y="27241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C00000"/>
                </a:solidFill>
                <a:effectLst/>
                <a:uLnTx/>
                <a:uFillTx/>
                <a:latin typeface="Trebuchet MS"/>
                <a:ea typeface="+mn-ea"/>
                <a:cs typeface="Arial"/>
                <a:sym typeface="Arial"/>
              </a:rPr>
              <a:t>~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Trebuchet MS"/>
                <a:ea typeface="+mn-ea"/>
                <a:cs typeface="Arial"/>
                <a:sym typeface="Arial"/>
              </a:rPr>
              <a:t>Decrease in units comple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Trebuchet MS"/>
                <a:ea typeface="+mn-ea"/>
                <a:cs typeface="Arial"/>
                <a:sym typeface="Arial"/>
              </a:rPr>
              <a:t>In ’19 vs. ’24</a:t>
            </a:r>
            <a:endParaRPr kumimoji="0" lang="en-GB" sz="1100" b="0" i="0" u="none" strike="noStrike" kern="0" cap="none" spc="0" normalizeH="0" baseline="0" noProof="0">
              <a:ln>
                <a:noFill/>
              </a:ln>
              <a:solidFill>
                <a:srgbClr val="000000"/>
              </a:solidFill>
              <a:effectLst/>
              <a:uLnTx/>
              <a:uFillTx/>
              <a:latin typeface="Trebuchet MS"/>
              <a:ea typeface="+mn-ea"/>
              <a:cs typeface="Arial"/>
              <a:sym typeface="Arial"/>
            </a:endParaRPr>
          </a:p>
        </p:txBody>
      </p:sp>
      <p:sp>
        <p:nvSpPr>
          <p:cNvPr id="36" name="Graphic 3">
            <a:hlinkClick r:id="rId62" action="ppaction://hlinksldjump"/>
            <a:extLst>
              <a:ext uri="{FF2B5EF4-FFF2-40B4-BE49-F238E27FC236}">
                <a16:creationId xmlns:a16="http://schemas.microsoft.com/office/drawing/2014/main" id="{D1B697BD-0EFC-F5A2-9A27-C62E86DD8747}"/>
              </a:ext>
            </a:extLst>
          </p:cNvPr>
          <p:cNvSpPr>
            <a:spLocks/>
          </p:cNvSpPr>
          <p:nvPr/>
        </p:nvSpPr>
        <p:spPr>
          <a:xfrm>
            <a:off x="3768725" y="40306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C00000"/>
                </a:solidFill>
                <a:effectLst/>
                <a:uLnTx/>
                <a:uFillTx/>
                <a:latin typeface="Trebuchet MS"/>
                <a:ea typeface="+mn-ea"/>
                <a:cs typeface="Arial"/>
                <a:sym typeface="Arial"/>
              </a:rPr>
              <a:t>~46%</a:t>
            </a:r>
            <a:r>
              <a:rPr kumimoji="0" lang="en-GB" sz="900" b="1" i="0" u="none" strike="noStrike" kern="0" cap="none" spc="0" normalizeH="0" baseline="0" noProof="0">
                <a:ln>
                  <a:noFill/>
                </a:ln>
                <a:solidFill>
                  <a:srgbClr val="C00000"/>
                </a:solidFill>
                <a:effectLst/>
                <a:uLnTx/>
                <a:uFillTx/>
                <a:latin typeface="Trebuchet MS"/>
                <a:ea typeface="+mn-ea"/>
                <a:cs typeface="Arial"/>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Trebuchet MS"/>
                <a:ea typeface="+mn-ea"/>
                <a:cs typeface="Arial"/>
                <a:sym typeface="Arial"/>
              </a:rPr>
              <a:t>Apartment rent increase in Riyadh from ’22 – ‘25</a:t>
            </a:r>
          </a:p>
        </p:txBody>
      </p:sp>
      <p:sp>
        <p:nvSpPr>
          <p:cNvPr id="39" name="Arrow: Down 38">
            <a:extLst>
              <a:ext uri="{FF2B5EF4-FFF2-40B4-BE49-F238E27FC236}">
                <a16:creationId xmlns:a16="http://schemas.microsoft.com/office/drawing/2014/main" id="{28A780DA-3C95-32DE-10E2-72A0F190FEC0}"/>
              </a:ext>
            </a:extLst>
          </p:cNvPr>
          <p:cNvSpPr/>
          <p:nvPr/>
        </p:nvSpPr>
        <p:spPr>
          <a:xfrm rot="10800000">
            <a:off x="4164013" y="1554163"/>
            <a:ext cx="334963" cy="280988"/>
          </a:xfrm>
          <a:prstGeom prst="downArrow">
            <a:avLst/>
          </a:prstGeom>
          <a:solidFill>
            <a:schemeClr val="tx1">
              <a:lumMod val="65000"/>
              <a:lumOff val="3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40" name="Arrow: Down 39">
            <a:extLst>
              <a:ext uri="{FF2B5EF4-FFF2-40B4-BE49-F238E27FC236}">
                <a16:creationId xmlns:a16="http://schemas.microsoft.com/office/drawing/2014/main" id="{C747FC34-5A01-E516-A429-486DBED5FC12}"/>
              </a:ext>
            </a:extLst>
          </p:cNvPr>
          <p:cNvSpPr/>
          <p:nvPr/>
        </p:nvSpPr>
        <p:spPr>
          <a:xfrm>
            <a:off x="4164013" y="2778125"/>
            <a:ext cx="334963" cy="280988"/>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41" name="Arrow: Down 40">
            <a:extLst>
              <a:ext uri="{FF2B5EF4-FFF2-40B4-BE49-F238E27FC236}">
                <a16:creationId xmlns:a16="http://schemas.microsoft.com/office/drawing/2014/main" id="{339A0BB2-C7F4-D499-B015-BF9C207DBA21}"/>
              </a:ext>
            </a:extLst>
          </p:cNvPr>
          <p:cNvSpPr/>
          <p:nvPr/>
        </p:nvSpPr>
        <p:spPr>
          <a:xfrm rot="10800000">
            <a:off x="4164013" y="4075113"/>
            <a:ext cx="334963" cy="280988"/>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7" name="Graphic 3">
            <a:extLst>
              <a:ext uri="{FF2B5EF4-FFF2-40B4-BE49-F238E27FC236}">
                <a16:creationId xmlns:a16="http://schemas.microsoft.com/office/drawing/2014/main" id="{6C12A551-02E2-B5B4-436F-1906D95AB61E}"/>
              </a:ext>
            </a:extLst>
          </p:cNvPr>
          <p:cNvSpPr>
            <a:spLocks/>
          </p:cNvSpPr>
          <p:nvPr/>
        </p:nvSpPr>
        <p:spPr>
          <a:xfrm>
            <a:off x="82550" y="1427163"/>
            <a:ext cx="1293813" cy="1220788"/>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200" b="1" i="0" u="none" strike="noStrike" kern="1200" cap="none" spc="0" normalizeH="0" baseline="0" noProof="0" dirty="0">
                <a:solidFill>
                  <a:schemeClr val="bg1"/>
                </a:solidFill>
                <a:effectLst/>
                <a:uLnTx/>
                <a:uFillTx/>
                <a:latin typeface="Trebuchet MS"/>
                <a:ea typeface="+mn-ea"/>
                <a:cs typeface="+mn-cs"/>
              </a:rPr>
              <a:t>Demand</a:t>
            </a:r>
            <a:endParaRPr kumimoji="0" lang="en-US" sz="1200" b="0" i="1" u="none" strike="noStrike" kern="1200" cap="none" spc="0" normalizeH="0" baseline="0" noProof="0" dirty="0">
              <a:solidFill>
                <a:schemeClr val="bg1"/>
              </a:solidFill>
              <a:effectLst/>
              <a:uLnTx/>
              <a:uFillTx/>
              <a:latin typeface="Trebuchet MS"/>
              <a:ea typeface="+mn-ea"/>
              <a:cs typeface="+mn-cs"/>
            </a:endParaRPr>
          </a:p>
        </p:txBody>
      </p:sp>
      <p:sp>
        <p:nvSpPr>
          <p:cNvPr id="8" name="Graphic 3">
            <a:extLst>
              <a:ext uri="{FF2B5EF4-FFF2-40B4-BE49-F238E27FC236}">
                <a16:creationId xmlns:a16="http://schemas.microsoft.com/office/drawing/2014/main" id="{05E2DA8B-31FE-2F4D-0E5D-9F1FF58EEACF}"/>
              </a:ext>
            </a:extLst>
          </p:cNvPr>
          <p:cNvSpPr>
            <a:spLocks/>
          </p:cNvSpPr>
          <p:nvPr/>
        </p:nvSpPr>
        <p:spPr>
          <a:xfrm>
            <a:off x="82550" y="2730500"/>
            <a:ext cx="1293813" cy="1220788"/>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200" b="1" dirty="0">
                <a:solidFill>
                  <a:schemeClr val="bg1"/>
                </a:solidFill>
                <a:latin typeface="Trebuchet MS"/>
              </a:rPr>
              <a:t>Supply</a:t>
            </a:r>
          </a:p>
        </p:txBody>
      </p:sp>
      <p:sp>
        <p:nvSpPr>
          <p:cNvPr id="9" name="Graphic 3">
            <a:hlinkClick r:id="rId62" action="ppaction://hlinksldjump"/>
            <a:extLst>
              <a:ext uri="{FF2B5EF4-FFF2-40B4-BE49-F238E27FC236}">
                <a16:creationId xmlns:a16="http://schemas.microsoft.com/office/drawing/2014/main" id="{E7DD07B2-D8D9-E97A-6E06-E3D932DD4EFF}"/>
              </a:ext>
            </a:extLst>
          </p:cNvPr>
          <p:cNvSpPr>
            <a:spLocks/>
          </p:cNvSpPr>
          <p:nvPr/>
        </p:nvSpPr>
        <p:spPr>
          <a:xfrm>
            <a:off x="82550" y="4038600"/>
            <a:ext cx="1293813" cy="1220788"/>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200" b="1" dirty="0">
                <a:solidFill>
                  <a:schemeClr val="bg1"/>
                </a:solidFill>
                <a:latin typeface="Trebuchet MS"/>
              </a:rPr>
              <a:t>Prices / Affordability</a:t>
            </a:r>
          </a:p>
        </p:txBody>
      </p:sp>
      <p:sp>
        <p:nvSpPr>
          <p:cNvPr id="19" name="Graphic 3">
            <a:extLst>
              <a:ext uri="{FF2B5EF4-FFF2-40B4-BE49-F238E27FC236}">
                <a16:creationId xmlns:a16="http://schemas.microsoft.com/office/drawing/2014/main" id="{77580624-76CE-6E6E-EE4C-DED9CF088271}"/>
              </a:ext>
            </a:extLst>
          </p:cNvPr>
          <p:cNvSpPr>
            <a:spLocks/>
          </p:cNvSpPr>
          <p:nvPr/>
        </p:nvSpPr>
        <p:spPr>
          <a:xfrm>
            <a:off x="1468438" y="5338763"/>
            <a:ext cx="2197100" cy="1220788"/>
          </a:xfrm>
          <a:prstGeom prst="rect">
            <a:avLst/>
          </a:prstGeom>
          <a:solidFill>
            <a:schemeClr val="bg1"/>
          </a:solidFill>
          <a:ln w="0" cap="flat">
            <a:noFill/>
            <a:prstDash val="solid"/>
            <a:miter/>
          </a:ln>
        </p:spPr>
        <p:txBody>
          <a:bodyPr lIns="91440" tIns="91440" rIns="91440" bIns="91440" rtlCol="0" anchor="ctr"/>
          <a:lstStyle/>
          <a:p>
            <a:pPr lvl="0">
              <a:spcAft>
                <a:spcPts val="200"/>
              </a:spcAft>
              <a:buClr>
                <a:srgbClr val="006C67"/>
              </a:buClr>
              <a:defRPr/>
            </a:pPr>
            <a:r>
              <a:rPr lang="en-US" sz="1000" b="1" dirty="0">
                <a:solidFill>
                  <a:srgbClr val="000000"/>
                </a:solidFill>
              </a:rPr>
              <a:t>Real estate is a core enabler of Riyadh’s growth agenda</a:t>
            </a:r>
          </a:p>
          <a:p>
            <a:pPr lvl="0">
              <a:spcAft>
                <a:spcPts val="200"/>
              </a:spcAft>
              <a:buClr>
                <a:srgbClr val="006C67"/>
              </a:buClr>
              <a:defRPr/>
            </a:pPr>
            <a:r>
              <a:rPr lang="en-US" sz="1000" i="1" dirty="0">
                <a:solidFill>
                  <a:srgbClr val="000000"/>
                </a:solidFill>
              </a:rPr>
              <a:t>contributing ~12% of non-oil output (real estate + construction); sustained housing cost pressures raise </a:t>
            </a:r>
            <a:r>
              <a:rPr lang="en-US" sz="1000" i="1" dirty="0" err="1">
                <a:solidFill>
                  <a:srgbClr val="000000"/>
                </a:solidFill>
              </a:rPr>
              <a:t>labour</a:t>
            </a:r>
            <a:r>
              <a:rPr lang="en-US" sz="1000" i="1" dirty="0">
                <a:solidFill>
                  <a:srgbClr val="000000"/>
                </a:solidFill>
              </a:rPr>
              <a:t> costs and strain talent attraction/retention.</a:t>
            </a:r>
          </a:p>
        </p:txBody>
      </p:sp>
      <p:sp>
        <p:nvSpPr>
          <p:cNvPr id="21" name="Graphic 3">
            <a:extLst>
              <a:ext uri="{FF2B5EF4-FFF2-40B4-BE49-F238E27FC236}">
                <a16:creationId xmlns:a16="http://schemas.microsoft.com/office/drawing/2014/main" id="{54D3EE76-271D-3CCD-EBF4-04D79BB7DE98}"/>
              </a:ext>
            </a:extLst>
          </p:cNvPr>
          <p:cNvSpPr>
            <a:spLocks/>
          </p:cNvSpPr>
          <p:nvPr/>
        </p:nvSpPr>
        <p:spPr>
          <a:xfrm>
            <a:off x="3768725" y="53387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tx1">
                    <a:lumMod val="65000"/>
                    <a:lumOff val="35000"/>
                  </a:schemeClr>
                </a:solidFill>
                <a:effectLst/>
                <a:uLnTx/>
                <a:uFillTx/>
                <a:latin typeface="Trebuchet MS"/>
                <a:ea typeface="+mn-ea"/>
                <a:cs typeface="Arial"/>
                <a:sym typeface="Arial"/>
              </a:rPr>
              <a:t>~12% </a:t>
            </a:r>
            <a:r>
              <a:rPr kumimoji="0" lang="en-US" sz="900" b="0" i="0" u="none" strike="noStrike" kern="0" cap="none" spc="0" normalizeH="0" baseline="0" noProof="0" dirty="0">
                <a:ln>
                  <a:noFill/>
                </a:ln>
                <a:solidFill>
                  <a:srgbClr val="000000"/>
                </a:solidFill>
                <a:effectLst/>
                <a:uLnTx/>
                <a:uFillTx/>
                <a:latin typeface="Trebuchet MS"/>
                <a:ea typeface="+mn-ea"/>
                <a:cs typeface="Arial"/>
                <a:sym typeface="Arial"/>
              </a:rPr>
              <a:t>share of non-oil output linked to real estate + construction</a:t>
            </a:r>
            <a:endPar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endParaRPr>
          </a:p>
        </p:txBody>
      </p:sp>
      <p:sp>
        <p:nvSpPr>
          <p:cNvPr id="24" name="Graphic 3">
            <a:extLst>
              <a:ext uri="{FF2B5EF4-FFF2-40B4-BE49-F238E27FC236}">
                <a16:creationId xmlns:a16="http://schemas.microsoft.com/office/drawing/2014/main" id="{687880F4-076E-872F-DBD7-D02A3B01ED3F}"/>
              </a:ext>
            </a:extLst>
          </p:cNvPr>
          <p:cNvSpPr>
            <a:spLocks/>
          </p:cNvSpPr>
          <p:nvPr/>
        </p:nvSpPr>
        <p:spPr>
          <a:xfrm>
            <a:off x="82550" y="5345113"/>
            <a:ext cx="1293813" cy="1220788"/>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200" b="1" dirty="0">
                <a:solidFill>
                  <a:schemeClr val="bg1"/>
                </a:solidFill>
                <a:latin typeface="Trebuchet MS"/>
              </a:rPr>
              <a:t>Other</a:t>
            </a:r>
          </a:p>
        </p:txBody>
      </p:sp>
      <p:sp>
        <p:nvSpPr>
          <p:cNvPr id="27" name="Graphic 3">
            <a:extLst>
              <a:ext uri="{FF2B5EF4-FFF2-40B4-BE49-F238E27FC236}">
                <a16:creationId xmlns:a16="http://schemas.microsoft.com/office/drawing/2014/main" id="{4D8AD523-41BE-8A39-D85E-F936B3931F13}"/>
              </a:ext>
            </a:extLst>
          </p:cNvPr>
          <p:cNvSpPr>
            <a:spLocks/>
          </p:cNvSpPr>
          <p:nvPr/>
        </p:nvSpPr>
        <p:spPr>
          <a:xfrm>
            <a:off x="4930775" y="14160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tx1">
                    <a:lumMod val="65000"/>
                    <a:lumOff val="35000"/>
                  </a:schemeClr>
                </a:solidFill>
                <a:effectLst/>
                <a:uLnTx/>
                <a:uFillTx/>
                <a:latin typeface="Trebuchet MS"/>
                <a:ea typeface="+mn-ea"/>
                <a:cs typeface="Arial"/>
                <a:sym typeface="Arial"/>
              </a:rPr>
              <a:t>~1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employment growth fr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21 – ’24</a:t>
            </a:r>
          </a:p>
        </p:txBody>
      </p:sp>
      <p:sp>
        <p:nvSpPr>
          <p:cNvPr id="28" name="Graphic 3">
            <a:extLst>
              <a:ext uri="{FF2B5EF4-FFF2-40B4-BE49-F238E27FC236}">
                <a16:creationId xmlns:a16="http://schemas.microsoft.com/office/drawing/2014/main" id="{FCC0FA53-1F1C-892D-83C4-DE6C3204A428}"/>
              </a:ext>
            </a:extLst>
          </p:cNvPr>
          <p:cNvSpPr>
            <a:spLocks/>
          </p:cNvSpPr>
          <p:nvPr/>
        </p:nvSpPr>
        <p:spPr>
          <a:xfrm>
            <a:off x="4930775" y="27241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00000"/>
                </a:solidFill>
                <a:effectLst/>
                <a:uLnTx/>
                <a:uFillTx/>
                <a:latin typeface="Trebuchet MS"/>
                <a:ea typeface="+mn-ea"/>
                <a:cs typeface="Arial"/>
                <a:sym typeface="Arial"/>
              </a:rPr>
              <a:t>~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Decrease in residential starts permits since ‘22</a:t>
            </a:r>
            <a:endParaRPr kumimoji="0" lang="en-GB" sz="1100" b="0" i="0" u="none" strike="noStrike" kern="0" cap="none" spc="0" normalizeH="0" baseline="0" noProof="0" dirty="0">
              <a:ln>
                <a:noFill/>
              </a:ln>
              <a:solidFill>
                <a:srgbClr val="000000"/>
              </a:solidFill>
              <a:effectLst/>
              <a:uLnTx/>
              <a:uFillTx/>
              <a:latin typeface="Trebuchet MS"/>
              <a:ea typeface="+mn-ea"/>
              <a:cs typeface="Arial"/>
              <a:sym typeface="Arial"/>
            </a:endParaRPr>
          </a:p>
        </p:txBody>
      </p:sp>
      <p:sp>
        <p:nvSpPr>
          <p:cNvPr id="38" name="Graphic 3">
            <a:hlinkClick r:id="rId62" action="ppaction://hlinksldjump"/>
            <a:extLst>
              <a:ext uri="{FF2B5EF4-FFF2-40B4-BE49-F238E27FC236}">
                <a16:creationId xmlns:a16="http://schemas.microsoft.com/office/drawing/2014/main" id="{63A16E57-BB8A-6B0A-F428-CCB3E380CBAB}"/>
              </a:ext>
            </a:extLst>
          </p:cNvPr>
          <p:cNvSpPr>
            <a:spLocks/>
          </p:cNvSpPr>
          <p:nvPr/>
        </p:nvSpPr>
        <p:spPr>
          <a:xfrm>
            <a:off x="4930775" y="40306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00000"/>
                </a:solidFill>
                <a:effectLst/>
                <a:uLnTx/>
                <a:uFillTx/>
                <a:latin typeface="Trebuchet MS"/>
                <a:ea typeface="+mn-ea"/>
                <a:cs typeface="Arial"/>
                <a:sym typeface="Arial"/>
              </a:rPr>
              <a:t>~50%+</a:t>
            </a:r>
            <a:r>
              <a:rPr kumimoji="0" lang="en-GB" sz="900" b="1" i="0" u="none" strike="noStrike" kern="0" cap="none" spc="0" normalizeH="0" baseline="0" noProof="0" dirty="0">
                <a:ln>
                  <a:noFill/>
                </a:ln>
                <a:solidFill>
                  <a:srgbClr val="C00000"/>
                </a:solidFill>
                <a:effectLst/>
                <a:uLnTx/>
                <a:uFillTx/>
                <a:latin typeface="Trebuchet MS"/>
                <a:ea typeface="+mn-ea"/>
                <a:cs typeface="Arial"/>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Rent-to-income in mid-market segments from ’22 – ‘25</a:t>
            </a:r>
          </a:p>
        </p:txBody>
      </p:sp>
      <p:sp>
        <p:nvSpPr>
          <p:cNvPr id="44" name="Arrow: Down 43">
            <a:extLst>
              <a:ext uri="{FF2B5EF4-FFF2-40B4-BE49-F238E27FC236}">
                <a16:creationId xmlns:a16="http://schemas.microsoft.com/office/drawing/2014/main" id="{7602B80C-7764-A0C1-1284-CF870941BC2B}"/>
              </a:ext>
            </a:extLst>
          </p:cNvPr>
          <p:cNvSpPr/>
          <p:nvPr/>
        </p:nvSpPr>
        <p:spPr>
          <a:xfrm rot="10800000">
            <a:off x="5326063" y="1554163"/>
            <a:ext cx="334963" cy="280988"/>
          </a:xfrm>
          <a:prstGeom prst="downArrow">
            <a:avLst/>
          </a:prstGeom>
          <a:solidFill>
            <a:schemeClr val="tx1">
              <a:lumMod val="65000"/>
              <a:lumOff val="3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52" name="Arrow: Down 51">
            <a:extLst>
              <a:ext uri="{FF2B5EF4-FFF2-40B4-BE49-F238E27FC236}">
                <a16:creationId xmlns:a16="http://schemas.microsoft.com/office/drawing/2014/main" id="{EE505E52-7798-1CE2-C8E9-94058FAE5EA0}"/>
              </a:ext>
            </a:extLst>
          </p:cNvPr>
          <p:cNvSpPr/>
          <p:nvPr/>
        </p:nvSpPr>
        <p:spPr>
          <a:xfrm>
            <a:off x="5326063" y="2778125"/>
            <a:ext cx="334963" cy="280988"/>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58" name="Graphic 3">
            <a:extLst>
              <a:ext uri="{FF2B5EF4-FFF2-40B4-BE49-F238E27FC236}">
                <a16:creationId xmlns:a16="http://schemas.microsoft.com/office/drawing/2014/main" id="{F3955AC2-E81C-AE04-99B7-BF018EE44075}"/>
              </a:ext>
            </a:extLst>
          </p:cNvPr>
          <p:cNvSpPr>
            <a:spLocks/>
          </p:cNvSpPr>
          <p:nvPr/>
        </p:nvSpPr>
        <p:spPr>
          <a:xfrm>
            <a:off x="4930775" y="53387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3">
                    <a:lumMod val="75000"/>
                  </a:schemeClr>
                </a:solidFill>
                <a:effectLst/>
                <a:uLnTx/>
                <a:uFillTx/>
                <a:latin typeface="Trebuchet MS"/>
                <a:ea typeface="+mn-ea"/>
                <a:cs typeface="Arial"/>
                <a:sym typeface="Arial"/>
              </a:rPr>
              <a:t>~20%</a:t>
            </a:r>
            <a:r>
              <a:rPr kumimoji="0" lang="en-GB" sz="900" b="1" i="0" u="none" strike="noStrike" kern="0" cap="none" spc="0" normalizeH="0" baseline="0" noProof="0" dirty="0">
                <a:ln>
                  <a:noFill/>
                </a:ln>
                <a:solidFill>
                  <a:schemeClr val="accent3">
                    <a:lumMod val="75000"/>
                  </a:schemeClr>
                </a:solidFill>
                <a:effectLst/>
                <a:uLnTx/>
                <a:uFillTx/>
                <a:latin typeface="Trebuchet MS"/>
                <a:ea typeface="+mn-ea"/>
                <a:cs typeface="Arial"/>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Trebuchet MS"/>
                <a:ea typeface="+mn-ea"/>
                <a:cs typeface="Arial"/>
                <a:sym typeface="Arial"/>
              </a:rPr>
              <a:t>increase in construction/housing investment since ’21</a:t>
            </a:r>
            <a:endPar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endParaRPr>
          </a:p>
        </p:txBody>
      </p:sp>
      <p:sp>
        <p:nvSpPr>
          <p:cNvPr id="62" name="Arrow: Down 61">
            <a:extLst>
              <a:ext uri="{FF2B5EF4-FFF2-40B4-BE49-F238E27FC236}">
                <a16:creationId xmlns:a16="http://schemas.microsoft.com/office/drawing/2014/main" id="{DD3EC568-9A0C-489D-C2F6-CFE81BAA3CAC}"/>
              </a:ext>
            </a:extLst>
          </p:cNvPr>
          <p:cNvSpPr/>
          <p:nvPr/>
        </p:nvSpPr>
        <p:spPr>
          <a:xfrm rot="10800000">
            <a:off x="4935538" y="5511800"/>
            <a:ext cx="334963" cy="280988"/>
          </a:xfrm>
          <a:prstGeom prst="downArrow">
            <a:avLst/>
          </a:prstGeom>
          <a:solidFill>
            <a:schemeClr val="accent3">
              <a:lumMod val="7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63" name="Graphic 3">
            <a:extLst>
              <a:ext uri="{FF2B5EF4-FFF2-40B4-BE49-F238E27FC236}">
                <a16:creationId xmlns:a16="http://schemas.microsoft.com/office/drawing/2014/main" id="{5ECDFDB7-602E-7137-EB26-C31F9D0D4D55}"/>
              </a:ext>
            </a:extLst>
          </p:cNvPr>
          <p:cNvSpPr>
            <a:spLocks/>
          </p:cNvSpPr>
          <p:nvPr/>
        </p:nvSpPr>
        <p:spPr>
          <a:xfrm>
            <a:off x="6234113" y="14160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tx1">
                    <a:lumMod val="65000"/>
                    <a:lumOff val="35000"/>
                  </a:schemeClr>
                </a:solidFill>
                <a:effectLst/>
                <a:uLnTx/>
                <a:uFillTx/>
                <a:latin typeface="Trebuchet MS"/>
                <a:ea typeface="+mn-ea"/>
                <a:cs typeface="Arial"/>
                <a:sym typeface="Arial"/>
              </a:rPr>
              <a:t>~6%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Growth in Riyadh expat population YoY </a:t>
            </a:r>
          </a:p>
        </p:txBody>
      </p:sp>
      <p:sp>
        <p:nvSpPr>
          <p:cNvPr id="64" name="Graphic 3">
            <a:extLst>
              <a:ext uri="{FF2B5EF4-FFF2-40B4-BE49-F238E27FC236}">
                <a16:creationId xmlns:a16="http://schemas.microsoft.com/office/drawing/2014/main" id="{4112AC21-6BD0-FF4E-7E9F-765F47DC347C}"/>
              </a:ext>
            </a:extLst>
          </p:cNvPr>
          <p:cNvSpPr>
            <a:spLocks/>
          </p:cNvSpPr>
          <p:nvPr/>
        </p:nvSpPr>
        <p:spPr>
          <a:xfrm>
            <a:off x="6234113" y="27241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00000"/>
                </a:solidFill>
                <a:effectLst/>
                <a:uLnTx/>
                <a:uFillTx/>
                <a:latin typeface="Trebuchet MS"/>
                <a:ea typeface="+mn-ea"/>
                <a:cs typeface="Arial"/>
                <a:sym typeface="Arial"/>
              </a:rPr>
              <a:t>~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Permits / starts issued YoY (</a:t>
            </a:r>
            <a:r>
              <a:rPr kumimoji="0" lang="en-GB" sz="900" b="0" i="0" u="none" strike="noStrike" kern="0" cap="none" spc="0" normalizeH="0" baseline="0" noProof="0" dirty="0" err="1">
                <a:ln>
                  <a:noFill/>
                </a:ln>
                <a:solidFill>
                  <a:srgbClr val="000000"/>
                </a:solidFill>
                <a:effectLst/>
                <a:uLnTx/>
                <a:uFillTx/>
                <a:latin typeface="Trebuchet MS"/>
                <a:ea typeface="+mn-ea"/>
                <a:cs typeface="Arial"/>
                <a:sym typeface="Arial"/>
              </a:rPr>
              <a:t>eary</a:t>
            </a: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 warning on next year delivery)</a:t>
            </a:r>
            <a:endParaRPr kumimoji="0" lang="en-GB" sz="1100" b="0" i="0" u="none" strike="noStrike" kern="0" cap="none" spc="0" normalizeH="0" baseline="0" noProof="0" dirty="0">
              <a:ln>
                <a:noFill/>
              </a:ln>
              <a:solidFill>
                <a:srgbClr val="000000"/>
              </a:solidFill>
              <a:effectLst/>
              <a:uLnTx/>
              <a:uFillTx/>
              <a:latin typeface="Trebuchet MS"/>
              <a:ea typeface="+mn-ea"/>
              <a:cs typeface="Arial"/>
              <a:sym typeface="Arial"/>
            </a:endParaRPr>
          </a:p>
        </p:txBody>
      </p:sp>
      <p:sp>
        <p:nvSpPr>
          <p:cNvPr id="65" name="Graphic 3">
            <a:extLst>
              <a:ext uri="{FF2B5EF4-FFF2-40B4-BE49-F238E27FC236}">
                <a16:creationId xmlns:a16="http://schemas.microsoft.com/office/drawing/2014/main" id="{30CCBA57-379A-6B33-294B-5D353E2DA07B}"/>
              </a:ext>
            </a:extLst>
          </p:cNvPr>
          <p:cNvSpPr>
            <a:spLocks/>
          </p:cNvSpPr>
          <p:nvPr/>
        </p:nvSpPr>
        <p:spPr>
          <a:xfrm>
            <a:off x="6234113" y="40306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RIR trending upwards over the last 12 months</a:t>
            </a:r>
          </a:p>
        </p:txBody>
      </p:sp>
      <p:sp>
        <p:nvSpPr>
          <p:cNvPr id="67" name="Arrow: Down 66">
            <a:extLst>
              <a:ext uri="{FF2B5EF4-FFF2-40B4-BE49-F238E27FC236}">
                <a16:creationId xmlns:a16="http://schemas.microsoft.com/office/drawing/2014/main" id="{9B23AB0B-90EB-B13A-3651-8AF989897014}"/>
              </a:ext>
            </a:extLst>
          </p:cNvPr>
          <p:cNvSpPr/>
          <p:nvPr/>
        </p:nvSpPr>
        <p:spPr>
          <a:xfrm rot="10800000">
            <a:off x="6629400" y="1554163"/>
            <a:ext cx="334963" cy="280988"/>
          </a:xfrm>
          <a:prstGeom prst="downArrow">
            <a:avLst/>
          </a:prstGeom>
          <a:solidFill>
            <a:schemeClr val="tx1">
              <a:lumMod val="65000"/>
              <a:lumOff val="3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69" name="Arrow: Down 68">
            <a:extLst>
              <a:ext uri="{FF2B5EF4-FFF2-40B4-BE49-F238E27FC236}">
                <a16:creationId xmlns:a16="http://schemas.microsoft.com/office/drawing/2014/main" id="{6C12C5A8-D6D4-B3AD-2A53-18880B6C3190}"/>
              </a:ext>
            </a:extLst>
          </p:cNvPr>
          <p:cNvSpPr/>
          <p:nvPr/>
        </p:nvSpPr>
        <p:spPr>
          <a:xfrm rot="10800000">
            <a:off x="6629400" y="4160838"/>
            <a:ext cx="334963" cy="280988"/>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70" name="Graphic 3">
            <a:extLst>
              <a:ext uri="{FF2B5EF4-FFF2-40B4-BE49-F238E27FC236}">
                <a16:creationId xmlns:a16="http://schemas.microsoft.com/office/drawing/2014/main" id="{A5DE2B04-263A-E6E7-E788-BAFF7F82996E}"/>
              </a:ext>
            </a:extLst>
          </p:cNvPr>
          <p:cNvSpPr>
            <a:spLocks/>
          </p:cNvSpPr>
          <p:nvPr/>
        </p:nvSpPr>
        <p:spPr>
          <a:xfrm>
            <a:off x="6234113" y="53387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3">
                    <a:lumMod val="75000"/>
                  </a:schemeClr>
                </a:solidFill>
                <a:effectLst/>
                <a:uLnTx/>
                <a:uFillTx/>
                <a:latin typeface="Trebuchet MS"/>
                <a:ea typeface="+mn-ea"/>
                <a:cs typeface="Arial"/>
                <a:sym typeface="Arial"/>
              </a:rPr>
              <a:t>~5%</a:t>
            </a:r>
            <a:r>
              <a:rPr kumimoji="0" lang="en-GB" sz="900" b="1" i="0" u="none" strike="noStrike" kern="0" cap="none" spc="0" normalizeH="0" baseline="0" noProof="0" dirty="0">
                <a:ln>
                  <a:noFill/>
                </a:ln>
                <a:solidFill>
                  <a:schemeClr val="accent3">
                    <a:lumMod val="75000"/>
                  </a:schemeClr>
                </a:solidFill>
                <a:effectLst/>
                <a:uLnTx/>
                <a:uFillTx/>
                <a:latin typeface="Trebuchet MS"/>
                <a:ea typeface="+mn-ea"/>
                <a:cs typeface="Arial"/>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Increase in residential mortgage lending YoY</a:t>
            </a:r>
          </a:p>
        </p:txBody>
      </p:sp>
      <p:sp>
        <p:nvSpPr>
          <p:cNvPr id="71" name="Arrow: Down 70">
            <a:extLst>
              <a:ext uri="{FF2B5EF4-FFF2-40B4-BE49-F238E27FC236}">
                <a16:creationId xmlns:a16="http://schemas.microsoft.com/office/drawing/2014/main" id="{70D32F1A-24CE-BDB2-A5F0-983ACA90273D}"/>
              </a:ext>
            </a:extLst>
          </p:cNvPr>
          <p:cNvSpPr/>
          <p:nvPr/>
        </p:nvSpPr>
        <p:spPr>
          <a:xfrm rot="10800000">
            <a:off x="6629400" y="5381625"/>
            <a:ext cx="334963" cy="280988"/>
          </a:xfrm>
          <a:prstGeom prst="downArrow">
            <a:avLst/>
          </a:prstGeom>
          <a:solidFill>
            <a:schemeClr val="accent3">
              <a:lumMod val="7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150" name="Rectangle 149">
            <a:extLst>
              <a:ext uri="{FF2B5EF4-FFF2-40B4-BE49-F238E27FC236}">
                <a16:creationId xmlns:a16="http://schemas.microsoft.com/office/drawing/2014/main" id="{3827E59D-40A0-59F5-44DC-11362BD1B404}"/>
              </a:ext>
            </a:extLst>
          </p:cNvPr>
          <p:cNvSpPr/>
          <p:nvPr/>
        </p:nvSpPr>
        <p:spPr>
          <a:xfrm>
            <a:off x="7883525" y="1427163"/>
            <a:ext cx="3846513" cy="5141913"/>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18288" rIns="91440" bIns="9144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endParaRPr kumimoji="0" lang="en-US" sz="1000" b="0" i="1" u="none" strike="noStrike" kern="1200" cap="none" spc="0" normalizeH="0" baseline="0" noProof="0" dirty="0">
              <a:ln>
                <a:noFill/>
              </a:ln>
              <a:solidFill>
                <a:srgbClr val="000000"/>
              </a:solidFill>
              <a:effectLst/>
              <a:uLnTx/>
              <a:uFillTx/>
              <a:latin typeface="Trebuchet MS"/>
              <a:ea typeface="+mn-ea"/>
              <a:cs typeface="+mn-cs"/>
            </a:endParaRPr>
          </a:p>
        </p:txBody>
      </p:sp>
      <p:cxnSp>
        <p:nvCxnSpPr>
          <p:cNvPr id="152" name="Straight Connector 151">
            <a:extLst>
              <a:ext uri="{FF2B5EF4-FFF2-40B4-BE49-F238E27FC236}">
                <a16:creationId xmlns:a16="http://schemas.microsoft.com/office/drawing/2014/main" id="{E02EC5D5-9030-3C59-B060-22B1142E7A8F}"/>
              </a:ext>
            </a:extLst>
          </p:cNvPr>
          <p:cNvCxnSpPr/>
          <p:nvPr>
            <p:custDataLst>
              <p:tags r:id="rId2"/>
            </p:custDataLst>
          </p:nvPr>
        </p:nvCxnSpPr>
        <p:spPr bwMode="gray">
          <a:xfrm flipH="1">
            <a:off x="8526463" y="5467350"/>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EFC8ACA0-4A5B-FEB6-E469-19C2AF3DAEF0}"/>
              </a:ext>
            </a:extLst>
          </p:cNvPr>
          <p:cNvCxnSpPr/>
          <p:nvPr>
            <p:custDataLst>
              <p:tags r:id="rId3"/>
            </p:custDataLst>
          </p:nvPr>
        </p:nvCxnSpPr>
        <p:spPr bwMode="gray">
          <a:xfrm flipH="1">
            <a:off x="8526463" y="5999163"/>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244373D6-6536-A5CF-143C-C5C9FA90EFB6}"/>
              </a:ext>
            </a:extLst>
          </p:cNvPr>
          <p:cNvCxnSpPr/>
          <p:nvPr>
            <p:custDataLst>
              <p:tags r:id="rId4"/>
            </p:custDataLst>
          </p:nvPr>
        </p:nvCxnSpPr>
        <p:spPr bwMode="gray">
          <a:xfrm flipH="1">
            <a:off x="8526463" y="3806825"/>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E2CD0EA7-A9D7-01AA-27A9-CC952844F735}"/>
              </a:ext>
            </a:extLst>
          </p:cNvPr>
          <p:cNvCxnSpPr/>
          <p:nvPr>
            <p:custDataLst>
              <p:tags r:id="rId5"/>
            </p:custDataLst>
          </p:nvPr>
        </p:nvCxnSpPr>
        <p:spPr bwMode="gray">
          <a:xfrm flipH="1">
            <a:off x="8526463" y="5651500"/>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103E1D90-81A5-A17F-A72E-649A0E651FE7}"/>
              </a:ext>
            </a:extLst>
          </p:cNvPr>
          <p:cNvCxnSpPr/>
          <p:nvPr>
            <p:custDataLst>
              <p:tags r:id="rId6"/>
            </p:custDataLst>
          </p:nvPr>
        </p:nvCxnSpPr>
        <p:spPr bwMode="gray">
          <a:xfrm flipH="1">
            <a:off x="8526463" y="4729163"/>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9E7009FC-2F0B-B8BA-F4C1-F4E4EF92580E}"/>
              </a:ext>
            </a:extLst>
          </p:cNvPr>
          <p:cNvCxnSpPr/>
          <p:nvPr>
            <p:custDataLst>
              <p:tags r:id="rId7"/>
            </p:custDataLst>
          </p:nvPr>
        </p:nvCxnSpPr>
        <p:spPr bwMode="gray">
          <a:xfrm flipH="1">
            <a:off x="8526463" y="4176713"/>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7098CF06-912A-63CD-420B-D350E232E2BB}"/>
              </a:ext>
            </a:extLst>
          </p:cNvPr>
          <p:cNvCxnSpPr/>
          <p:nvPr>
            <p:custDataLst>
              <p:tags r:id="rId8"/>
            </p:custDataLst>
          </p:nvPr>
        </p:nvCxnSpPr>
        <p:spPr bwMode="gray">
          <a:xfrm flipH="1">
            <a:off x="8526463" y="4545013"/>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9B826704-F5FE-5636-755D-0184742B96F8}"/>
              </a:ext>
            </a:extLst>
          </p:cNvPr>
          <p:cNvCxnSpPr/>
          <p:nvPr>
            <p:custDataLst>
              <p:tags r:id="rId9"/>
            </p:custDataLst>
          </p:nvPr>
        </p:nvCxnSpPr>
        <p:spPr bwMode="gray">
          <a:xfrm flipH="1">
            <a:off x="8526463" y="5283200"/>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42D87F29-E881-A3CC-1B3F-42A94584B11A}"/>
              </a:ext>
            </a:extLst>
          </p:cNvPr>
          <p:cNvCxnSpPr/>
          <p:nvPr>
            <p:custDataLst>
              <p:tags r:id="rId10"/>
            </p:custDataLst>
          </p:nvPr>
        </p:nvCxnSpPr>
        <p:spPr bwMode="gray">
          <a:xfrm flipH="1">
            <a:off x="8526463" y="3990975"/>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186546E0-FE05-7CF1-74A6-759AD8869C97}"/>
              </a:ext>
            </a:extLst>
          </p:cNvPr>
          <p:cNvCxnSpPr/>
          <p:nvPr>
            <p:custDataLst>
              <p:tags r:id="rId11"/>
            </p:custDataLst>
          </p:nvPr>
        </p:nvCxnSpPr>
        <p:spPr bwMode="gray">
          <a:xfrm flipH="1">
            <a:off x="8526463" y="5097463"/>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C7BB43A1-7377-7DAF-5077-814A15994012}"/>
              </a:ext>
            </a:extLst>
          </p:cNvPr>
          <p:cNvCxnSpPr/>
          <p:nvPr>
            <p:custDataLst>
              <p:tags r:id="rId12"/>
            </p:custDataLst>
          </p:nvPr>
        </p:nvCxnSpPr>
        <p:spPr bwMode="gray">
          <a:xfrm flipH="1">
            <a:off x="8526463" y="4360863"/>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B31FE01C-5B5C-D841-5731-DF3C4CE722CE}"/>
              </a:ext>
            </a:extLst>
          </p:cNvPr>
          <p:cNvCxnSpPr/>
          <p:nvPr>
            <p:custDataLst>
              <p:tags r:id="rId13"/>
            </p:custDataLst>
          </p:nvPr>
        </p:nvCxnSpPr>
        <p:spPr bwMode="gray">
          <a:xfrm flipH="1">
            <a:off x="8526463" y="4913313"/>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0E663AE9-E749-2A2D-750D-42E15DA218F6}"/>
              </a:ext>
            </a:extLst>
          </p:cNvPr>
          <p:cNvCxnSpPr/>
          <p:nvPr>
            <p:custDataLst>
              <p:tags r:id="rId14"/>
            </p:custDataLst>
          </p:nvPr>
        </p:nvCxnSpPr>
        <p:spPr bwMode="gray">
          <a:xfrm flipH="1">
            <a:off x="8526463" y="3622675"/>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21A37F61-1225-7668-6B1E-DA775600088E}"/>
              </a:ext>
            </a:extLst>
          </p:cNvPr>
          <p:cNvCxnSpPr/>
          <p:nvPr>
            <p:custDataLst>
              <p:tags r:id="rId15"/>
            </p:custDataLst>
          </p:nvPr>
        </p:nvCxnSpPr>
        <p:spPr bwMode="gray">
          <a:xfrm flipH="1">
            <a:off x="8526463" y="3438525"/>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9F3CC82F-7DA5-6EFD-7668-4C0FBA1625B6}"/>
              </a:ext>
            </a:extLst>
          </p:cNvPr>
          <p:cNvCxnSpPr/>
          <p:nvPr>
            <p:custDataLst>
              <p:tags r:id="rId16"/>
            </p:custDataLst>
          </p:nvPr>
        </p:nvCxnSpPr>
        <p:spPr bwMode="gray">
          <a:xfrm flipH="1">
            <a:off x="8526463" y="5835650"/>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14" name="Chart 313">
            <a:extLst>
              <a:ext uri="{FF2B5EF4-FFF2-40B4-BE49-F238E27FC236}">
                <a16:creationId xmlns:a16="http://schemas.microsoft.com/office/drawing/2014/main" id="{C49412CE-2253-636F-17D7-53CF96F0989A}"/>
              </a:ext>
            </a:extLst>
          </p:cNvPr>
          <p:cNvGraphicFramePr/>
          <p:nvPr>
            <p:custDataLst>
              <p:tags r:id="rId17"/>
            </p:custDataLst>
            <p:extLst>
              <p:ext uri="{D42A27DB-BD31-4B8C-83A1-F6EECF244321}">
                <p14:modId xmlns:p14="http://schemas.microsoft.com/office/powerpoint/2010/main" val="1171240042"/>
              </p:ext>
            </p:extLst>
          </p:nvPr>
        </p:nvGraphicFramePr>
        <p:xfrm>
          <a:off x="8316913" y="3355975"/>
          <a:ext cx="3373437" cy="2943225"/>
        </p:xfrm>
        <a:graphic>
          <a:graphicData uri="http://schemas.openxmlformats.org/drawingml/2006/chart">
            <c:chart xmlns:c="http://schemas.openxmlformats.org/drawingml/2006/chart" xmlns:r="http://schemas.openxmlformats.org/officeDocument/2006/relationships" r:id="rId63"/>
          </a:graphicData>
        </a:graphic>
      </p:graphicFrame>
      <p:sp>
        <p:nvSpPr>
          <p:cNvPr id="162" name="Text Placeholder 3">
            <a:extLst>
              <a:ext uri="{FF2B5EF4-FFF2-40B4-BE49-F238E27FC236}">
                <a16:creationId xmlns:a16="http://schemas.microsoft.com/office/drawing/2014/main" id="{1EE7E218-BF56-165A-E46F-67E5B3AFA248}"/>
              </a:ext>
            </a:extLst>
          </p:cNvPr>
          <p:cNvSpPr>
            <a:spLocks noGrp="1"/>
          </p:cNvSpPr>
          <p:nvPr>
            <p:custDataLst>
              <p:tags r:id="rId18"/>
            </p:custDataLst>
          </p:nvPr>
        </p:nvSpPr>
        <p:spPr bwMode="gray">
          <a:xfrm>
            <a:off x="8205788" y="5027613"/>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8A98858F-A46C-4A4C-B292-BF2C191E5BFA}" type="datetime'''''''''''''''''''2'''''''',''''''''''''5''''''''''''''''00'''">
              <a:rPr lang="en-GB" altLang="en-US" sz="800" smtClean="0">
                <a:latin typeface="+mn-lt"/>
              </a:rPr>
              <a:pPr lvl="0" algn="r">
                <a:spcBef>
                  <a:spcPct val="0"/>
                </a:spcBef>
                <a:spcAft>
                  <a:spcPct val="0"/>
                </a:spcAft>
                <a:defRPr/>
              </a:pPr>
              <a:t>2,50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235" name="Text Placeholder 3">
            <a:extLst>
              <a:ext uri="{FF2B5EF4-FFF2-40B4-BE49-F238E27FC236}">
                <a16:creationId xmlns:a16="http://schemas.microsoft.com/office/drawing/2014/main" id="{61232B66-AA25-FF42-2525-E50748217A74}"/>
              </a:ext>
            </a:extLst>
          </p:cNvPr>
          <p:cNvSpPr>
            <a:spLocks noGrp="1"/>
          </p:cNvSpPr>
          <p:nvPr>
            <p:custDataLst>
              <p:tags r:id="rId19"/>
            </p:custDataLst>
          </p:nvPr>
        </p:nvSpPr>
        <p:spPr bwMode="gray">
          <a:xfrm>
            <a:off x="8205788" y="4843463"/>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F32A6C0A-D4C7-40A1-8030-180F6124F646}" type="datetime'''2'''''''''''''''',''5''5''0'''''''''''''''''''''''">
              <a:rPr lang="en-GB" altLang="en-US" sz="800" smtClean="0">
                <a:effectLst/>
                <a:latin typeface="+mn-lt"/>
              </a:rPr>
              <a:pPr lvl="0" algn="r">
                <a:spcBef>
                  <a:spcPct val="0"/>
                </a:spcBef>
                <a:spcAft>
                  <a:spcPct val="0"/>
                </a:spcAft>
              </a:pPr>
              <a:t>2,550</a:t>
            </a:fld>
            <a:endParaRPr lang="en-GB" sz="800" dirty="0">
              <a:latin typeface="+mn-lt"/>
            </a:endParaRPr>
          </a:p>
        </p:txBody>
      </p:sp>
      <p:sp>
        <p:nvSpPr>
          <p:cNvPr id="163" name="Text Placeholder 3">
            <a:extLst>
              <a:ext uri="{FF2B5EF4-FFF2-40B4-BE49-F238E27FC236}">
                <a16:creationId xmlns:a16="http://schemas.microsoft.com/office/drawing/2014/main" id="{61D2BCDF-72F3-1CCA-55F3-D2CE924F52CD}"/>
              </a:ext>
            </a:extLst>
          </p:cNvPr>
          <p:cNvSpPr>
            <a:spLocks noGrp="1"/>
          </p:cNvSpPr>
          <p:nvPr>
            <p:custDataLst>
              <p:tags r:id="rId20"/>
            </p:custDataLst>
          </p:nvPr>
        </p:nvSpPr>
        <p:spPr bwMode="gray">
          <a:xfrm>
            <a:off x="8205788" y="4659313"/>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FF129F79-499A-4ADC-A00D-5630677DA11F}" type="datetime'''''''''2,''''''''''6''''''''''''''0''''''''''''''''''0'''''">
              <a:rPr lang="en-GB" altLang="en-US" sz="800" smtClean="0">
                <a:latin typeface="+mn-lt"/>
              </a:rPr>
              <a:pPr lvl="0" algn="r">
                <a:spcBef>
                  <a:spcPct val="0"/>
                </a:spcBef>
                <a:spcAft>
                  <a:spcPct val="0"/>
                </a:spcAft>
                <a:defRPr/>
              </a:pPr>
              <a:t>2,60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236" name="Text Placeholder 3">
            <a:extLst>
              <a:ext uri="{FF2B5EF4-FFF2-40B4-BE49-F238E27FC236}">
                <a16:creationId xmlns:a16="http://schemas.microsoft.com/office/drawing/2014/main" id="{AB8BD1C9-A693-33F0-4244-C8296DBF0E3E}"/>
              </a:ext>
            </a:extLst>
          </p:cNvPr>
          <p:cNvSpPr>
            <a:spLocks noGrp="1"/>
          </p:cNvSpPr>
          <p:nvPr>
            <p:custDataLst>
              <p:tags r:id="rId21"/>
            </p:custDataLst>
          </p:nvPr>
        </p:nvSpPr>
        <p:spPr bwMode="gray">
          <a:xfrm>
            <a:off x="8205788" y="4475163"/>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2476894C-9E85-4A42-B354-3B25C84A478B}" type="datetime'2'''''',''''''''''6''''''''''''''''''''''50'">
              <a:rPr lang="en-GB" altLang="en-US" sz="800" smtClean="0">
                <a:effectLst/>
                <a:latin typeface="+mn-lt"/>
              </a:rPr>
              <a:pPr lvl="0" algn="r">
                <a:spcBef>
                  <a:spcPct val="0"/>
                </a:spcBef>
                <a:spcAft>
                  <a:spcPct val="0"/>
                </a:spcAft>
              </a:pPr>
              <a:t>2,650</a:t>
            </a:fld>
            <a:endParaRPr lang="en-GB" sz="800" dirty="0">
              <a:latin typeface="+mn-lt"/>
            </a:endParaRPr>
          </a:p>
        </p:txBody>
      </p:sp>
      <p:sp>
        <p:nvSpPr>
          <p:cNvPr id="164" name="Text Placeholder 3">
            <a:extLst>
              <a:ext uri="{FF2B5EF4-FFF2-40B4-BE49-F238E27FC236}">
                <a16:creationId xmlns:a16="http://schemas.microsoft.com/office/drawing/2014/main" id="{5F871042-5C28-623D-2499-3F07EF8B495F}"/>
              </a:ext>
            </a:extLst>
          </p:cNvPr>
          <p:cNvSpPr>
            <a:spLocks noGrp="1"/>
          </p:cNvSpPr>
          <p:nvPr>
            <p:custDataLst>
              <p:tags r:id="rId22"/>
            </p:custDataLst>
          </p:nvPr>
        </p:nvSpPr>
        <p:spPr bwMode="gray">
          <a:xfrm>
            <a:off x="8205788" y="4291013"/>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55921F83-0F6B-4A97-BC61-B4AF63E1EBC3}" type="datetime'''''2'''''''''''''''',''''''''''''''''''''''''''''7''''0''0'''">
              <a:rPr lang="en-GB" altLang="en-US" sz="800" smtClean="0">
                <a:latin typeface="+mn-lt"/>
              </a:rPr>
              <a:pPr lvl="0" algn="r">
                <a:spcBef>
                  <a:spcPct val="0"/>
                </a:spcBef>
                <a:spcAft>
                  <a:spcPct val="0"/>
                </a:spcAft>
                <a:defRPr/>
              </a:pPr>
              <a:t>2,70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65" name="Text Placeholder 3">
            <a:extLst>
              <a:ext uri="{FF2B5EF4-FFF2-40B4-BE49-F238E27FC236}">
                <a16:creationId xmlns:a16="http://schemas.microsoft.com/office/drawing/2014/main" id="{D7D8A24A-F650-39E8-CC50-615F9900F806}"/>
              </a:ext>
            </a:extLst>
          </p:cNvPr>
          <p:cNvSpPr>
            <a:spLocks noGrp="1"/>
          </p:cNvSpPr>
          <p:nvPr>
            <p:custDataLst>
              <p:tags r:id="rId23"/>
            </p:custDataLst>
          </p:nvPr>
        </p:nvSpPr>
        <p:spPr bwMode="gray">
          <a:xfrm>
            <a:off x="8205788" y="3921125"/>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98B8F211-57CB-4000-8E14-8B2C4C467925}" type="datetime'''''''''''''''''2'''''''',''''8''''''''''''''''''''''''0''0'''">
              <a:rPr lang="en-GB" altLang="en-US" sz="800" smtClean="0">
                <a:latin typeface="+mn-lt"/>
              </a:rPr>
              <a:pPr lvl="0" algn="r">
                <a:spcBef>
                  <a:spcPct val="0"/>
                </a:spcBef>
                <a:spcAft>
                  <a:spcPct val="0"/>
                </a:spcAft>
                <a:defRPr/>
              </a:pPr>
              <a:t>2,80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238" name="Text Placeholder 3">
            <a:extLst>
              <a:ext uri="{FF2B5EF4-FFF2-40B4-BE49-F238E27FC236}">
                <a16:creationId xmlns:a16="http://schemas.microsoft.com/office/drawing/2014/main" id="{D8F2C870-EA5D-1507-788C-8DBDD40CD0DF}"/>
              </a:ext>
            </a:extLst>
          </p:cNvPr>
          <p:cNvSpPr>
            <a:spLocks noGrp="1"/>
          </p:cNvSpPr>
          <p:nvPr>
            <p:custDataLst>
              <p:tags r:id="rId24"/>
            </p:custDataLst>
          </p:nvPr>
        </p:nvSpPr>
        <p:spPr bwMode="gray">
          <a:xfrm>
            <a:off x="8205788" y="3736975"/>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F20C769C-1DE2-436E-845B-216586836A32}" type="datetime'''''''''2'''''''''''''''''''''''''',''''8''50'''''''''''''''''">
              <a:rPr lang="en-GB" altLang="en-US" sz="800" smtClean="0">
                <a:effectLst/>
                <a:latin typeface="+mn-lt"/>
              </a:rPr>
              <a:pPr lvl="0" algn="r">
                <a:spcBef>
                  <a:spcPct val="0"/>
                </a:spcBef>
                <a:spcAft>
                  <a:spcPct val="0"/>
                </a:spcAft>
              </a:pPr>
              <a:t>2,850</a:t>
            </a:fld>
            <a:endParaRPr lang="en-GB" sz="800" dirty="0">
              <a:latin typeface="+mn-lt"/>
            </a:endParaRPr>
          </a:p>
        </p:txBody>
      </p:sp>
      <p:sp>
        <p:nvSpPr>
          <p:cNvPr id="237" name="Text Placeholder 3">
            <a:extLst>
              <a:ext uri="{FF2B5EF4-FFF2-40B4-BE49-F238E27FC236}">
                <a16:creationId xmlns:a16="http://schemas.microsoft.com/office/drawing/2014/main" id="{5B0A3B22-7648-47FA-4592-00D2E5CC81B1}"/>
              </a:ext>
            </a:extLst>
          </p:cNvPr>
          <p:cNvSpPr>
            <a:spLocks noGrp="1"/>
          </p:cNvSpPr>
          <p:nvPr>
            <p:custDataLst>
              <p:tags r:id="rId25"/>
            </p:custDataLst>
          </p:nvPr>
        </p:nvSpPr>
        <p:spPr bwMode="gray">
          <a:xfrm>
            <a:off x="8205788" y="4106863"/>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6E32A32D-2A11-4E4B-9B85-F572B666C9C0}" type="datetime'''''2,''''''''''''''''''''''''7''''''50'''''''''''''''''''">
              <a:rPr lang="en-GB" altLang="en-US" sz="800" smtClean="0">
                <a:effectLst/>
                <a:latin typeface="+mn-lt"/>
              </a:rPr>
              <a:pPr lvl="0" algn="r">
                <a:spcBef>
                  <a:spcPct val="0"/>
                </a:spcBef>
                <a:spcAft>
                  <a:spcPct val="0"/>
                </a:spcAft>
              </a:pPr>
              <a:t>2,750</a:t>
            </a:fld>
            <a:endParaRPr lang="en-GB" sz="800" dirty="0">
              <a:latin typeface="+mn-lt"/>
            </a:endParaRPr>
          </a:p>
        </p:txBody>
      </p:sp>
      <p:sp>
        <p:nvSpPr>
          <p:cNvPr id="166" name="Text Placeholder 3">
            <a:extLst>
              <a:ext uri="{FF2B5EF4-FFF2-40B4-BE49-F238E27FC236}">
                <a16:creationId xmlns:a16="http://schemas.microsoft.com/office/drawing/2014/main" id="{82C75E1C-A706-1C22-FC61-3655B29F7044}"/>
              </a:ext>
            </a:extLst>
          </p:cNvPr>
          <p:cNvSpPr>
            <a:spLocks noGrp="1"/>
          </p:cNvSpPr>
          <p:nvPr>
            <p:custDataLst>
              <p:tags r:id="rId26"/>
            </p:custDataLst>
          </p:nvPr>
        </p:nvSpPr>
        <p:spPr bwMode="gray">
          <a:xfrm>
            <a:off x="8205788" y="3552825"/>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D44D6814-6C9B-4B7E-9CA0-81BB2AC205FB}" type="datetime'''2'''''''''''''''''',''9''''''''''''''0''''''0'''''''''''">
              <a:rPr lang="en-GB" altLang="en-US" sz="800" smtClean="0">
                <a:latin typeface="+mn-lt"/>
              </a:rPr>
              <a:pPr lvl="0" algn="r">
                <a:spcBef>
                  <a:spcPct val="0"/>
                </a:spcBef>
                <a:spcAft>
                  <a:spcPct val="0"/>
                </a:spcAft>
                <a:defRPr/>
              </a:pPr>
              <a:t>2,90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233" name="Text Placeholder 3">
            <a:extLst>
              <a:ext uri="{FF2B5EF4-FFF2-40B4-BE49-F238E27FC236}">
                <a16:creationId xmlns:a16="http://schemas.microsoft.com/office/drawing/2014/main" id="{AED125CA-D4A9-8B95-ED72-F5BD6159A2E0}"/>
              </a:ext>
            </a:extLst>
          </p:cNvPr>
          <p:cNvSpPr>
            <a:spLocks noGrp="1"/>
          </p:cNvSpPr>
          <p:nvPr>
            <p:custDataLst>
              <p:tags r:id="rId27"/>
            </p:custDataLst>
          </p:nvPr>
        </p:nvSpPr>
        <p:spPr bwMode="gray">
          <a:xfrm>
            <a:off x="8205788" y="5581650"/>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C4491028-5E56-4F53-8C28-65075FC95650}" type="datetime'''''''''''''''''''2'''''''',''3''''''''''''''''5''''''''0'">
              <a:rPr lang="en-GB" altLang="en-US" sz="800" smtClean="0">
                <a:effectLst/>
                <a:latin typeface="+mn-lt"/>
              </a:rPr>
              <a:pPr lvl="0" algn="r">
                <a:spcBef>
                  <a:spcPct val="0"/>
                </a:spcBef>
                <a:spcAft>
                  <a:spcPct val="0"/>
                </a:spcAft>
              </a:pPr>
              <a:t>2,350</a:t>
            </a:fld>
            <a:endParaRPr lang="en-GB" sz="800" dirty="0">
              <a:latin typeface="+mn-lt"/>
            </a:endParaRPr>
          </a:p>
        </p:txBody>
      </p:sp>
      <p:sp>
        <p:nvSpPr>
          <p:cNvPr id="239" name="Text Placeholder 3">
            <a:extLst>
              <a:ext uri="{FF2B5EF4-FFF2-40B4-BE49-F238E27FC236}">
                <a16:creationId xmlns:a16="http://schemas.microsoft.com/office/drawing/2014/main" id="{21FCD44A-F8EB-0674-6C45-2F6DE338C8DC}"/>
              </a:ext>
            </a:extLst>
          </p:cNvPr>
          <p:cNvSpPr>
            <a:spLocks noGrp="1"/>
          </p:cNvSpPr>
          <p:nvPr>
            <p:custDataLst>
              <p:tags r:id="rId28"/>
            </p:custDataLst>
          </p:nvPr>
        </p:nvSpPr>
        <p:spPr bwMode="gray">
          <a:xfrm>
            <a:off x="8205788" y="3368675"/>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6800EEC2-A7DB-4D48-862D-61F437DBC73A}" type="datetime'''''''''''''''''''''''''''''''''''''''''''2,''''''''9''50'">
              <a:rPr lang="en-GB" altLang="en-US" sz="800" smtClean="0">
                <a:effectLst/>
                <a:latin typeface="+mn-lt"/>
              </a:rPr>
              <a:pPr lvl="0" algn="r">
                <a:spcBef>
                  <a:spcPct val="0"/>
                </a:spcBef>
                <a:spcAft>
                  <a:spcPct val="0"/>
                </a:spcAft>
              </a:pPr>
              <a:t>2,950</a:t>
            </a:fld>
            <a:endParaRPr lang="en-GB" sz="800" dirty="0">
              <a:latin typeface="+mn-lt"/>
            </a:endParaRPr>
          </a:p>
        </p:txBody>
      </p:sp>
      <p:sp>
        <p:nvSpPr>
          <p:cNvPr id="161" name="Text Placeholder 3">
            <a:extLst>
              <a:ext uri="{FF2B5EF4-FFF2-40B4-BE49-F238E27FC236}">
                <a16:creationId xmlns:a16="http://schemas.microsoft.com/office/drawing/2014/main" id="{93E7DD89-6F84-4313-748A-0A8251997662}"/>
              </a:ext>
            </a:extLst>
          </p:cNvPr>
          <p:cNvSpPr>
            <a:spLocks noGrp="1"/>
          </p:cNvSpPr>
          <p:nvPr>
            <p:custDataLst>
              <p:tags r:id="rId29"/>
            </p:custDataLst>
          </p:nvPr>
        </p:nvSpPr>
        <p:spPr bwMode="gray">
          <a:xfrm>
            <a:off x="8205788" y="5397500"/>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7E4193FB-F183-46FD-8673-64FA4330767D}" type="datetime'''''''''''''2'''''''''''''''',''''''''40''0'''''''''''''''''''">
              <a:rPr lang="en-GB" altLang="en-US" sz="800" smtClean="0">
                <a:latin typeface="+mn-lt"/>
              </a:rPr>
              <a:pPr lvl="0" algn="r">
                <a:spcBef>
                  <a:spcPct val="0"/>
                </a:spcBef>
                <a:spcAft>
                  <a:spcPct val="0"/>
                </a:spcAft>
                <a:defRPr/>
              </a:pPr>
              <a:t>2,40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60" name="Text Placeholder 3">
            <a:extLst>
              <a:ext uri="{FF2B5EF4-FFF2-40B4-BE49-F238E27FC236}">
                <a16:creationId xmlns:a16="http://schemas.microsoft.com/office/drawing/2014/main" id="{DD77F5D7-DD05-9B8E-8FA1-96D45E36A8EB}"/>
              </a:ext>
            </a:extLst>
          </p:cNvPr>
          <p:cNvSpPr>
            <a:spLocks noGrp="1"/>
          </p:cNvSpPr>
          <p:nvPr>
            <p:custDataLst>
              <p:tags r:id="rId30"/>
            </p:custDataLst>
          </p:nvPr>
        </p:nvSpPr>
        <p:spPr bwMode="gray">
          <a:xfrm>
            <a:off x="8405813" y="5929313"/>
            <a:ext cx="539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B205FA37-A4A0-4DB4-BAA2-44BB521AA806}" type="datetime'''0'''''''">
              <a:rPr lang="en-GB" altLang="en-US" sz="800" smtClean="0">
                <a:latin typeface="+mn-lt"/>
              </a:rPr>
              <a:pPr lvl="0" algn="r">
                <a:spcBef>
                  <a:spcPct val="0"/>
                </a:spcBef>
                <a:spcAft>
                  <a:spcPct val="0"/>
                </a:spcAft>
                <a:defRPr/>
              </a:pPr>
              <a:t>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256" name="Text Placeholder 3">
            <a:extLst>
              <a:ext uri="{FF2B5EF4-FFF2-40B4-BE49-F238E27FC236}">
                <a16:creationId xmlns:a16="http://schemas.microsoft.com/office/drawing/2014/main" id="{923C2668-730D-35A5-F2F6-6194C5D8D3AF}"/>
              </a:ext>
            </a:extLst>
          </p:cNvPr>
          <p:cNvSpPr>
            <a:spLocks noGrp="1"/>
          </p:cNvSpPr>
          <p:nvPr>
            <p:custDataLst>
              <p:tags r:id="rId31"/>
            </p:custDataLst>
          </p:nvPr>
        </p:nvSpPr>
        <p:spPr bwMode="gray">
          <a:xfrm>
            <a:off x="8205788" y="5765800"/>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25DADE0E-D077-4A1E-85FC-7430180BAD93}" type="datetime'''''''''2'',''''''''''''''''''''3''''''''''''''''''''''0''0'''">
              <a:rPr lang="en-GB" altLang="en-US" sz="800" smtClean="0">
                <a:effectLst/>
                <a:latin typeface="+mn-lt"/>
              </a:rPr>
              <a:pPr lvl="0" algn="r">
                <a:spcBef>
                  <a:spcPct val="0"/>
                </a:spcBef>
                <a:spcAft>
                  <a:spcPct val="0"/>
                </a:spcAft>
              </a:pPr>
              <a:t>2,300</a:t>
            </a:fld>
            <a:endParaRPr lang="en-GB" sz="800" dirty="0">
              <a:latin typeface="+mn-lt"/>
            </a:endParaRPr>
          </a:p>
        </p:txBody>
      </p:sp>
      <p:sp>
        <p:nvSpPr>
          <p:cNvPr id="234" name="Text Placeholder 3">
            <a:extLst>
              <a:ext uri="{FF2B5EF4-FFF2-40B4-BE49-F238E27FC236}">
                <a16:creationId xmlns:a16="http://schemas.microsoft.com/office/drawing/2014/main" id="{74134634-3CDD-301F-6245-3F879914A3E4}"/>
              </a:ext>
            </a:extLst>
          </p:cNvPr>
          <p:cNvSpPr>
            <a:spLocks noGrp="1"/>
          </p:cNvSpPr>
          <p:nvPr>
            <p:custDataLst>
              <p:tags r:id="rId32"/>
            </p:custDataLst>
          </p:nvPr>
        </p:nvSpPr>
        <p:spPr bwMode="gray">
          <a:xfrm>
            <a:off x="8205788" y="5213350"/>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9FE81BB3-9BF3-44A3-A2D9-9459A4A2E45A}" type="datetime'''''''''''''''''2'''''''''',''''''''''''''45''''''''0'''''''''">
              <a:rPr lang="en-GB" altLang="en-US" sz="800" smtClean="0">
                <a:effectLst/>
                <a:latin typeface="+mn-lt"/>
              </a:rPr>
              <a:pPr lvl="0" algn="r">
                <a:spcBef>
                  <a:spcPct val="0"/>
                </a:spcBef>
                <a:spcAft>
                  <a:spcPct val="0"/>
                </a:spcAft>
              </a:pPr>
              <a:t>2,450</a:t>
            </a:fld>
            <a:endParaRPr lang="en-GB" sz="800" dirty="0">
              <a:latin typeface="+mn-lt"/>
            </a:endParaRPr>
          </a:p>
        </p:txBody>
      </p:sp>
      <p:sp useBgFill="1">
        <p:nvSpPr>
          <p:cNvPr id="255" name="Freeform: Shape 254">
            <a:extLst>
              <a:ext uri="{FF2B5EF4-FFF2-40B4-BE49-F238E27FC236}">
                <a16:creationId xmlns:a16="http://schemas.microsoft.com/office/drawing/2014/main" id="{7EAE6119-46E8-A823-C2F8-BEAF1CC0A452}"/>
              </a:ext>
            </a:extLst>
          </p:cNvPr>
          <p:cNvSpPr/>
          <p:nvPr>
            <p:custDataLst>
              <p:tags r:id="rId33"/>
            </p:custDataLst>
          </p:nvPr>
        </p:nvSpPr>
        <p:spPr bwMode="auto">
          <a:xfrm>
            <a:off x="8486775" y="5886450"/>
            <a:ext cx="146050" cy="96838"/>
          </a:xfrm>
          <a:custGeom>
            <a:avLst/>
            <a:gdLst/>
            <a:ahLst/>
            <a:cxnLst/>
            <a:rect l="0" t="0" r="0" b="0"/>
            <a:pathLst>
              <a:path w="146051" h="96839">
                <a:moveTo>
                  <a:pt x="0" y="39688"/>
                </a:moveTo>
                <a:lnTo>
                  <a:pt x="146050" y="0"/>
                </a:lnTo>
                <a:lnTo>
                  <a:pt x="146050" y="57150"/>
                </a:lnTo>
                <a:lnTo>
                  <a:pt x="0" y="96838"/>
                </a:lnTo>
                <a:close/>
              </a:path>
            </a:pathLst>
          </a:custGeom>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rgbClr val="006C67"/>
                </a:solidFill>
                <a:prstDash val="solid"/>
                <a:round/>
                <a:headEnd type="none" w="med" len="med"/>
                <a:tailEnd type="none" w="med" len="med"/>
              </a14:hiddenLine>
            </a:ext>
            <a:ext uri="{AF507438-7753-43E0-B8FC-AC1667EBCBE1}">
              <a14:hiddenEffects xmlns:a14="http://schemas.microsoft.com/office/drawing/2010/main">
                <a:effectLst>
                  <a:outerShdw blurRad="50800" dist="38100" dir="8100000" algn="tr" rotWithShape="0">
                    <a:prstClr val="black">
                      <a:alpha val="40000"/>
                    </a:prstClr>
                  </a:outerShdw>
                </a:effectLst>
              </a14:hiddenEffects>
            </a:ext>
          </a:ex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indent="-171450" algn="l">
              <a:buClr>
                <a:srgbClr val="006C67"/>
              </a:buClr>
              <a:buFont typeface="Wingdings" panose="05000000000000000000" pitchFamily="2" charset="2"/>
              <a:buChar char="§"/>
            </a:pPr>
            <a:endParaRPr lang="en-GB" sz="1200" dirty="0">
              <a:solidFill>
                <a:srgbClr val="000000"/>
              </a:solidFill>
            </a:endParaRPr>
          </a:p>
        </p:txBody>
      </p:sp>
      <p:sp>
        <p:nvSpPr>
          <p:cNvPr id="253" name="Freeform: Shape 252">
            <a:extLst>
              <a:ext uri="{FF2B5EF4-FFF2-40B4-BE49-F238E27FC236}">
                <a16:creationId xmlns:a16="http://schemas.microsoft.com/office/drawing/2014/main" id="{FA16DF86-54DC-276D-6D4D-B3A33ED813E2}"/>
              </a:ext>
            </a:extLst>
          </p:cNvPr>
          <p:cNvSpPr/>
          <p:nvPr>
            <p:custDataLst>
              <p:tags r:id="rId34"/>
            </p:custDataLst>
          </p:nvPr>
        </p:nvSpPr>
        <p:spPr bwMode="auto">
          <a:xfrm>
            <a:off x="8486775" y="5886450"/>
            <a:ext cx="146050" cy="39688"/>
          </a:xfrm>
          <a:custGeom>
            <a:avLst/>
            <a:gdLst/>
            <a:ahLst/>
            <a:cxnLst/>
            <a:rect l="0" t="0" r="0" b="0"/>
            <a:pathLst>
              <a:path w="146051" h="39689">
                <a:moveTo>
                  <a:pt x="0" y="39688"/>
                </a:moveTo>
                <a:lnTo>
                  <a:pt x="146050" y="0"/>
                </a:lnTo>
              </a:path>
            </a:pathLst>
          </a:custGeom>
          <a:ln w="9525" cap="rnd" cmpd="sng" algn="ctr">
            <a:solidFill>
              <a:srgbClr val="6E6F73"/>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4" name="Freeform: Shape 253">
            <a:extLst>
              <a:ext uri="{FF2B5EF4-FFF2-40B4-BE49-F238E27FC236}">
                <a16:creationId xmlns:a16="http://schemas.microsoft.com/office/drawing/2014/main" id="{1A38F194-50E5-0FF9-B8EE-8212BE4E9DCB}"/>
              </a:ext>
            </a:extLst>
          </p:cNvPr>
          <p:cNvSpPr/>
          <p:nvPr>
            <p:custDataLst>
              <p:tags r:id="rId35"/>
            </p:custDataLst>
          </p:nvPr>
        </p:nvSpPr>
        <p:spPr bwMode="auto">
          <a:xfrm>
            <a:off x="8486775" y="5943600"/>
            <a:ext cx="146050" cy="39688"/>
          </a:xfrm>
          <a:custGeom>
            <a:avLst/>
            <a:gdLst/>
            <a:ahLst/>
            <a:cxnLst/>
            <a:rect l="0" t="0" r="0" b="0"/>
            <a:pathLst>
              <a:path w="146051" h="39689">
                <a:moveTo>
                  <a:pt x="0" y="39688"/>
                </a:moveTo>
                <a:lnTo>
                  <a:pt x="146050" y="0"/>
                </a:lnTo>
              </a:path>
            </a:pathLst>
          </a:custGeom>
          <a:ln w="9525" cap="rnd" cmpd="sng" algn="ctr">
            <a:solidFill>
              <a:srgbClr val="6E6F73"/>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5" name="Text Placeholder 3">
            <a:extLst>
              <a:ext uri="{FF2B5EF4-FFF2-40B4-BE49-F238E27FC236}">
                <a16:creationId xmlns:a16="http://schemas.microsoft.com/office/drawing/2014/main" id="{1B8C7B7A-2A26-DB0A-E40A-14776545726D}"/>
              </a:ext>
            </a:extLst>
          </p:cNvPr>
          <p:cNvSpPr>
            <a:spLocks noGrp="1"/>
          </p:cNvSpPr>
          <p:nvPr>
            <p:custDataLst>
              <p:tags r:id="rId36"/>
            </p:custDataLst>
          </p:nvPr>
        </p:nvSpPr>
        <p:spPr bwMode="gray">
          <a:xfrm>
            <a:off x="8993188" y="5502275"/>
            <a:ext cx="28892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5557A7FD-95F5-4C47-860F-057E5220238A}" type="datetime'''2'''''''''''''''''''''',''34''1'''">
              <a:rPr lang="en-GB" altLang="en-US" sz="800" smtClean="0">
                <a:latin typeface="+mn-lt"/>
              </a:rPr>
              <a:pPr lvl="0" algn="ctr">
                <a:spcBef>
                  <a:spcPct val="0"/>
                </a:spcBef>
                <a:spcAft>
                  <a:spcPct val="0"/>
                </a:spcAft>
                <a:defRPr/>
              </a:pPr>
              <a:t>2,341</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76" name="Text Placeholder 3">
            <a:extLst>
              <a:ext uri="{FF2B5EF4-FFF2-40B4-BE49-F238E27FC236}">
                <a16:creationId xmlns:a16="http://schemas.microsoft.com/office/drawing/2014/main" id="{BDA4EE97-4D0B-9088-8B96-C27F811A009A}"/>
              </a:ext>
            </a:extLst>
          </p:cNvPr>
          <p:cNvSpPr>
            <a:spLocks noGrp="1"/>
          </p:cNvSpPr>
          <p:nvPr>
            <p:custDataLst>
              <p:tags r:id="rId37"/>
            </p:custDataLst>
          </p:nvPr>
        </p:nvSpPr>
        <p:spPr bwMode="gray">
          <a:xfrm>
            <a:off x="9571038" y="4465638"/>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215EC983-239A-4C59-A5EB-75B9DD1213A9}" type="datetime'''''''2'''''''',6''''''''22'''''''''''''''''''''''''''">
              <a:rPr lang="en-GB" altLang="en-US" sz="800" smtClean="0">
                <a:latin typeface="+mn-lt"/>
              </a:rPr>
              <a:pPr lvl="0" algn="ctr">
                <a:spcBef>
                  <a:spcPct val="0"/>
                </a:spcBef>
                <a:spcAft>
                  <a:spcPct val="0"/>
                </a:spcAft>
                <a:defRPr/>
              </a:pPr>
              <a:t>2,622</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77" name="Text Placeholder 3">
            <a:extLst>
              <a:ext uri="{FF2B5EF4-FFF2-40B4-BE49-F238E27FC236}">
                <a16:creationId xmlns:a16="http://schemas.microsoft.com/office/drawing/2014/main" id="{6B7CF4EA-3AF8-1CB2-348E-22FCDA4FB923}"/>
              </a:ext>
            </a:extLst>
          </p:cNvPr>
          <p:cNvSpPr>
            <a:spLocks noGrp="1"/>
          </p:cNvSpPr>
          <p:nvPr>
            <p:custDataLst>
              <p:tags r:id="rId38"/>
            </p:custDataLst>
          </p:nvPr>
        </p:nvSpPr>
        <p:spPr bwMode="gray">
          <a:xfrm>
            <a:off x="9571038" y="5318125"/>
            <a:ext cx="28892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AAAF2F9E-43DF-4930-B001-00FD58CE13B4}" type="datetime'''2'''''''''''''''''''''''''''''''''''',''''3''''''9''1'''''">
              <a:rPr lang="en-GB" altLang="en-US" sz="800" smtClean="0">
                <a:latin typeface="+mn-lt"/>
              </a:rPr>
              <a:pPr lvl="0" algn="ctr">
                <a:spcBef>
                  <a:spcPct val="0"/>
                </a:spcBef>
                <a:spcAft>
                  <a:spcPct val="0"/>
                </a:spcAft>
                <a:defRPr/>
              </a:pPr>
              <a:t>2,391</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78" name="Text Placeholder 3">
            <a:extLst>
              <a:ext uri="{FF2B5EF4-FFF2-40B4-BE49-F238E27FC236}">
                <a16:creationId xmlns:a16="http://schemas.microsoft.com/office/drawing/2014/main" id="{EFD1C200-19E3-EA8D-5A3C-04263ED5C6B0}"/>
              </a:ext>
            </a:extLst>
          </p:cNvPr>
          <p:cNvSpPr>
            <a:spLocks noGrp="1"/>
          </p:cNvSpPr>
          <p:nvPr>
            <p:custDataLst>
              <p:tags r:id="rId39"/>
            </p:custDataLst>
          </p:nvPr>
        </p:nvSpPr>
        <p:spPr bwMode="gray">
          <a:xfrm>
            <a:off x="10147300" y="4114800"/>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D6AF1A34-0BAA-43DE-B6DD-5D562826E705}" type="datetime'''''''''''2'''''''''''''',''''''7''''''''1''7'''''''''''">
              <a:rPr lang="en-GB" altLang="en-US" sz="800" smtClean="0">
                <a:latin typeface="+mn-lt"/>
              </a:rPr>
              <a:pPr lvl="0" algn="ctr">
                <a:spcBef>
                  <a:spcPct val="0"/>
                </a:spcBef>
                <a:spcAft>
                  <a:spcPct val="0"/>
                </a:spcAft>
                <a:defRPr/>
              </a:pPr>
              <a:t>2,717</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72" name="Text Placeholder 3">
            <a:extLst>
              <a:ext uri="{FF2B5EF4-FFF2-40B4-BE49-F238E27FC236}">
                <a16:creationId xmlns:a16="http://schemas.microsoft.com/office/drawing/2014/main" id="{791A60CC-E5E2-6794-5AD2-F6E6CDA94653}"/>
              </a:ext>
            </a:extLst>
          </p:cNvPr>
          <p:cNvSpPr>
            <a:spLocks noGrp="1"/>
          </p:cNvSpPr>
          <p:nvPr>
            <p:custDataLst>
              <p:tags r:id="rId40"/>
            </p:custDataLst>
          </p:nvPr>
        </p:nvSpPr>
        <p:spPr bwMode="gray">
          <a:xfrm>
            <a:off x="8585200" y="5129213"/>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EC158078-5432-4964-958E-8135D529DF3F}" type="datetime'''2'''''''''',''''''''4''4''''''''''''''2'''''''''">
              <a:rPr lang="en-GB" altLang="en-US" sz="800" smtClean="0">
                <a:effectLst/>
                <a:latin typeface="+mn-lt"/>
              </a:rPr>
              <a:pPr/>
              <a:t>2,442</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80" name="Text Placeholder 3">
            <a:extLst>
              <a:ext uri="{FF2B5EF4-FFF2-40B4-BE49-F238E27FC236}">
                <a16:creationId xmlns:a16="http://schemas.microsoft.com/office/drawing/2014/main" id="{79FB6DF9-3072-6BA4-D2C0-0A3A26888501}"/>
              </a:ext>
            </a:extLst>
          </p:cNvPr>
          <p:cNvSpPr>
            <a:spLocks noGrp="1"/>
          </p:cNvSpPr>
          <p:nvPr>
            <p:custDataLst>
              <p:tags r:id="rId41"/>
            </p:custDataLst>
          </p:nvPr>
        </p:nvSpPr>
        <p:spPr bwMode="gray">
          <a:xfrm>
            <a:off x="10725150" y="3754438"/>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6806AE9D-FA66-42E6-9545-D0C253F26952}" type="datetime'''''''''''2'''''''',''''''''''8''1''''''''''''''''''''5'">
              <a:rPr lang="en-GB" altLang="en-US" sz="800" smtClean="0">
                <a:latin typeface="+mn-lt"/>
              </a:rPr>
              <a:pPr lvl="0" algn="ctr">
                <a:spcBef>
                  <a:spcPct val="0"/>
                </a:spcBef>
                <a:spcAft>
                  <a:spcPct val="0"/>
                </a:spcAft>
                <a:defRPr/>
              </a:pPr>
              <a:t>2,815</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81" name="Text Placeholder 3">
            <a:extLst>
              <a:ext uri="{FF2B5EF4-FFF2-40B4-BE49-F238E27FC236}">
                <a16:creationId xmlns:a16="http://schemas.microsoft.com/office/drawing/2014/main" id="{5457D45E-C98D-3EBD-B7B8-6841787B9455}"/>
              </a:ext>
            </a:extLst>
          </p:cNvPr>
          <p:cNvSpPr>
            <a:spLocks noGrp="1"/>
          </p:cNvSpPr>
          <p:nvPr>
            <p:custDataLst>
              <p:tags r:id="rId42"/>
            </p:custDataLst>
          </p:nvPr>
        </p:nvSpPr>
        <p:spPr bwMode="gray">
          <a:xfrm>
            <a:off x="10725150" y="4937125"/>
            <a:ext cx="28892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C296276E-E640-4BA5-AB9A-D97B665699EF}" type="datetime'2'''''''',''''4''9''''''''''4'''''''''''''''''">
              <a:rPr lang="en-GB" altLang="en-US" sz="800" smtClean="0">
                <a:latin typeface="+mn-lt"/>
              </a:rPr>
              <a:pPr lvl="0" algn="ctr">
                <a:spcBef>
                  <a:spcPct val="0"/>
                </a:spcBef>
                <a:spcAft>
                  <a:spcPct val="0"/>
                </a:spcAft>
                <a:defRPr/>
              </a:pPr>
              <a:t>2,494</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82" name="Text Placeholder 3">
            <a:extLst>
              <a:ext uri="{FF2B5EF4-FFF2-40B4-BE49-F238E27FC236}">
                <a16:creationId xmlns:a16="http://schemas.microsoft.com/office/drawing/2014/main" id="{3E5CA4DF-52D0-BDEE-589F-9516A4FBDA50}"/>
              </a:ext>
            </a:extLst>
          </p:cNvPr>
          <p:cNvSpPr>
            <a:spLocks noGrp="1"/>
          </p:cNvSpPr>
          <p:nvPr>
            <p:custDataLst>
              <p:tags r:id="rId43"/>
            </p:custDataLst>
          </p:nvPr>
        </p:nvSpPr>
        <p:spPr bwMode="gray">
          <a:xfrm>
            <a:off x="11303000" y="3389313"/>
            <a:ext cx="28892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275703A0-BC14-4ED5-8928-36E0B4DC1409}" type="datetime'''''''2,''''''''''''''''''''''9''''''''''''''1''4'">
              <a:rPr lang="en-GB" altLang="en-US" sz="800" smtClean="0">
                <a:latin typeface="+mn-lt"/>
              </a:rPr>
              <a:pPr lvl="0" algn="ctr">
                <a:spcBef>
                  <a:spcPct val="0"/>
                </a:spcBef>
                <a:spcAft>
                  <a:spcPct val="0"/>
                </a:spcAft>
                <a:defRPr/>
              </a:pPr>
              <a:t>2,914</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83" name="Text Placeholder 3">
            <a:extLst>
              <a:ext uri="{FF2B5EF4-FFF2-40B4-BE49-F238E27FC236}">
                <a16:creationId xmlns:a16="http://schemas.microsoft.com/office/drawing/2014/main" id="{39DB0D33-7CD2-B100-2A54-36C1B2B0DBB9}"/>
              </a:ext>
            </a:extLst>
          </p:cNvPr>
          <p:cNvSpPr>
            <a:spLocks noGrp="1"/>
          </p:cNvSpPr>
          <p:nvPr>
            <p:custDataLst>
              <p:tags r:id="rId44"/>
            </p:custDataLst>
          </p:nvPr>
        </p:nvSpPr>
        <p:spPr bwMode="gray">
          <a:xfrm>
            <a:off x="11303000" y="4738688"/>
            <a:ext cx="28892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BCD49987-9D5B-470F-887A-0D135204129D}" type="datetime'''''''''''2'''''''''''''''''''''''''''''''',''''548'''''''''''">
              <a:rPr lang="en-GB" altLang="en-US" sz="800" smtClean="0">
                <a:latin typeface="+mn-lt"/>
              </a:rPr>
              <a:pPr lvl="0" algn="ctr">
                <a:spcBef>
                  <a:spcPct val="0"/>
                </a:spcBef>
                <a:spcAft>
                  <a:spcPct val="0"/>
                </a:spcAft>
                <a:defRPr/>
              </a:pPr>
              <a:t>2,548</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73" name="Text Placeholder 3">
            <a:extLst>
              <a:ext uri="{FF2B5EF4-FFF2-40B4-BE49-F238E27FC236}">
                <a16:creationId xmlns:a16="http://schemas.microsoft.com/office/drawing/2014/main" id="{2DFE27BD-8576-6007-9BD2-3D08EE2F691F}"/>
              </a:ext>
            </a:extLst>
          </p:cNvPr>
          <p:cNvSpPr>
            <a:spLocks noGrp="1"/>
          </p:cNvSpPr>
          <p:nvPr>
            <p:custDataLst>
              <p:tags r:id="rId45"/>
            </p:custDataLst>
          </p:nvPr>
        </p:nvSpPr>
        <p:spPr bwMode="gray">
          <a:xfrm>
            <a:off x="8585200" y="5686425"/>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8F6E0CD3-018D-4832-9776-4861983E577B}" type="datetime'2'''''''''',''''''''''2''''''''''9''1'''''">
              <a:rPr lang="en-GB" altLang="en-US" sz="800" smtClean="0">
                <a:latin typeface="+mn-lt"/>
              </a:rPr>
              <a:pPr lvl="0" algn="ctr">
                <a:spcBef>
                  <a:spcPct val="0"/>
                </a:spcBef>
                <a:spcAft>
                  <a:spcPct val="0"/>
                </a:spcAft>
                <a:defRPr/>
              </a:pPr>
              <a:t>2,291</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74" name="Text Placeholder 3">
            <a:extLst>
              <a:ext uri="{FF2B5EF4-FFF2-40B4-BE49-F238E27FC236}">
                <a16:creationId xmlns:a16="http://schemas.microsoft.com/office/drawing/2014/main" id="{1787A83F-3F4E-2F3C-090E-4107BA9C5C3A}"/>
              </a:ext>
            </a:extLst>
          </p:cNvPr>
          <p:cNvSpPr>
            <a:spLocks noGrp="1"/>
          </p:cNvSpPr>
          <p:nvPr>
            <p:custDataLst>
              <p:tags r:id="rId46"/>
            </p:custDataLst>
          </p:nvPr>
        </p:nvSpPr>
        <p:spPr bwMode="gray">
          <a:xfrm>
            <a:off x="8993188" y="4805363"/>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0034122B-8495-4676-850B-F2EC16B0D2CA}" type="datetime'''2,''''''''''''''5''3''''''''''''''0'">
              <a:rPr lang="en-GB" altLang="en-US" sz="800" smtClean="0">
                <a:latin typeface="+mn-lt"/>
              </a:rPr>
              <a:pPr lvl="0" algn="ctr">
                <a:spcBef>
                  <a:spcPct val="0"/>
                </a:spcBef>
                <a:spcAft>
                  <a:spcPct val="0"/>
                </a:spcAft>
                <a:defRPr/>
              </a:pPr>
              <a:t>2,53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79" name="Text Placeholder 3">
            <a:extLst>
              <a:ext uri="{FF2B5EF4-FFF2-40B4-BE49-F238E27FC236}">
                <a16:creationId xmlns:a16="http://schemas.microsoft.com/office/drawing/2014/main" id="{F775B4A4-F70F-4FBB-B978-52D1E4A0989D}"/>
              </a:ext>
            </a:extLst>
          </p:cNvPr>
          <p:cNvSpPr>
            <a:spLocks noGrp="1"/>
          </p:cNvSpPr>
          <p:nvPr>
            <p:custDataLst>
              <p:tags r:id="rId47"/>
            </p:custDataLst>
          </p:nvPr>
        </p:nvSpPr>
        <p:spPr bwMode="gray">
          <a:xfrm>
            <a:off x="10147300" y="5129213"/>
            <a:ext cx="28892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C3FDD3B3-2A17-4FB1-8ADD-79828AEAF196}" type="datetime'''''''2'''''''''''''',''''''''''4''''''''''''4''''''''''''2'">
              <a:rPr lang="en-GB" altLang="en-US" sz="800" smtClean="0">
                <a:latin typeface="+mn-lt"/>
              </a:rPr>
              <a:pPr lvl="0" algn="ctr">
                <a:spcBef>
                  <a:spcPct val="0"/>
                </a:spcBef>
                <a:spcAft>
                  <a:spcPct val="0"/>
                </a:spcAft>
                <a:defRPr/>
              </a:pPr>
              <a:t>2,442</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cxnSp>
        <p:nvCxnSpPr>
          <p:cNvPr id="184" name="Straight Arrow Connector 183">
            <a:extLst>
              <a:ext uri="{FF2B5EF4-FFF2-40B4-BE49-F238E27FC236}">
                <a16:creationId xmlns:a16="http://schemas.microsoft.com/office/drawing/2014/main" id="{B8E14ED5-A36B-6DEC-4A15-A1DDF6A7D3F1}"/>
              </a:ext>
            </a:extLst>
          </p:cNvPr>
          <p:cNvCxnSpPr>
            <a:cxnSpLocks/>
          </p:cNvCxnSpPr>
          <p:nvPr/>
        </p:nvCxnSpPr>
        <p:spPr>
          <a:xfrm flipV="1">
            <a:off x="8756650" y="5230813"/>
            <a:ext cx="7938" cy="457200"/>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BD240668-8173-0DE6-FB21-7BAF99A382A4}"/>
              </a:ext>
            </a:extLst>
          </p:cNvPr>
          <p:cNvCxnSpPr>
            <a:cxnSpLocks/>
          </p:cNvCxnSpPr>
          <p:nvPr/>
        </p:nvCxnSpPr>
        <p:spPr>
          <a:xfrm flipH="1" flipV="1">
            <a:off x="9193213" y="5013325"/>
            <a:ext cx="1588" cy="457200"/>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8B52D578-CAF6-CFD7-E9B7-E4409D66C2DD}"/>
              </a:ext>
            </a:extLst>
          </p:cNvPr>
          <p:cNvSpPr>
            <a:spLocks/>
          </p:cNvSpPr>
          <p:nvPr/>
        </p:nvSpPr>
        <p:spPr>
          <a:xfrm>
            <a:off x="9064625" y="5141913"/>
            <a:ext cx="258763" cy="228600"/>
          </a:xfrm>
          <a:prstGeom prst="ellipse">
            <a:avLst/>
          </a:prstGeom>
          <a:solidFill>
            <a:schemeClr val="bg1"/>
          </a:solidFill>
          <a:ln w="12700" cap="rnd" cmpd="sng" algn="ctr">
            <a:solidFill>
              <a:schemeClr val="tx1"/>
            </a:solidFill>
            <a:prstDash val="solid"/>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
                <a:srgbClr val="006C67"/>
              </a:buClr>
              <a:buSzTx/>
              <a:buFontTx/>
              <a:buNone/>
              <a:tabLst/>
              <a:defRPr/>
            </a:pPr>
            <a:r>
              <a:rPr kumimoji="0" lang="en-US" sz="700" b="1" i="0" u="none" strike="noStrike" kern="1200" cap="none" spc="0" normalizeH="0" baseline="0" noProof="0">
                <a:ln>
                  <a:noFill/>
                </a:ln>
                <a:solidFill>
                  <a:srgbClr val="000000"/>
                </a:solidFill>
                <a:effectLst/>
                <a:uLnTx/>
                <a:uFillTx/>
                <a:latin typeface="Trebuchet MS"/>
                <a:ea typeface="+mn-ea"/>
                <a:cs typeface="+mn-cs"/>
              </a:rPr>
              <a:t>189</a:t>
            </a:r>
          </a:p>
        </p:txBody>
      </p:sp>
      <p:sp>
        <p:nvSpPr>
          <p:cNvPr id="187" name="Oval 186">
            <a:extLst>
              <a:ext uri="{FF2B5EF4-FFF2-40B4-BE49-F238E27FC236}">
                <a16:creationId xmlns:a16="http://schemas.microsoft.com/office/drawing/2014/main" id="{E1879C51-65DF-7120-B293-E4458C6C157F}"/>
              </a:ext>
            </a:extLst>
          </p:cNvPr>
          <p:cNvSpPr>
            <a:spLocks/>
          </p:cNvSpPr>
          <p:nvPr/>
        </p:nvSpPr>
        <p:spPr>
          <a:xfrm>
            <a:off x="8643938" y="5387975"/>
            <a:ext cx="258763" cy="228600"/>
          </a:xfrm>
          <a:prstGeom prst="ellipse">
            <a:avLst/>
          </a:prstGeom>
          <a:solidFill>
            <a:schemeClr val="bg1"/>
          </a:solidFill>
          <a:ln w="12700" cap="rnd" cmpd="sng" algn="ctr">
            <a:solidFill>
              <a:schemeClr val="tx1"/>
            </a:solidFill>
            <a:prstDash val="solid"/>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
                <a:srgbClr val="006C67"/>
              </a:buClr>
              <a:buSzTx/>
              <a:buFontTx/>
              <a:buNone/>
              <a:tabLst/>
              <a:defRPr/>
            </a:pPr>
            <a:r>
              <a:rPr kumimoji="0" lang="en-US" sz="700" b="1" i="0" u="none" strike="noStrike" kern="1200" cap="none" spc="0" normalizeH="0" baseline="0" noProof="0" dirty="0">
                <a:ln>
                  <a:noFill/>
                </a:ln>
                <a:solidFill>
                  <a:srgbClr val="000000"/>
                </a:solidFill>
                <a:effectLst/>
                <a:uLnTx/>
                <a:uFillTx/>
                <a:latin typeface="Trebuchet MS"/>
                <a:ea typeface="+mn-ea"/>
                <a:cs typeface="+mn-cs"/>
              </a:rPr>
              <a:t>151</a:t>
            </a:r>
          </a:p>
        </p:txBody>
      </p:sp>
      <p:cxnSp>
        <p:nvCxnSpPr>
          <p:cNvPr id="188" name="Straight Arrow Connector 187">
            <a:extLst>
              <a:ext uri="{FF2B5EF4-FFF2-40B4-BE49-F238E27FC236}">
                <a16:creationId xmlns:a16="http://schemas.microsoft.com/office/drawing/2014/main" id="{6FBCF3F8-12F2-D232-4DBB-44BBAAD0EC1E}"/>
              </a:ext>
            </a:extLst>
          </p:cNvPr>
          <p:cNvCxnSpPr>
            <a:cxnSpLocks/>
          </p:cNvCxnSpPr>
          <p:nvPr/>
        </p:nvCxnSpPr>
        <p:spPr>
          <a:xfrm flipV="1">
            <a:off x="9737725" y="4743450"/>
            <a:ext cx="0" cy="547688"/>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89" name="Oval 188">
            <a:extLst>
              <a:ext uri="{FF2B5EF4-FFF2-40B4-BE49-F238E27FC236}">
                <a16:creationId xmlns:a16="http://schemas.microsoft.com/office/drawing/2014/main" id="{B575E4F2-6D8B-F557-AE0C-1C1DBADCA481}"/>
              </a:ext>
            </a:extLst>
          </p:cNvPr>
          <p:cNvSpPr>
            <a:spLocks/>
          </p:cNvSpPr>
          <p:nvPr/>
        </p:nvSpPr>
        <p:spPr>
          <a:xfrm>
            <a:off x="9607550" y="4919663"/>
            <a:ext cx="258763" cy="228600"/>
          </a:xfrm>
          <a:prstGeom prst="ellipse">
            <a:avLst/>
          </a:prstGeom>
          <a:solidFill>
            <a:schemeClr val="bg1"/>
          </a:solidFill>
          <a:ln w="12700" cap="rnd" cmpd="sng" algn="ctr">
            <a:solidFill>
              <a:schemeClr val="tx1"/>
            </a:solidFill>
            <a:prstDash val="solid"/>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
                <a:srgbClr val="006C67"/>
              </a:buClr>
              <a:buSzTx/>
              <a:buFontTx/>
              <a:buNone/>
              <a:tabLst/>
              <a:defRPr/>
            </a:pPr>
            <a:r>
              <a:rPr kumimoji="0" lang="en-US" sz="700" b="1" i="0" u="none" strike="noStrike" kern="1200" cap="none" spc="0" normalizeH="0" baseline="0" noProof="0" dirty="0">
                <a:ln>
                  <a:noFill/>
                </a:ln>
                <a:solidFill>
                  <a:srgbClr val="000000"/>
                </a:solidFill>
                <a:effectLst/>
                <a:uLnTx/>
                <a:uFillTx/>
                <a:latin typeface="Trebuchet MS"/>
                <a:ea typeface="+mn-ea"/>
                <a:cs typeface="+mn-cs"/>
              </a:rPr>
              <a:t>231</a:t>
            </a:r>
          </a:p>
        </p:txBody>
      </p:sp>
      <p:cxnSp>
        <p:nvCxnSpPr>
          <p:cNvPr id="190" name="Straight Arrow Connector 189">
            <a:extLst>
              <a:ext uri="{FF2B5EF4-FFF2-40B4-BE49-F238E27FC236}">
                <a16:creationId xmlns:a16="http://schemas.microsoft.com/office/drawing/2014/main" id="{8F97D267-2B49-5D1A-FFCE-A87701E36D1A}"/>
              </a:ext>
            </a:extLst>
          </p:cNvPr>
          <p:cNvCxnSpPr>
            <a:cxnSpLocks/>
          </p:cNvCxnSpPr>
          <p:nvPr/>
        </p:nvCxnSpPr>
        <p:spPr>
          <a:xfrm flipV="1">
            <a:off x="10329863" y="4421188"/>
            <a:ext cx="0" cy="639763"/>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91" name="Oval 190">
            <a:extLst>
              <a:ext uri="{FF2B5EF4-FFF2-40B4-BE49-F238E27FC236}">
                <a16:creationId xmlns:a16="http://schemas.microsoft.com/office/drawing/2014/main" id="{B362BA1C-46D5-0815-0C64-540BEE04C429}"/>
              </a:ext>
            </a:extLst>
          </p:cNvPr>
          <p:cNvSpPr>
            <a:spLocks/>
          </p:cNvSpPr>
          <p:nvPr/>
        </p:nvSpPr>
        <p:spPr>
          <a:xfrm>
            <a:off x="10199688" y="4625975"/>
            <a:ext cx="258763" cy="228600"/>
          </a:xfrm>
          <a:prstGeom prst="ellipse">
            <a:avLst/>
          </a:prstGeom>
          <a:solidFill>
            <a:schemeClr val="bg1"/>
          </a:solidFill>
          <a:ln w="12700" cap="rnd" cmpd="sng" algn="ctr">
            <a:solidFill>
              <a:schemeClr val="tx1"/>
            </a:solidFill>
            <a:prstDash val="solid"/>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
                <a:srgbClr val="006C67"/>
              </a:buClr>
              <a:buSzTx/>
              <a:buFontTx/>
              <a:buNone/>
              <a:tabLst/>
              <a:defRPr/>
            </a:pPr>
            <a:r>
              <a:rPr kumimoji="0" lang="en-US" sz="700" b="1" i="0" u="none" strike="noStrike" kern="1200" cap="none" spc="0" normalizeH="0" baseline="0" noProof="0">
                <a:ln>
                  <a:noFill/>
                </a:ln>
                <a:solidFill>
                  <a:srgbClr val="000000"/>
                </a:solidFill>
                <a:effectLst/>
                <a:uLnTx/>
                <a:uFillTx/>
                <a:latin typeface="Trebuchet MS"/>
                <a:ea typeface="+mn-ea"/>
                <a:cs typeface="+mn-cs"/>
              </a:rPr>
              <a:t>275</a:t>
            </a:r>
          </a:p>
        </p:txBody>
      </p:sp>
      <p:cxnSp>
        <p:nvCxnSpPr>
          <p:cNvPr id="192" name="Straight Arrow Connector 191">
            <a:extLst>
              <a:ext uri="{FF2B5EF4-FFF2-40B4-BE49-F238E27FC236}">
                <a16:creationId xmlns:a16="http://schemas.microsoft.com/office/drawing/2014/main" id="{D9E1D3C4-BB17-677B-1598-73E37AB1A382}"/>
              </a:ext>
            </a:extLst>
          </p:cNvPr>
          <p:cNvCxnSpPr>
            <a:cxnSpLocks/>
          </p:cNvCxnSpPr>
          <p:nvPr/>
        </p:nvCxnSpPr>
        <p:spPr>
          <a:xfrm flipH="1" flipV="1">
            <a:off x="10895013" y="4016375"/>
            <a:ext cx="0" cy="823913"/>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8E4760FB-8004-F42D-3227-EDE53F9ED08A}"/>
              </a:ext>
            </a:extLst>
          </p:cNvPr>
          <p:cNvSpPr>
            <a:spLocks/>
          </p:cNvSpPr>
          <p:nvPr/>
        </p:nvSpPr>
        <p:spPr>
          <a:xfrm>
            <a:off x="10766425" y="4337050"/>
            <a:ext cx="258763" cy="228600"/>
          </a:xfrm>
          <a:prstGeom prst="ellipse">
            <a:avLst/>
          </a:prstGeom>
          <a:solidFill>
            <a:schemeClr val="bg1"/>
          </a:solidFill>
          <a:ln w="12700" cap="rnd" cmpd="sng" algn="ctr">
            <a:solidFill>
              <a:schemeClr val="tx1"/>
            </a:solidFill>
            <a:prstDash val="solid"/>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
                <a:srgbClr val="006C67"/>
              </a:buClr>
              <a:buSzTx/>
              <a:buFontTx/>
              <a:buNone/>
              <a:tabLst/>
              <a:defRPr/>
            </a:pPr>
            <a:r>
              <a:rPr kumimoji="0" lang="en-US" sz="700" b="1" i="0" u="none" strike="noStrike" kern="1200" cap="none" spc="0" normalizeH="0" baseline="0" noProof="0">
                <a:ln>
                  <a:noFill/>
                </a:ln>
                <a:solidFill>
                  <a:srgbClr val="000000"/>
                </a:solidFill>
                <a:effectLst/>
                <a:uLnTx/>
                <a:uFillTx/>
                <a:latin typeface="Trebuchet MS"/>
                <a:ea typeface="+mn-ea"/>
                <a:cs typeface="+mn-cs"/>
              </a:rPr>
              <a:t>321</a:t>
            </a:r>
          </a:p>
        </p:txBody>
      </p:sp>
      <p:cxnSp>
        <p:nvCxnSpPr>
          <p:cNvPr id="194" name="Straight Arrow Connector 193">
            <a:extLst>
              <a:ext uri="{FF2B5EF4-FFF2-40B4-BE49-F238E27FC236}">
                <a16:creationId xmlns:a16="http://schemas.microsoft.com/office/drawing/2014/main" id="{0811F84E-9E37-8F19-E3C3-B46FDEDB5628}"/>
              </a:ext>
            </a:extLst>
          </p:cNvPr>
          <p:cNvCxnSpPr>
            <a:cxnSpLocks/>
          </p:cNvCxnSpPr>
          <p:nvPr/>
        </p:nvCxnSpPr>
        <p:spPr>
          <a:xfrm flipV="1">
            <a:off x="11447463" y="3611563"/>
            <a:ext cx="0" cy="1004888"/>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95" name="Oval 194">
            <a:extLst>
              <a:ext uri="{FF2B5EF4-FFF2-40B4-BE49-F238E27FC236}">
                <a16:creationId xmlns:a16="http://schemas.microsoft.com/office/drawing/2014/main" id="{7AEE303C-6A68-0C77-4312-3B5A5427CDE3}"/>
              </a:ext>
            </a:extLst>
          </p:cNvPr>
          <p:cNvSpPr>
            <a:spLocks/>
          </p:cNvSpPr>
          <p:nvPr/>
        </p:nvSpPr>
        <p:spPr>
          <a:xfrm>
            <a:off x="11318875" y="3973513"/>
            <a:ext cx="258763" cy="228600"/>
          </a:xfrm>
          <a:prstGeom prst="ellipse">
            <a:avLst/>
          </a:prstGeom>
          <a:solidFill>
            <a:schemeClr val="bg1"/>
          </a:solidFill>
          <a:ln w="12700" cap="rnd" cmpd="sng" algn="ctr">
            <a:solidFill>
              <a:schemeClr val="tx1"/>
            </a:solidFill>
            <a:prstDash val="solid"/>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
                <a:srgbClr val="006C67"/>
              </a:buClr>
              <a:buSzTx/>
              <a:buFontTx/>
              <a:buNone/>
              <a:tabLst/>
              <a:defRPr/>
            </a:pPr>
            <a:r>
              <a:rPr kumimoji="0" lang="en-US" sz="700" b="1" i="0" u="none" strike="noStrike" kern="1200" cap="none" spc="0" normalizeH="0" baseline="0" noProof="0">
                <a:ln>
                  <a:noFill/>
                </a:ln>
                <a:solidFill>
                  <a:srgbClr val="000000"/>
                </a:solidFill>
                <a:effectLst/>
                <a:uLnTx/>
                <a:uFillTx/>
                <a:latin typeface="Trebuchet MS"/>
                <a:ea typeface="+mn-ea"/>
                <a:cs typeface="+mn-cs"/>
              </a:rPr>
              <a:t>365</a:t>
            </a:r>
          </a:p>
        </p:txBody>
      </p:sp>
      <p:sp>
        <p:nvSpPr>
          <p:cNvPr id="216" name="TextBox 215">
            <a:extLst>
              <a:ext uri="{FF2B5EF4-FFF2-40B4-BE49-F238E27FC236}">
                <a16:creationId xmlns:a16="http://schemas.microsoft.com/office/drawing/2014/main" id="{325E3F98-F089-3977-FC26-8FC52490CED5}"/>
              </a:ext>
            </a:extLst>
          </p:cNvPr>
          <p:cNvSpPr txBox="1"/>
          <p:nvPr/>
        </p:nvSpPr>
        <p:spPr>
          <a:xfrm>
            <a:off x="7934325" y="2641600"/>
            <a:ext cx="3725863" cy="6000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4C48"/>
                </a:solidFill>
                <a:effectLst/>
                <a:uLnTx/>
                <a:uFillTx/>
                <a:latin typeface="Trebuchet MS"/>
              </a:rPr>
              <a:t>Supply and demand of housing </a:t>
            </a:r>
            <a:r>
              <a:rPr lang="en-GB" sz="1100" b="1" dirty="0">
                <a:solidFill>
                  <a:srgbClr val="004C48"/>
                </a:solidFill>
                <a:latin typeface="Trebuchet MS"/>
              </a:rPr>
              <a:t>u</a:t>
            </a:r>
            <a:r>
              <a:rPr kumimoji="0" lang="en-GB" sz="1100" b="1" i="0" u="none" strike="noStrike" kern="1200" cap="none" spc="0" normalizeH="0" baseline="0" noProof="0" dirty="0">
                <a:ln>
                  <a:noFill/>
                </a:ln>
                <a:solidFill>
                  <a:srgbClr val="004C48"/>
                </a:solidFill>
                <a:effectLst/>
                <a:uLnTx/>
                <a:uFillTx/>
                <a:latin typeface="Trebuchet MS"/>
              </a:rPr>
              <a:t>nits, Riyadh, 2025-2030</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35353"/>
                </a:solidFill>
                <a:effectLst/>
                <a:uLnTx/>
                <a:uFillTx/>
                <a:latin typeface="Trebuchet MS"/>
              </a:rPr>
              <a:t>[# of housing units, thousands]</a:t>
            </a:r>
          </a:p>
        </p:txBody>
      </p:sp>
      <p:sp>
        <p:nvSpPr>
          <p:cNvPr id="266" name="Rectangle 265">
            <a:extLst>
              <a:ext uri="{FF2B5EF4-FFF2-40B4-BE49-F238E27FC236}">
                <a16:creationId xmlns:a16="http://schemas.microsoft.com/office/drawing/2014/main" id="{F6E7A2F8-846B-B90C-61ED-3D6B6937D34E}"/>
              </a:ext>
            </a:extLst>
          </p:cNvPr>
          <p:cNvSpPr/>
          <p:nvPr/>
        </p:nvSpPr>
        <p:spPr>
          <a:xfrm>
            <a:off x="7454900" y="1443038"/>
            <a:ext cx="349250" cy="5124450"/>
          </a:xfrm>
          <a:custGeom>
            <a:avLst/>
            <a:gdLst>
              <a:gd name="connsiteX0" fmla="*/ 0 w 353391"/>
              <a:gd name="connsiteY0" fmla="*/ 0 h 5124173"/>
              <a:gd name="connsiteX1" fmla="*/ 353391 w 353391"/>
              <a:gd name="connsiteY1" fmla="*/ 0 h 5124173"/>
              <a:gd name="connsiteX2" fmla="*/ 353391 w 353391"/>
              <a:gd name="connsiteY2" fmla="*/ 5124173 h 5124173"/>
              <a:gd name="connsiteX3" fmla="*/ 0 w 353391"/>
              <a:gd name="connsiteY3" fmla="*/ 5124173 h 5124173"/>
              <a:gd name="connsiteX4" fmla="*/ 0 w 353391"/>
              <a:gd name="connsiteY4" fmla="*/ 0 h 5124173"/>
              <a:gd name="connsiteX0" fmla="*/ 0 w 353391"/>
              <a:gd name="connsiteY0" fmla="*/ 0 h 5124173"/>
              <a:gd name="connsiteX1" fmla="*/ 353391 w 353391"/>
              <a:gd name="connsiteY1" fmla="*/ 0 h 5124173"/>
              <a:gd name="connsiteX2" fmla="*/ 353391 w 353391"/>
              <a:gd name="connsiteY2" fmla="*/ 5124173 h 5124173"/>
              <a:gd name="connsiteX3" fmla="*/ 4418 w 353391"/>
              <a:gd name="connsiteY3" fmla="*/ 2495825 h 5124173"/>
              <a:gd name="connsiteX4" fmla="*/ 0 w 353391"/>
              <a:gd name="connsiteY4" fmla="*/ 0 h 5124173"/>
              <a:gd name="connsiteX0" fmla="*/ 17745 w 349049"/>
              <a:gd name="connsiteY0" fmla="*/ 88348 h 5124173"/>
              <a:gd name="connsiteX1" fmla="*/ 349049 w 349049"/>
              <a:gd name="connsiteY1" fmla="*/ 0 h 5124173"/>
              <a:gd name="connsiteX2" fmla="*/ 349049 w 349049"/>
              <a:gd name="connsiteY2" fmla="*/ 5124173 h 5124173"/>
              <a:gd name="connsiteX3" fmla="*/ 76 w 349049"/>
              <a:gd name="connsiteY3" fmla="*/ 2495825 h 5124173"/>
              <a:gd name="connsiteX4" fmla="*/ 17745 w 349049"/>
              <a:gd name="connsiteY4" fmla="*/ 88348 h 5124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049" h="5124173">
                <a:moveTo>
                  <a:pt x="17745" y="88348"/>
                </a:moveTo>
                <a:lnTo>
                  <a:pt x="349049" y="0"/>
                </a:lnTo>
                <a:lnTo>
                  <a:pt x="349049" y="5124173"/>
                </a:lnTo>
                <a:lnTo>
                  <a:pt x="76" y="2495825"/>
                </a:lnTo>
                <a:cubicBezTo>
                  <a:pt x="-1397" y="1663883"/>
                  <a:pt x="19218" y="920290"/>
                  <a:pt x="17745" y="88348"/>
                </a:cubicBezTo>
                <a:close/>
              </a:path>
            </a:pathLst>
          </a:custGeom>
          <a:gradFill flip="none" rotWithShape="1">
            <a:gsLst>
              <a:gs pos="6322">
                <a:schemeClr val="tx1">
                  <a:lumMod val="75000"/>
                  <a:lumOff val="25000"/>
                </a:schemeClr>
              </a:gs>
              <a:gs pos="62000">
                <a:schemeClr val="bg2">
                  <a:lumMod val="50000"/>
                  <a:alpha val="57000"/>
                </a:schemeClr>
              </a:gs>
              <a:gs pos="100000">
                <a:schemeClr val="bg1">
                  <a:lumMod val="95000"/>
                </a:schemeClr>
              </a:gs>
            </a:gsLst>
            <a:lin ang="0" scaled="1"/>
            <a:tileRect/>
          </a:gra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indent="-171450" algn="l">
              <a:buClr>
                <a:srgbClr val="006C67"/>
              </a:buClr>
              <a:buFont typeface="Wingdings" panose="05000000000000000000" pitchFamily="2" charset="2"/>
              <a:buChar char="§"/>
            </a:pPr>
            <a:endParaRPr lang="en-GB" sz="1200" dirty="0">
              <a:solidFill>
                <a:srgbClr val="000000"/>
              </a:solidFill>
            </a:endParaRPr>
          </a:p>
        </p:txBody>
      </p:sp>
      <p:sp>
        <p:nvSpPr>
          <p:cNvPr id="267" name="Graphic 3">
            <a:extLst>
              <a:ext uri="{FF2B5EF4-FFF2-40B4-BE49-F238E27FC236}">
                <a16:creationId xmlns:a16="http://schemas.microsoft.com/office/drawing/2014/main" id="{3E303C74-785F-1575-3AFD-6DC0C6A3162B}"/>
              </a:ext>
            </a:extLst>
          </p:cNvPr>
          <p:cNvSpPr>
            <a:spLocks/>
          </p:cNvSpPr>
          <p:nvPr/>
        </p:nvSpPr>
        <p:spPr>
          <a:xfrm>
            <a:off x="3790950" y="541338"/>
            <a:ext cx="2290763" cy="800100"/>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100" b="1" i="0" u="none" strike="noStrike" kern="1200" cap="none" spc="0" normalizeH="0" baseline="0" noProof="0" dirty="0">
                <a:solidFill>
                  <a:schemeClr val="bg1"/>
                </a:solidFill>
                <a:effectLst/>
                <a:uLnTx/>
                <a:uFillTx/>
                <a:latin typeface="Trebuchet MS"/>
                <a:ea typeface="+mn-ea"/>
                <a:cs typeface="+mn-cs"/>
              </a:rPr>
              <a:t>Historic (medium to long term)</a:t>
            </a:r>
            <a:endParaRPr kumimoji="0" lang="en-US" sz="1100" b="0" i="1" u="none" strike="noStrike" kern="1200" cap="none" spc="0" normalizeH="0" baseline="0" noProof="0" dirty="0">
              <a:solidFill>
                <a:schemeClr val="bg1"/>
              </a:solidFill>
              <a:effectLst/>
              <a:uLnTx/>
              <a:uFillTx/>
              <a:latin typeface="Trebuchet MS"/>
              <a:ea typeface="+mn-ea"/>
              <a:cs typeface="+mn-cs"/>
            </a:endParaRPr>
          </a:p>
        </p:txBody>
      </p:sp>
      <p:sp>
        <p:nvSpPr>
          <p:cNvPr id="268" name="Graphic 3">
            <a:extLst>
              <a:ext uri="{FF2B5EF4-FFF2-40B4-BE49-F238E27FC236}">
                <a16:creationId xmlns:a16="http://schemas.microsoft.com/office/drawing/2014/main" id="{51547514-6F6F-475E-72A9-8D9E1D9181DC}"/>
              </a:ext>
            </a:extLst>
          </p:cNvPr>
          <p:cNvSpPr>
            <a:spLocks/>
          </p:cNvSpPr>
          <p:nvPr/>
        </p:nvSpPr>
        <p:spPr>
          <a:xfrm>
            <a:off x="6223000" y="546100"/>
            <a:ext cx="1174750" cy="793750"/>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100" b="1" i="0" u="none" strike="noStrike" kern="1200" cap="none" spc="0" normalizeH="0" baseline="0" noProof="0" dirty="0">
                <a:solidFill>
                  <a:schemeClr val="bg1"/>
                </a:solidFill>
                <a:effectLst/>
                <a:uLnTx/>
                <a:uFillTx/>
                <a:latin typeface="Trebuchet MS"/>
                <a:ea typeface="+mn-ea"/>
                <a:cs typeface="+mn-cs"/>
              </a:rPr>
              <a:t>Historic (short term – 12 months)</a:t>
            </a:r>
            <a:endParaRPr kumimoji="0" lang="en-US" sz="1100" b="0" i="1" u="none" strike="noStrike" kern="1200" cap="none" spc="0" normalizeH="0" baseline="0" noProof="0" dirty="0">
              <a:solidFill>
                <a:schemeClr val="bg1"/>
              </a:solidFill>
              <a:effectLst/>
              <a:uLnTx/>
              <a:uFillTx/>
              <a:latin typeface="Trebuchet MS"/>
              <a:ea typeface="+mn-ea"/>
              <a:cs typeface="+mn-cs"/>
            </a:endParaRPr>
          </a:p>
        </p:txBody>
      </p:sp>
      <p:sp>
        <p:nvSpPr>
          <p:cNvPr id="269" name="Graphic 3">
            <a:extLst>
              <a:ext uri="{FF2B5EF4-FFF2-40B4-BE49-F238E27FC236}">
                <a16:creationId xmlns:a16="http://schemas.microsoft.com/office/drawing/2014/main" id="{0693A750-E90B-0CB8-6CB1-138AE4CE1746}"/>
              </a:ext>
            </a:extLst>
          </p:cNvPr>
          <p:cNvSpPr>
            <a:spLocks/>
          </p:cNvSpPr>
          <p:nvPr/>
        </p:nvSpPr>
        <p:spPr>
          <a:xfrm>
            <a:off x="7515225" y="552450"/>
            <a:ext cx="4224338" cy="350838"/>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100" b="1" i="0" u="none" strike="noStrike" kern="1200" cap="none" spc="0" normalizeH="0" baseline="0" noProof="0" dirty="0">
                <a:solidFill>
                  <a:schemeClr val="bg1"/>
                </a:solidFill>
                <a:effectLst/>
                <a:uLnTx/>
                <a:uFillTx/>
                <a:latin typeface="Trebuchet MS"/>
                <a:ea typeface="+mn-ea"/>
                <a:cs typeface="+mn-cs"/>
              </a:rPr>
              <a:t>Forecast</a:t>
            </a:r>
            <a:endParaRPr kumimoji="0" lang="en-US" sz="1100" b="0" i="1" u="none" strike="noStrike" kern="1200" cap="none" spc="0" normalizeH="0" baseline="0" noProof="0" dirty="0">
              <a:solidFill>
                <a:schemeClr val="bg1"/>
              </a:solidFill>
              <a:effectLst/>
              <a:uLnTx/>
              <a:uFillTx/>
              <a:latin typeface="Trebuchet MS"/>
              <a:ea typeface="+mn-ea"/>
              <a:cs typeface="+mn-cs"/>
            </a:endParaRPr>
          </a:p>
        </p:txBody>
      </p:sp>
      <p:sp>
        <p:nvSpPr>
          <p:cNvPr id="277" name="Graphic 3">
            <a:extLst>
              <a:ext uri="{FF2B5EF4-FFF2-40B4-BE49-F238E27FC236}">
                <a16:creationId xmlns:a16="http://schemas.microsoft.com/office/drawing/2014/main" id="{36ACDAC6-9BE2-CD1A-F756-0AB8F83C46AC}"/>
              </a:ext>
            </a:extLst>
          </p:cNvPr>
          <p:cNvSpPr>
            <a:spLocks/>
          </p:cNvSpPr>
          <p:nvPr/>
        </p:nvSpPr>
        <p:spPr>
          <a:xfrm>
            <a:off x="7508875" y="969963"/>
            <a:ext cx="2052638" cy="350838"/>
          </a:xfrm>
          <a:prstGeom prst="rect">
            <a:avLst/>
          </a:prstGeom>
          <a:solidFill>
            <a:schemeClr val="accent4"/>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000" b="1" dirty="0">
                <a:solidFill>
                  <a:schemeClr val="bg1"/>
                </a:solidFill>
                <a:latin typeface="Trebuchet MS"/>
              </a:rPr>
              <a:t>Baseline (only committed policies)</a:t>
            </a:r>
          </a:p>
        </p:txBody>
      </p:sp>
      <p:sp>
        <p:nvSpPr>
          <p:cNvPr id="279" name="Graphic 3">
            <a:hlinkClick r:id="rId64" action="ppaction://hlinksldjump"/>
            <a:extLst>
              <a:ext uri="{FF2B5EF4-FFF2-40B4-BE49-F238E27FC236}">
                <a16:creationId xmlns:a16="http://schemas.microsoft.com/office/drawing/2014/main" id="{42D1DC05-49A9-6361-0CB3-58EB93A9F3D9}"/>
              </a:ext>
            </a:extLst>
          </p:cNvPr>
          <p:cNvSpPr>
            <a:spLocks/>
          </p:cNvSpPr>
          <p:nvPr/>
        </p:nvSpPr>
        <p:spPr>
          <a:xfrm>
            <a:off x="9655175" y="969963"/>
            <a:ext cx="2066925" cy="350838"/>
          </a:xfrm>
          <a:prstGeom prst="rect">
            <a:avLst/>
          </a:prstGeom>
          <a:solidFill>
            <a:schemeClr val="accent6">
              <a:lumMod val="60000"/>
              <a:lumOff val="40000"/>
            </a:schemeClr>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000" b="1" dirty="0">
                <a:solidFill>
                  <a:schemeClr val="bg1"/>
                </a:solidFill>
                <a:latin typeface="Trebuchet MS"/>
              </a:rPr>
              <a:t>Policy impacts applied</a:t>
            </a:r>
          </a:p>
        </p:txBody>
      </p:sp>
      <p:sp>
        <p:nvSpPr>
          <p:cNvPr id="280" name="Graphic 3">
            <a:extLst>
              <a:ext uri="{FF2B5EF4-FFF2-40B4-BE49-F238E27FC236}">
                <a16:creationId xmlns:a16="http://schemas.microsoft.com/office/drawing/2014/main" id="{B26D095B-8964-08DD-5C53-DB967802D058}"/>
              </a:ext>
            </a:extLst>
          </p:cNvPr>
          <p:cNvSpPr>
            <a:spLocks/>
          </p:cNvSpPr>
          <p:nvPr/>
        </p:nvSpPr>
        <p:spPr>
          <a:xfrm>
            <a:off x="7969250" y="1546226"/>
            <a:ext cx="1755775" cy="296863"/>
          </a:xfrm>
          <a:prstGeom prst="rect">
            <a:avLst/>
          </a:prstGeom>
          <a:solidFill>
            <a:schemeClr val="accent4"/>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solidFill>
                  <a:schemeClr val="bg1"/>
                </a:solidFill>
                <a:effectLst/>
                <a:uLnTx/>
                <a:uFillTx/>
                <a:latin typeface="Trebuchet MS"/>
                <a:ea typeface="+mn-ea"/>
                <a:cs typeface="+mn-cs"/>
              </a:rPr>
              <a:t>Supply and demand</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282" name="Graphic 3">
            <a:extLst>
              <a:ext uri="{FF2B5EF4-FFF2-40B4-BE49-F238E27FC236}">
                <a16:creationId xmlns:a16="http://schemas.microsoft.com/office/drawing/2014/main" id="{7FD24A54-BBE7-ACA2-8A85-5D63A92D23CE}"/>
              </a:ext>
            </a:extLst>
          </p:cNvPr>
          <p:cNvSpPr>
            <a:spLocks/>
          </p:cNvSpPr>
          <p:nvPr/>
        </p:nvSpPr>
        <p:spPr>
          <a:xfrm>
            <a:off x="9832975" y="1546226"/>
            <a:ext cx="1755775" cy="296863"/>
          </a:xfrm>
          <a:prstGeom prst="rect">
            <a:avLst/>
          </a:prstGeom>
          <a:solidFill>
            <a:schemeClr val="accent6">
              <a:lumMod val="60000"/>
              <a:lumOff val="40000"/>
            </a:schemeClr>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solidFill>
                  <a:schemeClr val="bg1"/>
                </a:solidFill>
                <a:effectLst/>
                <a:uLnTx/>
                <a:uFillTx/>
                <a:latin typeface="Trebuchet MS"/>
                <a:ea typeface="+mn-ea"/>
                <a:cs typeface="+mn-cs"/>
              </a:rPr>
              <a:t>Prices</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283" name="Rectangle 282">
            <a:extLst>
              <a:ext uri="{FF2B5EF4-FFF2-40B4-BE49-F238E27FC236}">
                <a16:creationId xmlns:a16="http://schemas.microsoft.com/office/drawing/2014/main" id="{8D2CDD3C-BB04-990C-0226-C5A539276EDA}"/>
              </a:ext>
            </a:extLst>
          </p:cNvPr>
          <p:cNvSpPr/>
          <p:nvPr/>
        </p:nvSpPr>
        <p:spPr>
          <a:xfrm>
            <a:off x="0" y="0"/>
            <a:ext cx="12192000" cy="494748"/>
          </a:xfrm>
          <a:prstGeom prst="rect">
            <a:avLst/>
          </a:prstGeom>
          <a:gradFill>
            <a:gsLst>
              <a:gs pos="6322">
                <a:schemeClr val="accent2"/>
              </a:gs>
              <a:gs pos="62000">
                <a:schemeClr val="bg2">
                  <a:lumMod val="50000"/>
                  <a:alpha val="57000"/>
                </a:schemeClr>
              </a:gs>
              <a:gs pos="100000">
                <a:schemeClr val="bg1">
                  <a:alpha val="0"/>
                </a:schemeClr>
              </a:gs>
            </a:gsLst>
            <a:lin ang="0" scaled="1"/>
          </a:gra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274320" tIns="91440" rIns="182880" bIns="91440" numCol="1" spcCol="0" rtlCol="0" fromWordArt="0" anchor="ctr" anchorCtr="0" forceAA="0" compatLnSpc="1">
            <a:prstTxWarp prst="textNoShape">
              <a:avLst/>
            </a:prstTxWarp>
            <a:noAutofit/>
          </a:bodyPr>
          <a:lstStyle/>
          <a:p>
            <a:pPr algn="l">
              <a:buClr>
                <a:srgbClr val="006C67"/>
              </a:buClr>
            </a:pPr>
            <a:r>
              <a:rPr lang="en-GB" sz="1400" b="1" dirty="0">
                <a:solidFill>
                  <a:schemeClr val="bg1"/>
                </a:solidFill>
              </a:rPr>
              <a:t>                 </a:t>
            </a:r>
            <a:r>
              <a:rPr lang="en-GB" sz="1400" b="1" dirty="0" err="1">
                <a:solidFill>
                  <a:schemeClr val="bg1"/>
                </a:solidFill>
              </a:rPr>
              <a:t>MoMAH</a:t>
            </a:r>
            <a:r>
              <a:rPr lang="en-GB" sz="1400" b="1" dirty="0">
                <a:solidFill>
                  <a:schemeClr val="bg1"/>
                </a:solidFill>
              </a:rPr>
              <a:t> - Decision Support System</a:t>
            </a:r>
          </a:p>
        </p:txBody>
      </p:sp>
      <p:sp>
        <p:nvSpPr>
          <p:cNvPr id="292" name="Graphic 3">
            <a:hlinkClick r:id="rId65" action="ppaction://hlinksldjump"/>
            <a:extLst>
              <a:ext uri="{FF2B5EF4-FFF2-40B4-BE49-F238E27FC236}">
                <a16:creationId xmlns:a16="http://schemas.microsoft.com/office/drawing/2014/main" id="{826B6472-25A4-AE3D-7B87-B6BA70187C9E}"/>
              </a:ext>
            </a:extLst>
          </p:cNvPr>
          <p:cNvSpPr>
            <a:spLocks/>
          </p:cNvSpPr>
          <p:nvPr/>
        </p:nvSpPr>
        <p:spPr>
          <a:xfrm>
            <a:off x="7969250" y="2230438"/>
            <a:ext cx="3616325" cy="298450"/>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solidFill>
                  <a:schemeClr val="bg1"/>
                </a:solidFill>
                <a:effectLst/>
                <a:uLnTx/>
                <a:uFillTx/>
                <a:latin typeface="Trebuchet MS"/>
                <a:ea typeface="+mn-ea"/>
                <a:cs typeface="+mn-cs"/>
              </a:rPr>
              <a:t>Policy breakdown and assumptions</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297" name="Graphic 3">
            <a:extLst>
              <a:ext uri="{FF2B5EF4-FFF2-40B4-BE49-F238E27FC236}">
                <a16:creationId xmlns:a16="http://schemas.microsoft.com/office/drawing/2014/main" id="{6EE161E7-9B78-BC55-1E71-63B348D9D735}"/>
              </a:ext>
            </a:extLst>
          </p:cNvPr>
          <p:cNvSpPr>
            <a:spLocks/>
          </p:cNvSpPr>
          <p:nvPr/>
        </p:nvSpPr>
        <p:spPr>
          <a:xfrm>
            <a:off x="7967663" y="1906589"/>
            <a:ext cx="3616325" cy="296863"/>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solidFill>
                  <a:schemeClr val="bg1"/>
                </a:solidFill>
                <a:effectLst/>
                <a:uLnTx/>
                <a:uFillTx/>
                <a:latin typeface="Trebuchet MS"/>
                <a:ea typeface="+mn-ea"/>
                <a:cs typeface="+mn-cs"/>
              </a:rPr>
              <a:t>Baseline growth assumptions</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300" name="Text Placeholder 2">
            <a:extLst>
              <a:ext uri="{FF2B5EF4-FFF2-40B4-BE49-F238E27FC236}">
                <a16:creationId xmlns:a16="http://schemas.microsoft.com/office/drawing/2014/main" id="{BDDAFEC1-8403-C896-C1F2-90D36B5B5AA5}"/>
              </a:ext>
            </a:extLst>
          </p:cNvPr>
          <p:cNvSpPr>
            <a:spLocks noGrp="1"/>
          </p:cNvSpPr>
          <p:nvPr>
            <p:custDataLst>
              <p:tags r:id="rId48"/>
            </p:custDataLst>
          </p:nvPr>
        </p:nvSpPr>
        <p:spPr bwMode="auto">
          <a:xfrm>
            <a:off x="9083675" y="6265863"/>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endParaRPr kumimoji="0" lang="en-GB" sz="800" b="0" i="0" u="none" strike="noStrike" kern="1200" cap="none" spc="0" normalizeH="0" baseline="0" noProof="0">
              <a:ln>
                <a:noFill/>
              </a:ln>
              <a:solidFill>
                <a:srgbClr val="032633"/>
              </a:solidFill>
              <a:effectLst/>
              <a:uLnTx/>
              <a:uFillTx/>
              <a:latin typeface="Trebuchet MS"/>
              <a:ea typeface="+mn-ea"/>
              <a:cs typeface="DIN Next LT Arabic" panose="020B0503020203050203" pitchFamily="34" charset="-78"/>
              <a:sym typeface="DIN Next LT Arabic" panose="020B0503020203050203" pitchFamily="34" charset="-78"/>
            </a:endParaRPr>
          </a:p>
        </p:txBody>
      </p:sp>
      <p:sp>
        <p:nvSpPr>
          <p:cNvPr id="301" name="Rectangle 300">
            <a:extLst>
              <a:ext uri="{FF2B5EF4-FFF2-40B4-BE49-F238E27FC236}">
                <a16:creationId xmlns:a16="http://schemas.microsoft.com/office/drawing/2014/main" id="{8C40B3E4-A534-22F7-7922-EF2C621AABF6}"/>
              </a:ext>
            </a:extLst>
          </p:cNvPr>
          <p:cNvSpPr>
            <a:spLocks/>
          </p:cNvSpPr>
          <p:nvPr>
            <p:custDataLst>
              <p:tags r:id="rId49"/>
            </p:custDataLst>
          </p:nvPr>
        </p:nvSpPr>
        <p:spPr bwMode="auto">
          <a:xfrm>
            <a:off x="8053388" y="6311900"/>
            <a:ext cx="130175" cy="136525"/>
          </a:xfrm>
          <a:prstGeom prst="rect">
            <a:avLst/>
          </a:prstGeom>
          <a:solidFill>
            <a:srgbClr val="009A93"/>
          </a:solidFill>
          <a:ln w="9525" cap="flat" cmpd="sng" algn="ctr">
            <a:solidFill>
              <a:srgbClr val="FFFFF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latin typeface="Trebuchet MS"/>
              <a:ea typeface="+mn-ea"/>
              <a:cs typeface="+mn-cs"/>
            </a:endParaRPr>
          </a:p>
        </p:txBody>
      </p:sp>
      <p:sp>
        <p:nvSpPr>
          <p:cNvPr id="302" name="Rectangle 301">
            <a:extLst>
              <a:ext uri="{FF2B5EF4-FFF2-40B4-BE49-F238E27FC236}">
                <a16:creationId xmlns:a16="http://schemas.microsoft.com/office/drawing/2014/main" id="{C0EF7E87-A25B-7D60-861C-EA28FA8003A3}"/>
              </a:ext>
            </a:extLst>
          </p:cNvPr>
          <p:cNvSpPr>
            <a:spLocks/>
          </p:cNvSpPr>
          <p:nvPr>
            <p:custDataLst>
              <p:tags r:id="rId50"/>
            </p:custDataLst>
          </p:nvPr>
        </p:nvSpPr>
        <p:spPr bwMode="auto">
          <a:xfrm>
            <a:off x="9112250" y="6307138"/>
            <a:ext cx="130175" cy="136525"/>
          </a:xfrm>
          <a:prstGeom prst="rect">
            <a:avLst/>
          </a:prstGeom>
          <a:solidFill>
            <a:srgbClr val="1A5768"/>
          </a:solidFill>
          <a:ln w="9525" cap="flat" cmpd="sng" algn="ctr">
            <a:solidFill>
              <a:srgbClr val="FFFFF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latin typeface="Trebuchet MS"/>
              <a:ea typeface="+mn-ea"/>
              <a:cs typeface="+mn-cs"/>
            </a:endParaRPr>
          </a:p>
        </p:txBody>
      </p:sp>
      <p:sp>
        <p:nvSpPr>
          <p:cNvPr id="303" name="Text Placeholder 2">
            <a:extLst>
              <a:ext uri="{FF2B5EF4-FFF2-40B4-BE49-F238E27FC236}">
                <a16:creationId xmlns:a16="http://schemas.microsoft.com/office/drawing/2014/main" id="{75FA574E-CC60-A254-0571-360F1BFEF3B0}"/>
              </a:ext>
            </a:extLst>
          </p:cNvPr>
          <p:cNvSpPr>
            <a:spLocks noGrp="1"/>
          </p:cNvSpPr>
          <p:nvPr>
            <p:custDataLst>
              <p:tags r:id="rId51"/>
            </p:custDataLst>
          </p:nvPr>
        </p:nvSpPr>
        <p:spPr bwMode="auto">
          <a:xfrm>
            <a:off x="8223250" y="6311900"/>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r>
              <a:rPr kumimoji="0" lang="en-GB" sz="800" b="0" i="0" u="none" strike="noStrike" kern="1200" cap="none" spc="0" normalizeH="0" baseline="0" noProof="0">
                <a:ln>
                  <a:noFill/>
                </a:ln>
                <a:solidFill>
                  <a:srgbClr val="003A37"/>
                </a:solidFill>
                <a:effectLst/>
                <a:uLnTx/>
                <a:uFillTx/>
                <a:latin typeface="Trebuchet MS"/>
                <a:ea typeface="+mn-ea"/>
                <a:cs typeface="DIN Next LT Arabic" panose="020B0503020203050203" pitchFamily="34" charset="-78"/>
                <a:sym typeface="DIN Next LT Arabic" panose="020B0503020203050203" pitchFamily="34" charset="-78"/>
              </a:rPr>
              <a:t>Housing Demand</a:t>
            </a:r>
          </a:p>
        </p:txBody>
      </p:sp>
      <p:sp>
        <p:nvSpPr>
          <p:cNvPr id="304" name="Text Placeholder 2">
            <a:extLst>
              <a:ext uri="{FF2B5EF4-FFF2-40B4-BE49-F238E27FC236}">
                <a16:creationId xmlns:a16="http://schemas.microsoft.com/office/drawing/2014/main" id="{A60640CB-C0CF-D4DF-1396-FAF22E2C9FA5}"/>
              </a:ext>
            </a:extLst>
          </p:cNvPr>
          <p:cNvSpPr>
            <a:spLocks noGrp="1"/>
          </p:cNvSpPr>
          <p:nvPr>
            <p:custDataLst>
              <p:tags r:id="rId52"/>
            </p:custDataLst>
          </p:nvPr>
        </p:nvSpPr>
        <p:spPr bwMode="auto">
          <a:xfrm>
            <a:off x="9285288" y="6307138"/>
            <a:ext cx="442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r>
              <a:rPr kumimoji="0" lang="en-GB" sz="800" b="0" i="0" u="none" strike="noStrike" kern="1200" cap="none" spc="0" normalizeH="0" baseline="0" noProof="0">
                <a:ln>
                  <a:noFill/>
                </a:ln>
                <a:solidFill>
                  <a:srgbClr val="003A37"/>
                </a:solidFill>
                <a:effectLst/>
                <a:uLnTx/>
                <a:uFillTx/>
                <a:latin typeface="Trebuchet MS"/>
                <a:ea typeface="+mn-ea"/>
                <a:cs typeface="DIN Next LT Arabic" panose="020B0503020203050203" pitchFamily="34" charset="-78"/>
                <a:sym typeface="DIN Next LT Arabic" panose="020B0503020203050203" pitchFamily="34" charset="-78"/>
              </a:rPr>
              <a:t>Housing Supply </a:t>
            </a:r>
          </a:p>
        </p:txBody>
      </p:sp>
      <p:sp>
        <p:nvSpPr>
          <p:cNvPr id="305" name="Text Placeholder 2">
            <a:extLst>
              <a:ext uri="{FF2B5EF4-FFF2-40B4-BE49-F238E27FC236}">
                <a16:creationId xmlns:a16="http://schemas.microsoft.com/office/drawing/2014/main" id="{8553CBAE-D95D-526C-5892-74872ACA9FAA}"/>
              </a:ext>
            </a:extLst>
          </p:cNvPr>
          <p:cNvSpPr>
            <a:spLocks noGrp="1"/>
          </p:cNvSpPr>
          <p:nvPr>
            <p:custDataLst>
              <p:tags r:id="rId53"/>
            </p:custDataLst>
          </p:nvPr>
        </p:nvSpPr>
        <p:spPr bwMode="auto">
          <a:xfrm>
            <a:off x="10612438" y="6251575"/>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endParaRPr kumimoji="0" lang="en-GB" sz="800" b="0" i="0" u="none" strike="noStrike" kern="1200" cap="none" spc="0" normalizeH="0" baseline="0" noProof="0">
              <a:ln>
                <a:noFill/>
              </a:ln>
              <a:solidFill>
                <a:srgbClr val="032633"/>
              </a:solidFill>
              <a:effectLst/>
              <a:uLnTx/>
              <a:uFillTx/>
              <a:latin typeface="Trebuchet MS"/>
              <a:ea typeface="+mn-ea"/>
              <a:cs typeface="DIN Next LT Arabic" panose="020B0503020203050203" pitchFamily="34" charset="-78"/>
              <a:sym typeface="DIN Next LT Arabic" panose="020B0503020203050203" pitchFamily="34" charset="-78"/>
            </a:endParaRPr>
          </a:p>
        </p:txBody>
      </p:sp>
      <p:sp>
        <p:nvSpPr>
          <p:cNvPr id="306" name="Text Placeholder 2">
            <a:extLst>
              <a:ext uri="{FF2B5EF4-FFF2-40B4-BE49-F238E27FC236}">
                <a16:creationId xmlns:a16="http://schemas.microsoft.com/office/drawing/2014/main" id="{B9B991BC-A051-99AC-076C-DA311174B25D}"/>
              </a:ext>
            </a:extLst>
          </p:cNvPr>
          <p:cNvSpPr>
            <a:spLocks noGrp="1"/>
          </p:cNvSpPr>
          <p:nvPr>
            <p:custDataLst>
              <p:tags r:id="rId54"/>
            </p:custDataLst>
          </p:nvPr>
        </p:nvSpPr>
        <p:spPr bwMode="auto">
          <a:xfrm>
            <a:off x="10509250" y="6297613"/>
            <a:ext cx="442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r>
              <a:rPr kumimoji="0" lang="en-GB" sz="800" b="0" i="0" u="none" strike="noStrike" kern="1200" cap="none" spc="0" normalizeH="0" baseline="0" noProof="0" dirty="0">
                <a:ln>
                  <a:noFill/>
                </a:ln>
                <a:solidFill>
                  <a:srgbClr val="003A37"/>
                </a:solidFill>
                <a:effectLst/>
                <a:uLnTx/>
                <a:uFillTx/>
                <a:latin typeface="Trebuchet MS"/>
                <a:ea typeface="+mn-ea"/>
                <a:cs typeface="DIN Next LT Arabic" panose="020B0503020203050203" pitchFamily="34" charset="-78"/>
                <a:sym typeface="DIN Next LT Arabic" panose="020B0503020203050203" pitchFamily="34" charset="-78"/>
              </a:rPr>
              <a:t>Supply-Demand Gap</a:t>
            </a:r>
          </a:p>
        </p:txBody>
      </p:sp>
      <p:sp>
        <p:nvSpPr>
          <p:cNvPr id="307" name="Text Placeholder 2">
            <a:extLst>
              <a:ext uri="{FF2B5EF4-FFF2-40B4-BE49-F238E27FC236}">
                <a16:creationId xmlns:a16="http://schemas.microsoft.com/office/drawing/2014/main" id="{A93BC0B3-371A-88F0-6395-00D4B676A996}"/>
              </a:ext>
            </a:extLst>
          </p:cNvPr>
          <p:cNvSpPr>
            <a:spLocks noGrp="1"/>
          </p:cNvSpPr>
          <p:nvPr>
            <p:custDataLst>
              <p:tags r:id="rId55"/>
            </p:custDataLst>
          </p:nvPr>
        </p:nvSpPr>
        <p:spPr bwMode="auto">
          <a:xfrm>
            <a:off x="11818565" y="6432841"/>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endParaRPr kumimoji="0" lang="en-GB" sz="800" b="0" i="0" u="none" strike="noStrike" kern="1200" cap="none" spc="0" normalizeH="0" baseline="0" noProof="0">
              <a:ln>
                <a:noFill/>
              </a:ln>
              <a:solidFill>
                <a:srgbClr val="032633"/>
              </a:solidFill>
              <a:effectLst/>
              <a:uLnTx/>
              <a:uFillTx/>
              <a:latin typeface="Trebuchet MS"/>
              <a:ea typeface="+mn-ea"/>
              <a:cs typeface="DIN Next LT Arabic" panose="020B0503020203050203" pitchFamily="34" charset="-78"/>
              <a:sym typeface="DIN Next LT Arabic" panose="020B0503020203050203" pitchFamily="34" charset="-78"/>
            </a:endParaRPr>
          </a:p>
        </p:txBody>
      </p:sp>
      <p:grpSp>
        <p:nvGrpSpPr>
          <p:cNvPr id="308" name="Group 307">
            <a:extLst>
              <a:ext uri="{FF2B5EF4-FFF2-40B4-BE49-F238E27FC236}">
                <a16:creationId xmlns:a16="http://schemas.microsoft.com/office/drawing/2014/main" id="{88FEE0A5-07DD-077A-4605-D8318FED7AC1}"/>
              </a:ext>
            </a:extLst>
          </p:cNvPr>
          <p:cNvGrpSpPr/>
          <p:nvPr/>
        </p:nvGrpSpPr>
        <p:grpSpPr>
          <a:xfrm>
            <a:off x="10101263" y="6235700"/>
            <a:ext cx="354013" cy="274638"/>
            <a:chOff x="8001001" y="2603500"/>
            <a:chExt cx="354011" cy="1098550"/>
          </a:xfrm>
        </p:grpSpPr>
        <p:cxnSp>
          <p:nvCxnSpPr>
            <p:cNvPr id="309" name="Straight Arrow Connector 308">
              <a:extLst>
                <a:ext uri="{FF2B5EF4-FFF2-40B4-BE49-F238E27FC236}">
                  <a16:creationId xmlns:a16="http://schemas.microsoft.com/office/drawing/2014/main" id="{CC9E3912-6AAC-16B3-7E1F-D3892871F62C}"/>
                </a:ext>
              </a:extLst>
            </p:cNvPr>
            <p:cNvCxnSpPr>
              <a:cxnSpLocks/>
            </p:cNvCxnSpPr>
            <p:nvPr/>
          </p:nvCxnSpPr>
          <p:spPr>
            <a:xfrm>
              <a:off x="8178006" y="2603500"/>
              <a:ext cx="0" cy="1098550"/>
            </a:xfrm>
            <a:prstGeom prst="straightConnector1">
              <a:avLst/>
            </a:prstGeom>
            <a:ln w="9525" cap="rnd">
              <a:solidFill>
                <a:srgbClr val="9A9A9A"/>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8D6AFF9E-CF87-976D-8468-AC6BEE8BFB2C}"/>
                </a:ext>
              </a:extLst>
            </p:cNvPr>
            <p:cNvGrpSpPr/>
            <p:nvPr/>
          </p:nvGrpSpPr>
          <p:grpSpPr>
            <a:xfrm>
              <a:off x="8001001" y="2997647"/>
              <a:ext cx="354011" cy="310256"/>
              <a:chOff x="7980363" y="2991224"/>
              <a:chExt cx="354011" cy="310256"/>
            </a:xfrm>
            <a:solidFill>
              <a:srgbClr val="FF0000"/>
            </a:solidFill>
          </p:grpSpPr>
          <p:sp>
            <p:nvSpPr>
              <p:cNvPr id="311" name="Oval 310">
                <a:extLst>
                  <a:ext uri="{FF2B5EF4-FFF2-40B4-BE49-F238E27FC236}">
                    <a16:creationId xmlns:a16="http://schemas.microsoft.com/office/drawing/2014/main" id="{6A577D56-DD9B-D2F1-413F-E9722411FE41}"/>
                  </a:ext>
                </a:extLst>
              </p:cNvPr>
              <p:cNvSpPr/>
              <p:nvPr/>
            </p:nvSpPr>
            <p:spPr>
              <a:xfrm>
                <a:off x="7980363" y="2991224"/>
                <a:ext cx="354011" cy="310256"/>
              </a:xfrm>
              <a:prstGeom prst="ellipse">
                <a:avLst/>
              </a:prstGeom>
              <a:solidFill>
                <a:srgbClr val="F2F2F2"/>
              </a:solidFill>
              <a:ln w="12700" cap="rnd" cmpd="sng" algn="ctr">
                <a:solidFill>
                  <a:schemeClr val="tx2"/>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006C67"/>
                  </a:buClr>
                  <a:buSzTx/>
                  <a:buFontTx/>
                  <a:buNone/>
                  <a:tabLst/>
                  <a:defRPr/>
                </a:pPr>
                <a:endParaRPr kumimoji="0" lang="en-GB" sz="800" b="0" i="0" u="none" strike="noStrike" kern="1200" cap="none" spc="0" normalizeH="0" baseline="0" noProof="0">
                  <a:ln>
                    <a:noFill/>
                  </a:ln>
                  <a:solidFill>
                    <a:srgbClr val="000000"/>
                  </a:solidFill>
                  <a:effectLst/>
                  <a:uLnTx/>
                  <a:uFillTx/>
                  <a:latin typeface="Trebuchet MS"/>
                  <a:ea typeface="+mn-ea"/>
                  <a:cs typeface="+mn-cs"/>
                </a:endParaRPr>
              </a:p>
            </p:txBody>
          </p:sp>
          <p:sp>
            <p:nvSpPr>
              <p:cNvPr id="312" name="TextBox 311">
                <a:extLst>
                  <a:ext uri="{FF2B5EF4-FFF2-40B4-BE49-F238E27FC236}">
                    <a16:creationId xmlns:a16="http://schemas.microsoft.com/office/drawing/2014/main" id="{1926069D-FB32-B51E-D7CD-59F1D87C0FA7}"/>
                  </a:ext>
                </a:extLst>
              </p:cNvPr>
              <p:cNvSpPr txBox="1"/>
              <p:nvPr/>
            </p:nvSpPr>
            <p:spPr>
              <a:xfrm>
                <a:off x="8001000" y="3062214"/>
                <a:ext cx="312737" cy="1682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Trebuchet MS"/>
                  <a:ea typeface="+mn-ea"/>
                  <a:cs typeface="+mn-cs"/>
                </a:endParaRPr>
              </a:p>
            </p:txBody>
          </p:sp>
        </p:grpSp>
      </p:grpSp>
      <p:sp>
        <p:nvSpPr>
          <p:cNvPr id="315" name="Graphic 3">
            <a:extLst>
              <a:ext uri="{FF2B5EF4-FFF2-40B4-BE49-F238E27FC236}">
                <a16:creationId xmlns:a16="http://schemas.microsoft.com/office/drawing/2014/main" id="{6993C565-37DB-C410-F8DA-EFA2C964517C}"/>
              </a:ext>
            </a:extLst>
          </p:cNvPr>
          <p:cNvSpPr>
            <a:spLocks/>
          </p:cNvSpPr>
          <p:nvPr/>
        </p:nvSpPr>
        <p:spPr>
          <a:xfrm>
            <a:off x="71507" y="6630504"/>
            <a:ext cx="7336458" cy="227495"/>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200" b="1" dirty="0">
                <a:solidFill>
                  <a:schemeClr val="bg1"/>
                </a:solidFill>
                <a:latin typeface="Trebuchet MS"/>
              </a:rPr>
              <a:t>Policy monitoring</a:t>
            </a:r>
          </a:p>
        </p:txBody>
      </p:sp>
      <p:pic>
        <p:nvPicPr>
          <p:cNvPr id="317" name="Graphic 316">
            <a:extLst>
              <a:ext uri="{FF2B5EF4-FFF2-40B4-BE49-F238E27FC236}">
                <a16:creationId xmlns:a16="http://schemas.microsoft.com/office/drawing/2014/main" id="{E2374EFA-4EDE-EE3D-29D2-4E97A494DDB0}"/>
              </a:ext>
            </a:extLst>
          </p:cNvPr>
          <p:cNvPicPr>
            <a:picLocks noChangeAspect="1"/>
          </p:cNvPicPr>
          <p:nvPr>
            <p:custDataLst>
              <p:tags r:id="rId56"/>
            </p:custDataLst>
          </p:nvPr>
        </p:nvPicPr>
        <p:blipFill>
          <a:blip r:embed="rId66">
            <a:extLst>
              <a:ext uri="{96DAC541-7B7A-43D3-8B79-37D633B846F1}">
                <asvg:svgBlip xmlns:asvg="http://schemas.microsoft.com/office/drawing/2016/SVG/main" r:embed="rId67"/>
              </a:ext>
            </a:extLst>
          </a:blip>
          <a:stretch>
            <a:fillRect/>
          </a:stretch>
        </p:blipFill>
        <p:spPr>
          <a:xfrm>
            <a:off x="99121" y="53075"/>
            <a:ext cx="389863" cy="389863"/>
          </a:xfrm>
          <a:prstGeom prst="rect">
            <a:avLst/>
          </a:prstGeom>
        </p:spPr>
      </p:pic>
      <p:pic>
        <p:nvPicPr>
          <p:cNvPr id="319" name="Graphic 318">
            <a:extLst>
              <a:ext uri="{FF2B5EF4-FFF2-40B4-BE49-F238E27FC236}">
                <a16:creationId xmlns:a16="http://schemas.microsoft.com/office/drawing/2014/main" id="{FFDF370E-80E7-BBDC-0BC6-799263CD22D1}"/>
              </a:ext>
            </a:extLst>
          </p:cNvPr>
          <p:cNvPicPr>
            <a:picLocks noChangeAspect="1"/>
          </p:cNvPicPr>
          <p:nvPr>
            <p:custDataLst>
              <p:tags r:id="rId57"/>
            </p:custDataLst>
          </p:nvPr>
        </p:nvPicPr>
        <p:blipFill>
          <a:blip r:embed="rId68">
            <a:extLst>
              <a:ext uri="{96DAC541-7B7A-43D3-8B79-37D633B846F1}">
                <asvg:svgBlip xmlns:asvg="http://schemas.microsoft.com/office/drawing/2016/SVG/main" r:embed="rId69"/>
              </a:ext>
            </a:extLst>
          </a:blip>
          <a:stretch>
            <a:fillRect/>
          </a:stretch>
        </p:blipFill>
        <p:spPr>
          <a:xfrm>
            <a:off x="583217" y="38405"/>
            <a:ext cx="426129" cy="426129"/>
          </a:xfrm>
          <a:prstGeom prst="rect">
            <a:avLst/>
          </a:prstGeom>
        </p:spPr>
      </p:pic>
    </p:spTree>
    <p:extLst>
      <p:ext uri="{BB962C8B-B14F-4D97-AF65-F5344CB8AC3E}">
        <p14:creationId xmlns:p14="http://schemas.microsoft.com/office/powerpoint/2010/main" val="289997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FEAB1E-3691-87E7-E7DC-4669B199B0B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78404F-0FA8-A127-4BA3-9E5CA5040D54}"/>
              </a:ext>
            </a:extLst>
          </p:cNvPr>
          <p:cNvGraphicFramePr>
            <a:graphicFrameLocks noChangeAspect="1"/>
          </p:cNvGraphicFramePr>
          <p:nvPr>
            <p:custDataLst>
              <p:tags r:id="rId1"/>
            </p:custDataLst>
            <p:extLst>
              <p:ext uri="{D42A27DB-BD31-4B8C-83A1-F6EECF244321}">
                <p14:modId xmlns:p14="http://schemas.microsoft.com/office/powerpoint/2010/main" val="615976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4" imgH="405" progId="TCLayout.ActiveDocument.1">
                  <p:embed/>
                </p:oleObj>
              </mc:Choice>
              <mc:Fallback>
                <p:oleObj name="think-cell Slide" r:id="rId58" imgW="404" imgH="405" progId="TCLayout.ActiveDocument.1">
                  <p:embed/>
                  <p:pic>
                    <p:nvPicPr>
                      <p:cNvPr id="3" name="think-cell data - do not delete" hidden="1">
                        <a:extLst>
                          <a:ext uri="{FF2B5EF4-FFF2-40B4-BE49-F238E27FC236}">
                            <a16:creationId xmlns:a16="http://schemas.microsoft.com/office/drawing/2014/main" id="{E01B682B-0CC5-2A0B-8836-C71B11E7B921}"/>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14" name="Graphic 3">
            <a:extLst>
              <a:ext uri="{FF2B5EF4-FFF2-40B4-BE49-F238E27FC236}">
                <a16:creationId xmlns:a16="http://schemas.microsoft.com/office/drawing/2014/main" id="{D825A2FA-BEC7-2BBA-467D-64FE346DBD5F}"/>
              </a:ext>
            </a:extLst>
          </p:cNvPr>
          <p:cNvSpPr>
            <a:spLocks/>
          </p:cNvSpPr>
          <p:nvPr/>
        </p:nvSpPr>
        <p:spPr>
          <a:xfrm>
            <a:off x="1465263" y="1416050"/>
            <a:ext cx="2197100" cy="1220788"/>
          </a:xfrm>
          <a:prstGeom prst="rect">
            <a:avLst/>
          </a:prstGeom>
          <a:solidFill>
            <a:schemeClr val="bg1"/>
          </a:solidFill>
          <a:ln w="0" cap="flat">
            <a:noFill/>
            <a:prstDash val="solid"/>
            <a:miter/>
          </a:ln>
        </p:spPr>
        <p:txBody>
          <a:bodyPr lIns="91440" tIns="91440" rIns="91440" bIns="91440" rtlCol="0" anchor="ctr"/>
          <a:lstStyle/>
          <a:p>
            <a:pPr marL="0" marR="0" lvl="0" indent="0" algn="l"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ln>
                  <a:noFill/>
                </a:ln>
                <a:solidFill>
                  <a:srgbClr val="000000"/>
                </a:solidFill>
                <a:effectLst/>
                <a:uLnTx/>
                <a:uFillTx/>
                <a:latin typeface="Trebuchet MS"/>
                <a:ea typeface="+mn-ea"/>
                <a:cs typeface="+mn-cs"/>
              </a:rPr>
              <a:t>Strong economic and demographic momentum is driving housing demand</a:t>
            </a:r>
          </a:p>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1" u="none" strike="noStrike" kern="1200" cap="none" spc="0" normalizeH="0" baseline="0" noProof="0" dirty="0">
                <a:ln>
                  <a:noFill/>
                </a:ln>
                <a:solidFill>
                  <a:srgbClr val="000000"/>
                </a:solidFill>
                <a:effectLst/>
                <a:uLnTx/>
                <a:uFillTx/>
                <a:latin typeface="Trebuchet MS"/>
                <a:ea typeface="+mn-ea"/>
                <a:cs typeface="+mn-cs"/>
              </a:rPr>
              <a:t>Economic growth, RHQs, tourism and FDI are pulling people and jobs into hubs like Riyadh.</a:t>
            </a:r>
          </a:p>
        </p:txBody>
      </p:sp>
      <p:sp>
        <p:nvSpPr>
          <p:cNvPr id="20" name="Graphic 3">
            <a:extLst>
              <a:ext uri="{FF2B5EF4-FFF2-40B4-BE49-F238E27FC236}">
                <a16:creationId xmlns:a16="http://schemas.microsoft.com/office/drawing/2014/main" id="{D544BC97-8F6C-B5C9-5638-B9CED2284A7B}"/>
              </a:ext>
            </a:extLst>
          </p:cNvPr>
          <p:cNvSpPr>
            <a:spLocks/>
          </p:cNvSpPr>
          <p:nvPr/>
        </p:nvSpPr>
        <p:spPr>
          <a:xfrm>
            <a:off x="1465263" y="2724150"/>
            <a:ext cx="2197100" cy="1220788"/>
          </a:xfrm>
          <a:prstGeom prst="rect">
            <a:avLst/>
          </a:prstGeom>
          <a:solidFill>
            <a:schemeClr val="bg1"/>
          </a:solidFill>
          <a:ln w="0" cap="flat">
            <a:noFill/>
            <a:prstDash val="solid"/>
            <a:miter/>
          </a:ln>
        </p:spPr>
        <p:txBody>
          <a:bodyPr lIns="91440" tIns="91440" rIns="91440" bIns="91440" rtlCol="0" anchor="ctr"/>
          <a:lstStyle/>
          <a:p>
            <a:pPr marL="0" marR="0" lvl="0" indent="0" algn="l"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a:ln>
                  <a:noFill/>
                </a:ln>
                <a:solidFill>
                  <a:srgbClr val="000000"/>
                </a:solidFill>
                <a:effectLst/>
                <a:uLnTx/>
                <a:uFillTx/>
                <a:latin typeface="Trebuchet MS"/>
                <a:ea typeface="+mn-ea"/>
                <a:cs typeface="+mn-cs"/>
              </a:rPr>
              <a:t>Housing delivery has slowed materially since 2021</a:t>
            </a:r>
          </a:p>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1" u="none" strike="noStrike" kern="1200" cap="none" spc="0" normalizeH="0" baseline="0" noProof="0">
                <a:ln>
                  <a:noFill/>
                </a:ln>
                <a:solidFill>
                  <a:srgbClr val="000000"/>
                </a:solidFill>
                <a:effectLst/>
                <a:uLnTx/>
                <a:uFillTx/>
                <a:latin typeface="Trebuchet MS"/>
                <a:ea typeface="+mn-ea"/>
                <a:cs typeface="+mn-cs"/>
              </a:rPr>
              <a:t>Housing completions in Riyadh peaked at ~83k units in 2021 and have been broadly flat since.</a:t>
            </a:r>
          </a:p>
        </p:txBody>
      </p:sp>
      <p:sp>
        <p:nvSpPr>
          <p:cNvPr id="30" name="Graphic 3">
            <a:extLst>
              <a:ext uri="{FF2B5EF4-FFF2-40B4-BE49-F238E27FC236}">
                <a16:creationId xmlns:a16="http://schemas.microsoft.com/office/drawing/2014/main" id="{9C43AC61-A874-A1C0-F2C2-774403F3F26B}"/>
              </a:ext>
            </a:extLst>
          </p:cNvPr>
          <p:cNvSpPr>
            <a:spLocks/>
          </p:cNvSpPr>
          <p:nvPr/>
        </p:nvSpPr>
        <p:spPr>
          <a:xfrm>
            <a:off x="1465263" y="4030663"/>
            <a:ext cx="2197100" cy="1220788"/>
          </a:xfrm>
          <a:prstGeom prst="rect">
            <a:avLst/>
          </a:prstGeom>
          <a:solidFill>
            <a:schemeClr val="bg1"/>
          </a:solidFill>
          <a:ln w="0" cap="flat">
            <a:noFill/>
            <a:prstDash val="solid"/>
            <a:miter/>
          </a:ln>
        </p:spPr>
        <p:txBody>
          <a:bodyPr lIns="91440" tIns="91440" rIns="91440" bIns="91440" rtlCol="0" anchor="ctr"/>
          <a:lstStyle/>
          <a:p>
            <a:pPr marL="0" marR="0" lvl="0" indent="0" algn="l"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ln>
                  <a:noFill/>
                </a:ln>
                <a:solidFill>
                  <a:srgbClr val="000000"/>
                </a:solidFill>
                <a:effectLst/>
                <a:uLnTx/>
                <a:uFillTx/>
                <a:latin typeface="Trebuchet MS"/>
                <a:ea typeface="+mn-ea"/>
                <a:cs typeface="+mn-cs"/>
              </a:rPr>
              <a:t>Affordability pressures are most visible in rental accommodation</a:t>
            </a:r>
          </a:p>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1" u="none" strike="noStrike" kern="1200" cap="none" spc="0" normalizeH="0" baseline="0" noProof="0" dirty="0">
                <a:ln>
                  <a:noFill/>
                </a:ln>
                <a:solidFill>
                  <a:srgbClr val="000000"/>
                </a:solidFill>
                <a:effectLst/>
                <a:uLnTx/>
                <a:uFillTx/>
                <a:latin typeface="Trebuchet MS"/>
                <a:ea typeface="+mn-ea"/>
                <a:cs typeface="+mn-cs"/>
              </a:rPr>
              <a:t>Rent-to-income ratios exceed 50% for many households, especially for mid-market apartments.</a:t>
            </a:r>
          </a:p>
        </p:txBody>
      </p:sp>
      <p:sp>
        <p:nvSpPr>
          <p:cNvPr id="34" name="Graphic 3">
            <a:extLst>
              <a:ext uri="{FF2B5EF4-FFF2-40B4-BE49-F238E27FC236}">
                <a16:creationId xmlns:a16="http://schemas.microsoft.com/office/drawing/2014/main" id="{00DB26D8-C8B1-EC8C-074E-6E35E7641E55}"/>
              </a:ext>
            </a:extLst>
          </p:cNvPr>
          <p:cNvSpPr>
            <a:spLocks/>
          </p:cNvSpPr>
          <p:nvPr/>
        </p:nvSpPr>
        <p:spPr>
          <a:xfrm>
            <a:off x="3765550" y="14160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tx1">
                    <a:lumMod val="65000"/>
                    <a:lumOff val="35000"/>
                  </a:schemeClr>
                </a:solidFill>
                <a:effectLst/>
                <a:uLnTx/>
                <a:uFillTx/>
                <a:latin typeface="Trebuchet MS"/>
                <a:ea typeface="+mn-ea"/>
                <a:cs typeface="Arial"/>
                <a:sym typeface="Arial"/>
              </a:rPr>
              <a:t>~1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population growth fr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21 – ’24</a:t>
            </a:r>
          </a:p>
        </p:txBody>
      </p:sp>
      <p:sp>
        <p:nvSpPr>
          <p:cNvPr id="35" name="Graphic 3">
            <a:extLst>
              <a:ext uri="{FF2B5EF4-FFF2-40B4-BE49-F238E27FC236}">
                <a16:creationId xmlns:a16="http://schemas.microsoft.com/office/drawing/2014/main" id="{264DCF37-DAA8-1D5D-697A-D0FA5D0E5529}"/>
              </a:ext>
            </a:extLst>
          </p:cNvPr>
          <p:cNvSpPr>
            <a:spLocks/>
          </p:cNvSpPr>
          <p:nvPr/>
        </p:nvSpPr>
        <p:spPr>
          <a:xfrm>
            <a:off x="3765550" y="27241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C00000"/>
                </a:solidFill>
                <a:effectLst/>
                <a:uLnTx/>
                <a:uFillTx/>
                <a:latin typeface="Trebuchet MS"/>
                <a:ea typeface="+mn-ea"/>
                <a:cs typeface="Arial"/>
                <a:sym typeface="Arial"/>
              </a:rPr>
              <a:t>~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Trebuchet MS"/>
                <a:ea typeface="+mn-ea"/>
                <a:cs typeface="Arial"/>
                <a:sym typeface="Arial"/>
              </a:rPr>
              <a:t>Decrease in units comple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Trebuchet MS"/>
                <a:ea typeface="+mn-ea"/>
                <a:cs typeface="Arial"/>
                <a:sym typeface="Arial"/>
              </a:rPr>
              <a:t>In ’19 vs. ’24</a:t>
            </a:r>
            <a:endParaRPr kumimoji="0" lang="en-GB" sz="1100" b="0" i="0" u="none" strike="noStrike" kern="0" cap="none" spc="0" normalizeH="0" baseline="0" noProof="0">
              <a:ln>
                <a:noFill/>
              </a:ln>
              <a:solidFill>
                <a:srgbClr val="000000"/>
              </a:solidFill>
              <a:effectLst/>
              <a:uLnTx/>
              <a:uFillTx/>
              <a:latin typeface="Trebuchet MS"/>
              <a:ea typeface="+mn-ea"/>
              <a:cs typeface="Arial"/>
              <a:sym typeface="Arial"/>
            </a:endParaRPr>
          </a:p>
        </p:txBody>
      </p:sp>
      <p:sp>
        <p:nvSpPr>
          <p:cNvPr id="36" name="Graphic 3">
            <a:extLst>
              <a:ext uri="{FF2B5EF4-FFF2-40B4-BE49-F238E27FC236}">
                <a16:creationId xmlns:a16="http://schemas.microsoft.com/office/drawing/2014/main" id="{3C058A2B-0EEE-A357-6052-797F4FC52377}"/>
              </a:ext>
            </a:extLst>
          </p:cNvPr>
          <p:cNvSpPr>
            <a:spLocks/>
          </p:cNvSpPr>
          <p:nvPr/>
        </p:nvSpPr>
        <p:spPr>
          <a:xfrm>
            <a:off x="3765550" y="40306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C00000"/>
                </a:solidFill>
                <a:effectLst/>
                <a:uLnTx/>
                <a:uFillTx/>
                <a:latin typeface="Trebuchet MS"/>
                <a:ea typeface="+mn-ea"/>
                <a:cs typeface="Arial"/>
                <a:sym typeface="Arial"/>
              </a:rPr>
              <a:t>~46%</a:t>
            </a:r>
            <a:r>
              <a:rPr kumimoji="0" lang="en-GB" sz="900" b="1" i="0" u="none" strike="noStrike" kern="0" cap="none" spc="0" normalizeH="0" baseline="0" noProof="0">
                <a:ln>
                  <a:noFill/>
                </a:ln>
                <a:solidFill>
                  <a:srgbClr val="C00000"/>
                </a:solidFill>
                <a:effectLst/>
                <a:uLnTx/>
                <a:uFillTx/>
                <a:latin typeface="Trebuchet MS"/>
                <a:ea typeface="+mn-ea"/>
                <a:cs typeface="Arial"/>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Trebuchet MS"/>
                <a:ea typeface="+mn-ea"/>
                <a:cs typeface="Arial"/>
                <a:sym typeface="Arial"/>
              </a:rPr>
              <a:t>Apartment rent increase in Riyadh from ’22 – ‘25</a:t>
            </a:r>
          </a:p>
        </p:txBody>
      </p:sp>
      <p:sp>
        <p:nvSpPr>
          <p:cNvPr id="39" name="Arrow: Down 38">
            <a:extLst>
              <a:ext uri="{FF2B5EF4-FFF2-40B4-BE49-F238E27FC236}">
                <a16:creationId xmlns:a16="http://schemas.microsoft.com/office/drawing/2014/main" id="{B8E91520-591A-7C80-1892-D4E6E4819826}"/>
              </a:ext>
            </a:extLst>
          </p:cNvPr>
          <p:cNvSpPr/>
          <p:nvPr/>
        </p:nvSpPr>
        <p:spPr>
          <a:xfrm rot="10800000">
            <a:off x="4160838" y="1554163"/>
            <a:ext cx="334963" cy="280988"/>
          </a:xfrm>
          <a:prstGeom prst="downArrow">
            <a:avLst/>
          </a:prstGeom>
          <a:solidFill>
            <a:schemeClr val="tx1">
              <a:lumMod val="65000"/>
              <a:lumOff val="3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40" name="Arrow: Down 39">
            <a:extLst>
              <a:ext uri="{FF2B5EF4-FFF2-40B4-BE49-F238E27FC236}">
                <a16:creationId xmlns:a16="http://schemas.microsoft.com/office/drawing/2014/main" id="{7F93B167-B973-98DD-EF95-CA300B76485E}"/>
              </a:ext>
            </a:extLst>
          </p:cNvPr>
          <p:cNvSpPr/>
          <p:nvPr/>
        </p:nvSpPr>
        <p:spPr>
          <a:xfrm>
            <a:off x="4160838" y="2778125"/>
            <a:ext cx="334963" cy="280988"/>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41" name="Arrow: Down 40">
            <a:extLst>
              <a:ext uri="{FF2B5EF4-FFF2-40B4-BE49-F238E27FC236}">
                <a16:creationId xmlns:a16="http://schemas.microsoft.com/office/drawing/2014/main" id="{2C7925EC-7E94-895E-A611-CDA1F0089C44}"/>
              </a:ext>
            </a:extLst>
          </p:cNvPr>
          <p:cNvSpPr/>
          <p:nvPr/>
        </p:nvSpPr>
        <p:spPr>
          <a:xfrm rot="10800000">
            <a:off x="4160838" y="4075113"/>
            <a:ext cx="334963" cy="280988"/>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7" name="Graphic 3">
            <a:extLst>
              <a:ext uri="{FF2B5EF4-FFF2-40B4-BE49-F238E27FC236}">
                <a16:creationId xmlns:a16="http://schemas.microsoft.com/office/drawing/2014/main" id="{6D299CCA-12F1-85F3-298D-ED204F5CBBF5}"/>
              </a:ext>
            </a:extLst>
          </p:cNvPr>
          <p:cNvSpPr>
            <a:spLocks/>
          </p:cNvSpPr>
          <p:nvPr/>
        </p:nvSpPr>
        <p:spPr>
          <a:xfrm>
            <a:off x="79375" y="1427163"/>
            <a:ext cx="1293813" cy="1220788"/>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200" b="1" i="0" u="none" strike="noStrike" kern="1200" cap="none" spc="0" normalizeH="0" baseline="0" noProof="0" dirty="0">
                <a:solidFill>
                  <a:schemeClr val="bg1"/>
                </a:solidFill>
                <a:effectLst/>
                <a:uLnTx/>
                <a:uFillTx/>
                <a:latin typeface="Trebuchet MS"/>
                <a:ea typeface="+mn-ea"/>
                <a:cs typeface="+mn-cs"/>
              </a:rPr>
              <a:t>Demand</a:t>
            </a:r>
            <a:endParaRPr kumimoji="0" lang="en-US" sz="1200" b="0" i="1" u="none" strike="noStrike" kern="1200" cap="none" spc="0" normalizeH="0" baseline="0" noProof="0" dirty="0">
              <a:solidFill>
                <a:schemeClr val="bg1"/>
              </a:solidFill>
              <a:effectLst/>
              <a:uLnTx/>
              <a:uFillTx/>
              <a:latin typeface="Trebuchet MS"/>
              <a:ea typeface="+mn-ea"/>
              <a:cs typeface="+mn-cs"/>
            </a:endParaRPr>
          </a:p>
        </p:txBody>
      </p:sp>
      <p:sp>
        <p:nvSpPr>
          <p:cNvPr id="8" name="Graphic 3">
            <a:extLst>
              <a:ext uri="{FF2B5EF4-FFF2-40B4-BE49-F238E27FC236}">
                <a16:creationId xmlns:a16="http://schemas.microsoft.com/office/drawing/2014/main" id="{51CAEDB5-E274-154D-3C11-4B75DBEB06B5}"/>
              </a:ext>
            </a:extLst>
          </p:cNvPr>
          <p:cNvSpPr>
            <a:spLocks/>
          </p:cNvSpPr>
          <p:nvPr/>
        </p:nvSpPr>
        <p:spPr>
          <a:xfrm>
            <a:off x="79375" y="2730500"/>
            <a:ext cx="1293813" cy="1220788"/>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200" b="1" dirty="0">
                <a:solidFill>
                  <a:schemeClr val="bg1"/>
                </a:solidFill>
                <a:latin typeface="Trebuchet MS"/>
              </a:rPr>
              <a:t>Supply</a:t>
            </a:r>
          </a:p>
        </p:txBody>
      </p:sp>
      <p:sp>
        <p:nvSpPr>
          <p:cNvPr id="9" name="Graphic 3">
            <a:extLst>
              <a:ext uri="{FF2B5EF4-FFF2-40B4-BE49-F238E27FC236}">
                <a16:creationId xmlns:a16="http://schemas.microsoft.com/office/drawing/2014/main" id="{CA02481D-969A-4AB1-DBA6-C08AC7DB41A5}"/>
              </a:ext>
            </a:extLst>
          </p:cNvPr>
          <p:cNvSpPr>
            <a:spLocks/>
          </p:cNvSpPr>
          <p:nvPr/>
        </p:nvSpPr>
        <p:spPr>
          <a:xfrm>
            <a:off x="79375" y="4038600"/>
            <a:ext cx="1293813" cy="1220788"/>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200" b="1" dirty="0">
                <a:solidFill>
                  <a:schemeClr val="bg1"/>
                </a:solidFill>
                <a:latin typeface="Trebuchet MS"/>
              </a:rPr>
              <a:t>Prices / Affordability</a:t>
            </a:r>
          </a:p>
        </p:txBody>
      </p:sp>
      <p:sp>
        <p:nvSpPr>
          <p:cNvPr id="19" name="Graphic 3">
            <a:extLst>
              <a:ext uri="{FF2B5EF4-FFF2-40B4-BE49-F238E27FC236}">
                <a16:creationId xmlns:a16="http://schemas.microsoft.com/office/drawing/2014/main" id="{59A33731-CA32-5504-3ACB-60E6A3D14B37}"/>
              </a:ext>
            </a:extLst>
          </p:cNvPr>
          <p:cNvSpPr>
            <a:spLocks/>
          </p:cNvSpPr>
          <p:nvPr/>
        </p:nvSpPr>
        <p:spPr>
          <a:xfrm>
            <a:off x="1465263" y="5338763"/>
            <a:ext cx="2197100" cy="1220788"/>
          </a:xfrm>
          <a:prstGeom prst="rect">
            <a:avLst/>
          </a:prstGeom>
          <a:solidFill>
            <a:schemeClr val="bg1"/>
          </a:solidFill>
          <a:ln w="0" cap="flat">
            <a:noFill/>
            <a:prstDash val="solid"/>
            <a:miter/>
          </a:ln>
        </p:spPr>
        <p:txBody>
          <a:bodyPr lIns="91440" tIns="91440" rIns="91440" bIns="91440" rtlCol="0" anchor="ctr"/>
          <a:lstStyle/>
          <a:p>
            <a:pPr lvl="0">
              <a:spcAft>
                <a:spcPts val="200"/>
              </a:spcAft>
              <a:buClr>
                <a:srgbClr val="006C67"/>
              </a:buClr>
              <a:defRPr/>
            </a:pPr>
            <a:r>
              <a:rPr lang="en-US" sz="1000" b="1" dirty="0">
                <a:solidFill>
                  <a:srgbClr val="000000"/>
                </a:solidFill>
              </a:rPr>
              <a:t>Real estate is a core enabler of Riyadh’s growth agenda</a:t>
            </a:r>
          </a:p>
          <a:p>
            <a:pPr lvl="0">
              <a:spcAft>
                <a:spcPts val="200"/>
              </a:spcAft>
              <a:buClr>
                <a:srgbClr val="006C67"/>
              </a:buClr>
              <a:defRPr/>
            </a:pPr>
            <a:r>
              <a:rPr lang="en-US" sz="1000" i="1" dirty="0">
                <a:solidFill>
                  <a:srgbClr val="000000"/>
                </a:solidFill>
              </a:rPr>
              <a:t>contributing ~12% of non-oil output (real estate + construction); sustained housing cost pressures raise </a:t>
            </a:r>
            <a:r>
              <a:rPr lang="en-US" sz="1000" i="1" dirty="0" err="1">
                <a:solidFill>
                  <a:srgbClr val="000000"/>
                </a:solidFill>
              </a:rPr>
              <a:t>labour</a:t>
            </a:r>
            <a:r>
              <a:rPr lang="en-US" sz="1000" i="1" dirty="0">
                <a:solidFill>
                  <a:srgbClr val="000000"/>
                </a:solidFill>
              </a:rPr>
              <a:t> costs and strain talent attraction/retention.</a:t>
            </a:r>
          </a:p>
        </p:txBody>
      </p:sp>
      <p:sp>
        <p:nvSpPr>
          <p:cNvPr id="21" name="Graphic 3">
            <a:extLst>
              <a:ext uri="{FF2B5EF4-FFF2-40B4-BE49-F238E27FC236}">
                <a16:creationId xmlns:a16="http://schemas.microsoft.com/office/drawing/2014/main" id="{7C471700-99DE-F96E-0E17-BEE5C9186A5E}"/>
              </a:ext>
            </a:extLst>
          </p:cNvPr>
          <p:cNvSpPr>
            <a:spLocks/>
          </p:cNvSpPr>
          <p:nvPr/>
        </p:nvSpPr>
        <p:spPr>
          <a:xfrm>
            <a:off x="3765550" y="53387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tx1">
                    <a:lumMod val="65000"/>
                    <a:lumOff val="35000"/>
                  </a:schemeClr>
                </a:solidFill>
                <a:effectLst/>
                <a:uLnTx/>
                <a:uFillTx/>
                <a:latin typeface="Trebuchet MS"/>
                <a:ea typeface="+mn-ea"/>
                <a:cs typeface="Arial"/>
                <a:sym typeface="Arial"/>
              </a:rPr>
              <a:t>~12% </a:t>
            </a:r>
            <a:r>
              <a:rPr kumimoji="0" lang="en-US" sz="900" b="0" i="0" u="none" strike="noStrike" kern="0" cap="none" spc="0" normalizeH="0" baseline="0" noProof="0" dirty="0">
                <a:ln>
                  <a:noFill/>
                </a:ln>
                <a:solidFill>
                  <a:srgbClr val="000000"/>
                </a:solidFill>
                <a:effectLst/>
                <a:uLnTx/>
                <a:uFillTx/>
                <a:latin typeface="Trebuchet MS"/>
                <a:ea typeface="+mn-ea"/>
                <a:cs typeface="Arial"/>
                <a:sym typeface="Arial"/>
              </a:rPr>
              <a:t>share of non-oil output linked to real estate + construction</a:t>
            </a:r>
            <a:endPar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endParaRPr>
          </a:p>
        </p:txBody>
      </p:sp>
      <p:sp>
        <p:nvSpPr>
          <p:cNvPr id="24" name="Graphic 3">
            <a:extLst>
              <a:ext uri="{FF2B5EF4-FFF2-40B4-BE49-F238E27FC236}">
                <a16:creationId xmlns:a16="http://schemas.microsoft.com/office/drawing/2014/main" id="{2EE63C5A-64E4-F04C-B651-51826AFD06B5}"/>
              </a:ext>
            </a:extLst>
          </p:cNvPr>
          <p:cNvSpPr>
            <a:spLocks/>
          </p:cNvSpPr>
          <p:nvPr/>
        </p:nvSpPr>
        <p:spPr>
          <a:xfrm>
            <a:off x="79375" y="5345113"/>
            <a:ext cx="1293813" cy="1220788"/>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200" b="1" dirty="0">
                <a:solidFill>
                  <a:schemeClr val="bg1"/>
                </a:solidFill>
                <a:latin typeface="Trebuchet MS"/>
              </a:rPr>
              <a:t>Other</a:t>
            </a:r>
          </a:p>
        </p:txBody>
      </p:sp>
      <p:sp>
        <p:nvSpPr>
          <p:cNvPr id="27" name="Graphic 3">
            <a:extLst>
              <a:ext uri="{FF2B5EF4-FFF2-40B4-BE49-F238E27FC236}">
                <a16:creationId xmlns:a16="http://schemas.microsoft.com/office/drawing/2014/main" id="{23EFF861-B9AD-F29C-0305-6633FFD94CE9}"/>
              </a:ext>
            </a:extLst>
          </p:cNvPr>
          <p:cNvSpPr>
            <a:spLocks/>
          </p:cNvSpPr>
          <p:nvPr/>
        </p:nvSpPr>
        <p:spPr>
          <a:xfrm>
            <a:off x="4927600" y="14160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tx1">
                    <a:lumMod val="65000"/>
                    <a:lumOff val="35000"/>
                  </a:schemeClr>
                </a:solidFill>
                <a:effectLst/>
                <a:uLnTx/>
                <a:uFillTx/>
                <a:latin typeface="Trebuchet MS"/>
                <a:ea typeface="+mn-ea"/>
                <a:cs typeface="Arial"/>
                <a:sym typeface="Arial"/>
              </a:rPr>
              <a:t>~1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employment growth fr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21 – ’24</a:t>
            </a:r>
          </a:p>
        </p:txBody>
      </p:sp>
      <p:sp>
        <p:nvSpPr>
          <p:cNvPr id="28" name="Graphic 3">
            <a:extLst>
              <a:ext uri="{FF2B5EF4-FFF2-40B4-BE49-F238E27FC236}">
                <a16:creationId xmlns:a16="http://schemas.microsoft.com/office/drawing/2014/main" id="{33A9E085-EE17-A5AC-5E91-DD0AAFAC664C}"/>
              </a:ext>
            </a:extLst>
          </p:cNvPr>
          <p:cNvSpPr>
            <a:spLocks/>
          </p:cNvSpPr>
          <p:nvPr/>
        </p:nvSpPr>
        <p:spPr>
          <a:xfrm>
            <a:off x="4927600" y="27241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00000"/>
                </a:solidFill>
                <a:effectLst/>
                <a:uLnTx/>
                <a:uFillTx/>
                <a:latin typeface="Trebuchet MS"/>
                <a:ea typeface="+mn-ea"/>
                <a:cs typeface="Arial"/>
                <a:sym typeface="Arial"/>
              </a:rPr>
              <a:t>~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Decrease in residential starts permits since ‘22</a:t>
            </a:r>
            <a:endParaRPr kumimoji="0" lang="en-GB" sz="1100" b="0" i="0" u="none" strike="noStrike" kern="0" cap="none" spc="0" normalizeH="0" baseline="0" noProof="0" dirty="0">
              <a:ln>
                <a:noFill/>
              </a:ln>
              <a:solidFill>
                <a:srgbClr val="000000"/>
              </a:solidFill>
              <a:effectLst/>
              <a:uLnTx/>
              <a:uFillTx/>
              <a:latin typeface="Trebuchet MS"/>
              <a:ea typeface="+mn-ea"/>
              <a:cs typeface="Arial"/>
              <a:sym typeface="Arial"/>
            </a:endParaRPr>
          </a:p>
        </p:txBody>
      </p:sp>
      <p:sp>
        <p:nvSpPr>
          <p:cNvPr id="38" name="Graphic 3">
            <a:extLst>
              <a:ext uri="{FF2B5EF4-FFF2-40B4-BE49-F238E27FC236}">
                <a16:creationId xmlns:a16="http://schemas.microsoft.com/office/drawing/2014/main" id="{C8F66E5E-02DC-5127-C8E2-25DB475F8003}"/>
              </a:ext>
            </a:extLst>
          </p:cNvPr>
          <p:cNvSpPr>
            <a:spLocks/>
          </p:cNvSpPr>
          <p:nvPr/>
        </p:nvSpPr>
        <p:spPr>
          <a:xfrm>
            <a:off x="4927600" y="40306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00000"/>
                </a:solidFill>
                <a:effectLst/>
                <a:uLnTx/>
                <a:uFillTx/>
                <a:latin typeface="Trebuchet MS"/>
                <a:ea typeface="+mn-ea"/>
                <a:cs typeface="Arial"/>
                <a:sym typeface="Arial"/>
              </a:rPr>
              <a:t>~50%+</a:t>
            </a:r>
            <a:r>
              <a:rPr kumimoji="0" lang="en-GB" sz="900" b="1" i="0" u="none" strike="noStrike" kern="0" cap="none" spc="0" normalizeH="0" baseline="0" noProof="0" dirty="0">
                <a:ln>
                  <a:noFill/>
                </a:ln>
                <a:solidFill>
                  <a:srgbClr val="C00000"/>
                </a:solidFill>
                <a:effectLst/>
                <a:uLnTx/>
                <a:uFillTx/>
                <a:latin typeface="Trebuchet MS"/>
                <a:ea typeface="+mn-ea"/>
                <a:cs typeface="Arial"/>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Rent-to-income in mid-market segments from ’22 – ‘25</a:t>
            </a:r>
          </a:p>
        </p:txBody>
      </p:sp>
      <p:sp>
        <p:nvSpPr>
          <p:cNvPr id="44" name="Arrow: Down 43">
            <a:extLst>
              <a:ext uri="{FF2B5EF4-FFF2-40B4-BE49-F238E27FC236}">
                <a16:creationId xmlns:a16="http://schemas.microsoft.com/office/drawing/2014/main" id="{DF93CDAF-765A-677C-AB80-80EC81490B14}"/>
              </a:ext>
            </a:extLst>
          </p:cNvPr>
          <p:cNvSpPr/>
          <p:nvPr/>
        </p:nvSpPr>
        <p:spPr>
          <a:xfrm rot="10800000">
            <a:off x="5322888" y="1554163"/>
            <a:ext cx="334963" cy="280988"/>
          </a:xfrm>
          <a:prstGeom prst="downArrow">
            <a:avLst/>
          </a:prstGeom>
          <a:solidFill>
            <a:schemeClr val="tx1">
              <a:lumMod val="65000"/>
              <a:lumOff val="3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52" name="Arrow: Down 51">
            <a:extLst>
              <a:ext uri="{FF2B5EF4-FFF2-40B4-BE49-F238E27FC236}">
                <a16:creationId xmlns:a16="http://schemas.microsoft.com/office/drawing/2014/main" id="{C47AE652-E04C-D0F0-BC64-DD4737B04AA6}"/>
              </a:ext>
            </a:extLst>
          </p:cNvPr>
          <p:cNvSpPr/>
          <p:nvPr/>
        </p:nvSpPr>
        <p:spPr>
          <a:xfrm>
            <a:off x="5322888" y="2778125"/>
            <a:ext cx="334963" cy="280988"/>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58" name="Graphic 3">
            <a:extLst>
              <a:ext uri="{FF2B5EF4-FFF2-40B4-BE49-F238E27FC236}">
                <a16:creationId xmlns:a16="http://schemas.microsoft.com/office/drawing/2014/main" id="{590A928A-707F-2352-D7EE-C8EBBFA5E306}"/>
              </a:ext>
            </a:extLst>
          </p:cNvPr>
          <p:cNvSpPr>
            <a:spLocks/>
          </p:cNvSpPr>
          <p:nvPr/>
        </p:nvSpPr>
        <p:spPr>
          <a:xfrm>
            <a:off x="4927600" y="53387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3">
                    <a:lumMod val="75000"/>
                  </a:schemeClr>
                </a:solidFill>
                <a:effectLst/>
                <a:uLnTx/>
                <a:uFillTx/>
                <a:latin typeface="Trebuchet MS"/>
                <a:ea typeface="+mn-ea"/>
                <a:cs typeface="Arial"/>
                <a:sym typeface="Arial"/>
              </a:rPr>
              <a:t>~20%</a:t>
            </a:r>
            <a:r>
              <a:rPr kumimoji="0" lang="en-GB" sz="900" b="1" i="0" u="none" strike="noStrike" kern="0" cap="none" spc="0" normalizeH="0" baseline="0" noProof="0" dirty="0">
                <a:ln>
                  <a:noFill/>
                </a:ln>
                <a:solidFill>
                  <a:schemeClr val="accent3">
                    <a:lumMod val="75000"/>
                  </a:schemeClr>
                </a:solidFill>
                <a:effectLst/>
                <a:uLnTx/>
                <a:uFillTx/>
                <a:latin typeface="Trebuchet MS"/>
                <a:ea typeface="+mn-ea"/>
                <a:cs typeface="Arial"/>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Trebuchet MS"/>
                <a:ea typeface="+mn-ea"/>
                <a:cs typeface="Arial"/>
                <a:sym typeface="Arial"/>
              </a:rPr>
              <a:t>increase in construction/housing investment since ’21</a:t>
            </a:r>
            <a:endPar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endParaRPr>
          </a:p>
        </p:txBody>
      </p:sp>
      <p:sp>
        <p:nvSpPr>
          <p:cNvPr id="62" name="Arrow: Down 61">
            <a:extLst>
              <a:ext uri="{FF2B5EF4-FFF2-40B4-BE49-F238E27FC236}">
                <a16:creationId xmlns:a16="http://schemas.microsoft.com/office/drawing/2014/main" id="{6A0BB21D-EF39-9974-BBBD-FBBB864D9705}"/>
              </a:ext>
            </a:extLst>
          </p:cNvPr>
          <p:cNvSpPr/>
          <p:nvPr/>
        </p:nvSpPr>
        <p:spPr>
          <a:xfrm rot="10800000">
            <a:off x="4932363" y="5511800"/>
            <a:ext cx="334963" cy="280988"/>
          </a:xfrm>
          <a:prstGeom prst="downArrow">
            <a:avLst/>
          </a:prstGeom>
          <a:solidFill>
            <a:schemeClr val="accent3">
              <a:lumMod val="7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63" name="Graphic 3">
            <a:extLst>
              <a:ext uri="{FF2B5EF4-FFF2-40B4-BE49-F238E27FC236}">
                <a16:creationId xmlns:a16="http://schemas.microsoft.com/office/drawing/2014/main" id="{93E75735-1625-FC57-C5C5-D65168E12762}"/>
              </a:ext>
            </a:extLst>
          </p:cNvPr>
          <p:cNvSpPr>
            <a:spLocks/>
          </p:cNvSpPr>
          <p:nvPr/>
        </p:nvSpPr>
        <p:spPr>
          <a:xfrm>
            <a:off x="6230938" y="14160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tx1">
                    <a:lumMod val="65000"/>
                    <a:lumOff val="35000"/>
                  </a:schemeClr>
                </a:solidFill>
                <a:effectLst/>
                <a:uLnTx/>
                <a:uFillTx/>
                <a:latin typeface="Trebuchet MS"/>
                <a:ea typeface="+mn-ea"/>
                <a:cs typeface="Arial"/>
                <a:sym typeface="Arial"/>
              </a:rPr>
              <a:t>~6%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Growth in Riyadh expat population YoY </a:t>
            </a:r>
          </a:p>
        </p:txBody>
      </p:sp>
      <p:sp>
        <p:nvSpPr>
          <p:cNvPr id="64" name="Graphic 3">
            <a:extLst>
              <a:ext uri="{FF2B5EF4-FFF2-40B4-BE49-F238E27FC236}">
                <a16:creationId xmlns:a16="http://schemas.microsoft.com/office/drawing/2014/main" id="{8EB1F3D5-FE6B-9087-CE36-C7759E6A3589}"/>
              </a:ext>
            </a:extLst>
          </p:cNvPr>
          <p:cNvSpPr>
            <a:spLocks/>
          </p:cNvSpPr>
          <p:nvPr/>
        </p:nvSpPr>
        <p:spPr>
          <a:xfrm>
            <a:off x="6230938" y="2724150"/>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00000"/>
                </a:solidFill>
                <a:effectLst/>
                <a:uLnTx/>
                <a:uFillTx/>
                <a:latin typeface="Trebuchet MS"/>
                <a:ea typeface="+mn-ea"/>
                <a:cs typeface="Arial"/>
                <a:sym typeface="Arial"/>
              </a:rPr>
              <a:t>~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Permits / starts issued YoY (</a:t>
            </a:r>
            <a:r>
              <a:rPr kumimoji="0" lang="en-GB" sz="900" b="0" i="0" u="none" strike="noStrike" kern="0" cap="none" spc="0" normalizeH="0" baseline="0" noProof="0" dirty="0" err="1">
                <a:ln>
                  <a:noFill/>
                </a:ln>
                <a:solidFill>
                  <a:srgbClr val="000000"/>
                </a:solidFill>
                <a:effectLst/>
                <a:uLnTx/>
                <a:uFillTx/>
                <a:latin typeface="Trebuchet MS"/>
                <a:ea typeface="+mn-ea"/>
                <a:cs typeface="Arial"/>
                <a:sym typeface="Arial"/>
              </a:rPr>
              <a:t>eary</a:t>
            </a: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 warning on next year delivery)</a:t>
            </a:r>
            <a:endParaRPr kumimoji="0" lang="en-GB" sz="1100" b="0" i="0" u="none" strike="noStrike" kern="0" cap="none" spc="0" normalizeH="0" baseline="0" noProof="0" dirty="0">
              <a:ln>
                <a:noFill/>
              </a:ln>
              <a:solidFill>
                <a:srgbClr val="000000"/>
              </a:solidFill>
              <a:effectLst/>
              <a:uLnTx/>
              <a:uFillTx/>
              <a:latin typeface="Trebuchet MS"/>
              <a:ea typeface="+mn-ea"/>
              <a:cs typeface="Arial"/>
              <a:sym typeface="Arial"/>
            </a:endParaRPr>
          </a:p>
        </p:txBody>
      </p:sp>
      <p:sp>
        <p:nvSpPr>
          <p:cNvPr id="65" name="Graphic 3">
            <a:extLst>
              <a:ext uri="{FF2B5EF4-FFF2-40B4-BE49-F238E27FC236}">
                <a16:creationId xmlns:a16="http://schemas.microsoft.com/office/drawing/2014/main" id="{12B49805-9CF0-2F8D-50EB-46AA06D96622}"/>
              </a:ext>
            </a:extLst>
          </p:cNvPr>
          <p:cNvSpPr>
            <a:spLocks/>
          </p:cNvSpPr>
          <p:nvPr/>
        </p:nvSpPr>
        <p:spPr>
          <a:xfrm>
            <a:off x="6230938" y="40306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RIR trending upwards over the last 12 months</a:t>
            </a:r>
          </a:p>
        </p:txBody>
      </p:sp>
      <p:sp>
        <p:nvSpPr>
          <p:cNvPr id="67" name="Arrow: Down 66">
            <a:extLst>
              <a:ext uri="{FF2B5EF4-FFF2-40B4-BE49-F238E27FC236}">
                <a16:creationId xmlns:a16="http://schemas.microsoft.com/office/drawing/2014/main" id="{CDCCC864-5778-0891-F55F-670F3600F8F6}"/>
              </a:ext>
            </a:extLst>
          </p:cNvPr>
          <p:cNvSpPr/>
          <p:nvPr/>
        </p:nvSpPr>
        <p:spPr>
          <a:xfrm rot="10800000">
            <a:off x="6626225" y="1554163"/>
            <a:ext cx="334963" cy="280988"/>
          </a:xfrm>
          <a:prstGeom prst="downArrow">
            <a:avLst/>
          </a:prstGeom>
          <a:solidFill>
            <a:schemeClr val="tx1">
              <a:lumMod val="65000"/>
              <a:lumOff val="3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69" name="Arrow: Down 68">
            <a:extLst>
              <a:ext uri="{FF2B5EF4-FFF2-40B4-BE49-F238E27FC236}">
                <a16:creationId xmlns:a16="http://schemas.microsoft.com/office/drawing/2014/main" id="{A8E72E96-7AA4-AA8F-DFCA-1806A7330E8E}"/>
              </a:ext>
            </a:extLst>
          </p:cNvPr>
          <p:cNvSpPr/>
          <p:nvPr/>
        </p:nvSpPr>
        <p:spPr>
          <a:xfrm rot="10800000">
            <a:off x="6626225" y="4160838"/>
            <a:ext cx="334963" cy="280988"/>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70" name="Graphic 3">
            <a:extLst>
              <a:ext uri="{FF2B5EF4-FFF2-40B4-BE49-F238E27FC236}">
                <a16:creationId xmlns:a16="http://schemas.microsoft.com/office/drawing/2014/main" id="{5F27C0BA-2309-D95F-FFB0-1AA45350F295}"/>
              </a:ext>
            </a:extLst>
          </p:cNvPr>
          <p:cNvSpPr>
            <a:spLocks/>
          </p:cNvSpPr>
          <p:nvPr/>
        </p:nvSpPr>
        <p:spPr>
          <a:xfrm>
            <a:off x="6230938" y="5338763"/>
            <a:ext cx="1147763" cy="1220788"/>
          </a:xfrm>
          <a:prstGeom prst="rect">
            <a:avLst/>
          </a:prstGeom>
          <a:solidFill>
            <a:schemeClr val="accent5">
              <a:lumMod val="20000"/>
              <a:lumOff val="80000"/>
            </a:schemeClr>
          </a:solidFill>
          <a:ln w="0" cap="flat">
            <a:noFill/>
            <a:prstDash val="solid"/>
            <a:miter/>
          </a:ln>
        </p:spPr>
        <p:txBody>
          <a:bodyPr lIns="182880" tIns="0" rIns="18288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3">
                    <a:lumMod val="75000"/>
                  </a:schemeClr>
                </a:solidFill>
                <a:effectLst/>
                <a:uLnTx/>
                <a:uFillTx/>
                <a:latin typeface="Trebuchet MS"/>
                <a:ea typeface="+mn-ea"/>
                <a:cs typeface="Arial"/>
                <a:sym typeface="Arial"/>
              </a:rPr>
              <a:t>~5%</a:t>
            </a:r>
            <a:r>
              <a:rPr kumimoji="0" lang="en-GB" sz="900" b="1" i="0" u="none" strike="noStrike" kern="0" cap="none" spc="0" normalizeH="0" baseline="0" noProof="0" dirty="0">
                <a:ln>
                  <a:noFill/>
                </a:ln>
                <a:solidFill>
                  <a:schemeClr val="accent3">
                    <a:lumMod val="75000"/>
                  </a:schemeClr>
                </a:solidFill>
                <a:effectLst/>
                <a:uLnTx/>
                <a:uFillTx/>
                <a:latin typeface="Trebuchet MS"/>
                <a:ea typeface="+mn-ea"/>
                <a:cs typeface="Arial"/>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Trebuchet MS"/>
                <a:ea typeface="+mn-ea"/>
                <a:cs typeface="Arial"/>
                <a:sym typeface="Arial"/>
              </a:rPr>
              <a:t>Increase in residential mortgage lending YoY</a:t>
            </a:r>
          </a:p>
        </p:txBody>
      </p:sp>
      <p:sp>
        <p:nvSpPr>
          <p:cNvPr id="71" name="Arrow: Down 70">
            <a:extLst>
              <a:ext uri="{FF2B5EF4-FFF2-40B4-BE49-F238E27FC236}">
                <a16:creationId xmlns:a16="http://schemas.microsoft.com/office/drawing/2014/main" id="{E731C2AB-A254-8FCB-C2FB-CB01967D429B}"/>
              </a:ext>
            </a:extLst>
          </p:cNvPr>
          <p:cNvSpPr/>
          <p:nvPr/>
        </p:nvSpPr>
        <p:spPr>
          <a:xfrm rot="10800000">
            <a:off x="6626225" y="5381625"/>
            <a:ext cx="334963" cy="280988"/>
          </a:xfrm>
          <a:prstGeom prst="downArrow">
            <a:avLst/>
          </a:prstGeom>
          <a:solidFill>
            <a:schemeClr val="accent3">
              <a:lumMod val="7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150" name="Rectangle 149">
            <a:extLst>
              <a:ext uri="{FF2B5EF4-FFF2-40B4-BE49-F238E27FC236}">
                <a16:creationId xmlns:a16="http://schemas.microsoft.com/office/drawing/2014/main" id="{7DD40B23-8443-52CE-C8F4-DBBE7D143E94}"/>
              </a:ext>
            </a:extLst>
          </p:cNvPr>
          <p:cNvSpPr/>
          <p:nvPr/>
        </p:nvSpPr>
        <p:spPr>
          <a:xfrm>
            <a:off x="7880350" y="1427163"/>
            <a:ext cx="3846513" cy="5141913"/>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18288" rIns="91440" bIns="9144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endParaRPr kumimoji="0" lang="en-US" sz="1000" b="0" i="1" u="none" strike="noStrike" kern="1200" cap="none" spc="0" normalizeH="0" baseline="0" noProof="0" dirty="0">
              <a:ln>
                <a:noFill/>
              </a:ln>
              <a:solidFill>
                <a:srgbClr val="000000"/>
              </a:solidFill>
              <a:effectLst/>
              <a:uLnTx/>
              <a:uFillTx/>
              <a:latin typeface="Trebuchet MS"/>
              <a:ea typeface="+mn-ea"/>
              <a:cs typeface="+mn-cs"/>
            </a:endParaRPr>
          </a:p>
        </p:txBody>
      </p:sp>
      <p:cxnSp>
        <p:nvCxnSpPr>
          <p:cNvPr id="241" name="Straight Connector 240">
            <a:extLst>
              <a:ext uri="{FF2B5EF4-FFF2-40B4-BE49-F238E27FC236}">
                <a16:creationId xmlns:a16="http://schemas.microsoft.com/office/drawing/2014/main" id="{1EF3404A-441A-7172-7D59-4C6FEAD98E72}"/>
              </a:ext>
            </a:extLst>
          </p:cNvPr>
          <p:cNvCxnSpPr/>
          <p:nvPr>
            <p:custDataLst>
              <p:tags r:id="rId2"/>
            </p:custDataLst>
          </p:nvPr>
        </p:nvCxnSpPr>
        <p:spPr bwMode="gray">
          <a:xfrm flipH="1">
            <a:off x="8523288" y="5497513"/>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EA2E302C-ECA4-4BD2-A7DE-507206C57F0F}"/>
              </a:ext>
            </a:extLst>
          </p:cNvPr>
          <p:cNvCxnSpPr/>
          <p:nvPr>
            <p:custDataLst>
              <p:tags r:id="rId3"/>
            </p:custDataLst>
          </p:nvPr>
        </p:nvCxnSpPr>
        <p:spPr bwMode="gray">
          <a:xfrm flipH="1">
            <a:off x="8523288" y="5999163"/>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2B2AFD86-F85C-718C-3308-34A9D027E4AA}"/>
              </a:ext>
            </a:extLst>
          </p:cNvPr>
          <p:cNvCxnSpPr/>
          <p:nvPr>
            <p:custDataLst>
              <p:tags r:id="rId4"/>
            </p:custDataLst>
          </p:nvPr>
        </p:nvCxnSpPr>
        <p:spPr bwMode="gray">
          <a:xfrm flipH="1">
            <a:off x="8523288" y="5703888"/>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B2F998DB-6556-63D1-5321-8718A9AEC915}"/>
              </a:ext>
            </a:extLst>
          </p:cNvPr>
          <p:cNvCxnSpPr/>
          <p:nvPr>
            <p:custDataLst>
              <p:tags r:id="rId5"/>
            </p:custDataLst>
          </p:nvPr>
        </p:nvCxnSpPr>
        <p:spPr bwMode="gray">
          <a:xfrm flipH="1">
            <a:off x="8523288" y="5291138"/>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34212A45-68C0-E863-9CBD-006DC0508BEE}"/>
              </a:ext>
            </a:extLst>
          </p:cNvPr>
          <p:cNvCxnSpPr/>
          <p:nvPr>
            <p:custDataLst>
              <p:tags r:id="rId6"/>
            </p:custDataLst>
          </p:nvPr>
        </p:nvCxnSpPr>
        <p:spPr bwMode="gray">
          <a:xfrm flipH="1">
            <a:off x="8523288" y="5084763"/>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A9FC885A-269E-55C4-295A-39E0B9DFD903}"/>
              </a:ext>
            </a:extLst>
          </p:cNvPr>
          <p:cNvCxnSpPr/>
          <p:nvPr>
            <p:custDataLst>
              <p:tags r:id="rId7"/>
            </p:custDataLst>
          </p:nvPr>
        </p:nvCxnSpPr>
        <p:spPr bwMode="gray">
          <a:xfrm flipH="1">
            <a:off x="8523288" y="4879975"/>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220035C3-DA2B-B301-C619-089547724052}"/>
              </a:ext>
            </a:extLst>
          </p:cNvPr>
          <p:cNvCxnSpPr/>
          <p:nvPr>
            <p:custDataLst>
              <p:tags r:id="rId8"/>
            </p:custDataLst>
          </p:nvPr>
        </p:nvCxnSpPr>
        <p:spPr bwMode="gray">
          <a:xfrm flipH="1">
            <a:off x="8523288" y="4673600"/>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3DAAC16E-671D-0B2E-EB1B-93D11AD7BD8F}"/>
              </a:ext>
            </a:extLst>
          </p:cNvPr>
          <p:cNvCxnSpPr/>
          <p:nvPr>
            <p:custDataLst>
              <p:tags r:id="rId9"/>
            </p:custDataLst>
          </p:nvPr>
        </p:nvCxnSpPr>
        <p:spPr bwMode="gray">
          <a:xfrm flipH="1">
            <a:off x="8523288" y="4467225"/>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DDD290C0-97A8-10D6-5337-A0B5C6CB3817}"/>
              </a:ext>
            </a:extLst>
          </p:cNvPr>
          <p:cNvCxnSpPr/>
          <p:nvPr>
            <p:custDataLst>
              <p:tags r:id="rId10"/>
            </p:custDataLst>
          </p:nvPr>
        </p:nvCxnSpPr>
        <p:spPr bwMode="gray">
          <a:xfrm flipH="1">
            <a:off x="8523288" y="4262438"/>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53314E64-350D-370F-3478-544AFF2B5966}"/>
              </a:ext>
            </a:extLst>
          </p:cNvPr>
          <p:cNvCxnSpPr/>
          <p:nvPr>
            <p:custDataLst>
              <p:tags r:id="rId11"/>
            </p:custDataLst>
          </p:nvPr>
        </p:nvCxnSpPr>
        <p:spPr bwMode="gray">
          <a:xfrm flipH="1">
            <a:off x="8523288" y="4056063"/>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A700538D-480C-220F-F100-F09FA5706705}"/>
              </a:ext>
            </a:extLst>
          </p:cNvPr>
          <p:cNvCxnSpPr/>
          <p:nvPr>
            <p:custDataLst>
              <p:tags r:id="rId12"/>
            </p:custDataLst>
          </p:nvPr>
        </p:nvCxnSpPr>
        <p:spPr bwMode="gray">
          <a:xfrm flipH="1">
            <a:off x="8523288" y="3849688"/>
            <a:ext cx="33338"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2D55536C-E152-5006-7E1E-DE8DA27A8E09}"/>
              </a:ext>
            </a:extLst>
          </p:cNvPr>
          <p:cNvCxnSpPr/>
          <p:nvPr>
            <p:custDataLst>
              <p:tags r:id="rId13"/>
            </p:custDataLst>
          </p:nvPr>
        </p:nvCxnSpPr>
        <p:spPr bwMode="gray">
          <a:xfrm flipH="1">
            <a:off x="8523288" y="3644900"/>
            <a:ext cx="33337"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86D80305-5B47-3E7A-A2B1-7D8D31E17150}"/>
              </a:ext>
            </a:extLst>
          </p:cNvPr>
          <p:cNvCxnSpPr/>
          <p:nvPr>
            <p:custDataLst>
              <p:tags r:id="rId14"/>
            </p:custDataLst>
          </p:nvPr>
        </p:nvCxnSpPr>
        <p:spPr bwMode="gray">
          <a:xfrm flipH="1">
            <a:off x="8523288" y="3438525"/>
            <a:ext cx="33337" cy="0"/>
          </a:xfrm>
          <a:prstGeom prst="line">
            <a:avLst/>
          </a:prstGeom>
          <a:ln w="9525"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7" name="Chart 36">
            <a:extLst>
              <a:ext uri="{FF2B5EF4-FFF2-40B4-BE49-F238E27FC236}">
                <a16:creationId xmlns:a16="http://schemas.microsoft.com/office/drawing/2014/main" id="{BEF433CD-4A80-A732-2AF6-3A592B6469AC}"/>
              </a:ext>
            </a:extLst>
          </p:cNvPr>
          <p:cNvGraphicFramePr/>
          <p:nvPr>
            <p:custDataLst>
              <p:tags r:id="rId15"/>
            </p:custDataLst>
            <p:extLst>
              <p:ext uri="{D42A27DB-BD31-4B8C-83A1-F6EECF244321}">
                <p14:modId xmlns:p14="http://schemas.microsoft.com/office/powerpoint/2010/main" val="2439566468"/>
              </p:ext>
            </p:extLst>
          </p:nvPr>
        </p:nvGraphicFramePr>
        <p:xfrm>
          <a:off x="8313738" y="3355975"/>
          <a:ext cx="3373437" cy="2943225"/>
        </p:xfrm>
        <a:graphic>
          <a:graphicData uri="http://schemas.openxmlformats.org/drawingml/2006/chart">
            <c:chart xmlns:c="http://schemas.openxmlformats.org/drawingml/2006/chart" xmlns:r="http://schemas.openxmlformats.org/officeDocument/2006/relationships" r:id="rId60"/>
          </a:graphicData>
        </a:graphic>
      </p:graphicFrame>
      <p:sp>
        <p:nvSpPr>
          <p:cNvPr id="161" name="Text Placeholder 3">
            <a:extLst>
              <a:ext uri="{FF2B5EF4-FFF2-40B4-BE49-F238E27FC236}">
                <a16:creationId xmlns:a16="http://schemas.microsoft.com/office/drawing/2014/main" id="{F2B05434-04A2-CBF6-8A15-3373A126753D}"/>
              </a:ext>
            </a:extLst>
          </p:cNvPr>
          <p:cNvSpPr>
            <a:spLocks noGrp="1"/>
          </p:cNvSpPr>
          <p:nvPr>
            <p:custDataLst>
              <p:tags r:id="rId16"/>
            </p:custDataLst>
          </p:nvPr>
        </p:nvSpPr>
        <p:spPr bwMode="gray">
          <a:xfrm>
            <a:off x="8202613" y="5634038"/>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7E4193FB-F183-46FD-8673-64FA4330767D}" type="datetime'''''''''''''2'''''''''''''''',''''''''40''0'''''''''''''''''''">
              <a:rPr lang="en-GB" altLang="en-US" sz="800" smtClean="0">
                <a:latin typeface="+mn-lt"/>
              </a:rPr>
              <a:pPr lvl="0" algn="r">
                <a:spcBef>
                  <a:spcPct val="0"/>
                </a:spcBef>
                <a:spcAft>
                  <a:spcPct val="0"/>
                </a:spcAft>
                <a:defRPr/>
              </a:pPr>
              <a:t>2,40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234" name="Text Placeholder 3">
            <a:extLst>
              <a:ext uri="{FF2B5EF4-FFF2-40B4-BE49-F238E27FC236}">
                <a16:creationId xmlns:a16="http://schemas.microsoft.com/office/drawing/2014/main" id="{6B3FEF4E-13F1-4D9B-6819-574AA235D108}"/>
              </a:ext>
            </a:extLst>
          </p:cNvPr>
          <p:cNvSpPr>
            <a:spLocks noGrp="1"/>
          </p:cNvSpPr>
          <p:nvPr>
            <p:custDataLst>
              <p:tags r:id="rId17"/>
            </p:custDataLst>
          </p:nvPr>
        </p:nvSpPr>
        <p:spPr bwMode="gray">
          <a:xfrm>
            <a:off x="8202613" y="5427663"/>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9FE81BB3-9BF3-44A3-A2D9-9459A4A2E45A}" type="datetime'''''''''''''''''2'''''''''',''''''''''''''45''''''''0'''''''''">
              <a:rPr lang="en-GB" altLang="en-US" sz="800" smtClean="0">
                <a:effectLst/>
                <a:latin typeface="+mn-lt"/>
              </a:rPr>
              <a:pPr lvl="0" algn="r">
                <a:spcBef>
                  <a:spcPct val="0"/>
                </a:spcBef>
                <a:spcAft>
                  <a:spcPct val="0"/>
                </a:spcAft>
              </a:pPr>
              <a:t>2,450</a:t>
            </a:fld>
            <a:endParaRPr lang="en-GB" sz="800" dirty="0">
              <a:latin typeface="+mn-lt"/>
            </a:endParaRPr>
          </a:p>
        </p:txBody>
      </p:sp>
      <p:sp>
        <p:nvSpPr>
          <p:cNvPr id="160" name="Text Placeholder 3">
            <a:extLst>
              <a:ext uri="{FF2B5EF4-FFF2-40B4-BE49-F238E27FC236}">
                <a16:creationId xmlns:a16="http://schemas.microsoft.com/office/drawing/2014/main" id="{6D8B927A-5BE2-888A-9615-D585B89A748F}"/>
              </a:ext>
            </a:extLst>
          </p:cNvPr>
          <p:cNvSpPr>
            <a:spLocks noGrp="1"/>
          </p:cNvSpPr>
          <p:nvPr>
            <p:custDataLst>
              <p:tags r:id="rId18"/>
            </p:custDataLst>
          </p:nvPr>
        </p:nvSpPr>
        <p:spPr bwMode="gray">
          <a:xfrm>
            <a:off x="8402638" y="5929313"/>
            <a:ext cx="539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B205FA37-A4A0-4DB4-BAA2-44BB521AA806}" type="datetime'''0'''''''">
              <a:rPr lang="en-GB" altLang="en-US" sz="800" smtClean="0">
                <a:latin typeface="+mn-lt"/>
              </a:rPr>
              <a:pPr lvl="0" algn="r">
                <a:spcBef>
                  <a:spcPct val="0"/>
                </a:spcBef>
                <a:spcAft>
                  <a:spcPct val="0"/>
                </a:spcAft>
                <a:defRPr/>
              </a:pPr>
              <a:t>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62" name="Text Placeholder 3">
            <a:extLst>
              <a:ext uri="{FF2B5EF4-FFF2-40B4-BE49-F238E27FC236}">
                <a16:creationId xmlns:a16="http://schemas.microsoft.com/office/drawing/2014/main" id="{28F7B2C5-9569-9FE9-9D40-7F239ECAC9F3}"/>
              </a:ext>
            </a:extLst>
          </p:cNvPr>
          <p:cNvSpPr>
            <a:spLocks noGrp="1"/>
          </p:cNvSpPr>
          <p:nvPr>
            <p:custDataLst>
              <p:tags r:id="rId19"/>
            </p:custDataLst>
          </p:nvPr>
        </p:nvSpPr>
        <p:spPr bwMode="gray">
          <a:xfrm>
            <a:off x="8202613" y="5221288"/>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8A98858F-A46C-4A4C-B292-BF2C191E5BFA}" type="datetime'''''''''''''''''''2'''''''',''''''''''''5''''''''''''''''00'''">
              <a:rPr lang="en-GB" altLang="en-US" sz="800" smtClean="0">
                <a:latin typeface="+mn-lt"/>
              </a:rPr>
              <a:pPr lvl="0" algn="r">
                <a:spcBef>
                  <a:spcPct val="0"/>
                </a:spcBef>
                <a:spcAft>
                  <a:spcPct val="0"/>
                </a:spcAft>
                <a:defRPr/>
              </a:pPr>
              <a:t>2,50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235" name="Text Placeholder 3">
            <a:extLst>
              <a:ext uri="{FF2B5EF4-FFF2-40B4-BE49-F238E27FC236}">
                <a16:creationId xmlns:a16="http://schemas.microsoft.com/office/drawing/2014/main" id="{8E81755B-7FCC-D7CE-909F-B732A6C9BC0F}"/>
              </a:ext>
            </a:extLst>
          </p:cNvPr>
          <p:cNvSpPr>
            <a:spLocks noGrp="1"/>
          </p:cNvSpPr>
          <p:nvPr>
            <p:custDataLst>
              <p:tags r:id="rId20"/>
            </p:custDataLst>
          </p:nvPr>
        </p:nvSpPr>
        <p:spPr bwMode="gray">
          <a:xfrm>
            <a:off x="8202613" y="5014913"/>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F32A6C0A-D4C7-40A1-8030-180F6124F646}" type="datetime'''2'''''''''''''''',''5''5''0'''''''''''''''''''''''">
              <a:rPr lang="en-GB" altLang="en-US" sz="800" smtClean="0">
                <a:effectLst/>
                <a:latin typeface="+mn-lt"/>
              </a:rPr>
              <a:pPr lvl="0" algn="r">
                <a:spcBef>
                  <a:spcPct val="0"/>
                </a:spcBef>
                <a:spcAft>
                  <a:spcPct val="0"/>
                </a:spcAft>
              </a:pPr>
              <a:t>2,550</a:t>
            </a:fld>
            <a:endParaRPr lang="en-GB" sz="800" dirty="0">
              <a:latin typeface="+mn-lt"/>
            </a:endParaRPr>
          </a:p>
        </p:txBody>
      </p:sp>
      <p:sp>
        <p:nvSpPr>
          <p:cNvPr id="163" name="Text Placeholder 3">
            <a:extLst>
              <a:ext uri="{FF2B5EF4-FFF2-40B4-BE49-F238E27FC236}">
                <a16:creationId xmlns:a16="http://schemas.microsoft.com/office/drawing/2014/main" id="{FB7F7762-8C1B-B090-27DE-783EA3DB1AD0}"/>
              </a:ext>
            </a:extLst>
          </p:cNvPr>
          <p:cNvSpPr>
            <a:spLocks noGrp="1"/>
          </p:cNvSpPr>
          <p:nvPr>
            <p:custDataLst>
              <p:tags r:id="rId21"/>
            </p:custDataLst>
          </p:nvPr>
        </p:nvSpPr>
        <p:spPr bwMode="gray">
          <a:xfrm>
            <a:off x="8202613" y="4810125"/>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FF129F79-499A-4ADC-A00D-5630677DA11F}" type="datetime'''''''''2,''''''''''6''''''''''''''0''''''''''''''''''0'''''">
              <a:rPr lang="en-GB" altLang="en-US" sz="800" smtClean="0">
                <a:latin typeface="+mn-lt"/>
              </a:rPr>
              <a:pPr lvl="0" algn="r">
                <a:spcBef>
                  <a:spcPct val="0"/>
                </a:spcBef>
                <a:spcAft>
                  <a:spcPct val="0"/>
                </a:spcAft>
                <a:defRPr/>
              </a:pPr>
              <a:t>2,60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236" name="Text Placeholder 3">
            <a:extLst>
              <a:ext uri="{FF2B5EF4-FFF2-40B4-BE49-F238E27FC236}">
                <a16:creationId xmlns:a16="http://schemas.microsoft.com/office/drawing/2014/main" id="{9CBBE955-2DA6-0C55-1E48-213C08909155}"/>
              </a:ext>
            </a:extLst>
          </p:cNvPr>
          <p:cNvSpPr>
            <a:spLocks noGrp="1"/>
          </p:cNvSpPr>
          <p:nvPr>
            <p:custDataLst>
              <p:tags r:id="rId22"/>
            </p:custDataLst>
          </p:nvPr>
        </p:nvSpPr>
        <p:spPr bwMode="gray">
          <a:xfrm>
            <a:off x="8202613" y="4603750"/>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2476894C-9E85-4A42-B354-3B25C84A478B}" type="datetime'2'''''',''''''''''6''''''''''''''''''''''50'">
              <a:rPr lang="en-GB" altLang="en-US" sz="800" smtClean="0">
                <a:effectLst/>
                <a:latin typeface="+mn-lt"/>
              </a:rPr>
              <a:pPr lvl="0" algn="r">
                <a:spcBef>
                  <a:spcPct val="0"/>
                </a:spcBef>
                <a:spcAft>
                  <a:spcPct val="0"/>
                </a:spcAft>
              </a:pPr>
              <a:t>2,650</a:t>
            </a:fld>
            <a:endParaRPr lang="en-GB" sz="800" dirty="0">
              <a:latin typeface="+mn-lt"/>
            </a:endParaRPr>
          </a:p>
        </p:txBody>
      </p:sp>
      <p:sp>
        <p:nvSpPr>
          <p:cNvPr id="164" name="Text Placeholder 3">
            <a:extLst>
              <a:ext uri="{FF2B5EF4-FFF2-40B4-BE49-F238E27FC236}">
                <a16:creationId xmlns:a16="http://schemas.microsoft.com/office/drawing/2014/main" id="{D2F620DF-9C80-9F20-F42A-FE772F314E77}"/>
              </a:ext>
            </a:extLst>
          </p:cNvPr>
          <p:cNvSpPr>
            <a:spLocks noGrp="1"/>
          </p:cNvSpPr>
          <p:nvPr>
            <p:custDataLst>
              <p:tags r:id="rId23"/>
            </p:custDataLst>
          </p:nvPr>
        </p:nvSpPr>
        <p:spPr bwMode="gray">
          <a:xfrm>
            <a:off x="8202613" y="4397375"/>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55921F83-0F6B-4A97-BC61-B4AF63E1EBC3}" type="datetime'''''2'''''''''''''''',''''''''''''''''''''''''''''7''''0''0'''">
              <a:rPr lang="en-GB" altLang="en-US" sz="800" smtClean="0">
                <a:latin typeface="+mn-lt"/>
              </a:rPr>
              <a:pPr lvl="0" algn="r">
                <a:spcBef>
                  <a:spcPct val="0"/>
                </a:spcBef>
                <a:spcAft>
                  <a:spcPct val="0"/>
                </a:spcAft>
                <a:defRPr/>
              </a:pPr>
              <a:t>2,70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237" name="Text Placeholder 3">
            <a:extLst>
              <a:ext uri="{FF2B5EF4-FFF2-40B4-BE49-F238E27FC236}">
                <a16:creationId xmlns:a16="http://schemas.microsoft.com/office/drawing/2014/main" id="{B0833797-335E-EEEE-417B-F9DC2661E9A3}"/>
              </a:ext>
            </a:extLst>
          </p:cNvPr>
          <p:cNvSpPr>
            <a:spLocks noGrp="1"/>
          </p:cNvSpPr>
          <p:nvPr>
            <p:custDataLst>
              <p:tags r:id="rId24"/>
            </p:custDataLst>
          </p:nvPr>
        </p:nvSpPr>
        <p:spPr bwMode="gray">
          <a:xfrm>
            <a:off x="8202613" y="4192588"/>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6E32A32D-2A11-4E4B-9B85-F572B666C9C0}" type="datetime'''''2,''''''''''''''''''''''''7''''''50'''''''''''''''''''">
              <a:rPr lang="en-GB" altLang="en-US" sz="800" smtClean="0">
                <a:effectLst/>
                <a:latin typeface="+mn-lt"/>
              </a:rPr>
              <a:pPr lvl="0" algn="r">
                <a:spcBef>
                  <a:spcPct val="0"/>
                </a:spcBef>
                <a:spcAft>
                  <a:spcPct val="0"/>
                </a:spcAft>
              </a:pPr>
              <a:t>2,750</a:t>
            </a:fld>
            <a:endParaRPr lang="en-GB" sz="800" dirty="0">
              <a:latin typeface="+mn-lt"/>
            </a:endParaRPr>
          </a:p>
        </p:txBody>
      </p:sp>
      <p:sp>
        <p:nvSpPr>
          <p:cNvPr id="165" name="Text Placeholder 3">
            <a:extLst>
              <a:ext uri="{FF2B5EF4-FFF2-40B4-BE49-F238E27FC236}">
                <a16:creationId xmlns:a16="http://schemas.microsoft.com/office/drawing/2014/main" id="{BB168A04-4BC3-F70F-18B1-1EBF61090A9B}"/>
              </a:ext>
            </a:extLst>
          </p:cNvPr>
          <p:cNvSpPr>
            <a:spLocks noGrp="1"/>
          </p:cNvSpPr>
          <p:nvPr>
            <p:custDataLst>
              <p:tags r:id="rId25"/>
            </p:custDataLst>
          </p:nvPr>
        </p:nvSpPr>
        <p:spPr bwMode="gray">
          <a:xfrm>
            <a:off x="8202613" y="3986213"/>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defRPr/>
            </a:pPr>
            <a:fld id="{98B8F211-57CB-4000-8E14-8B2C4C467925}" type="datetime'''''''''''''''''2'''''''',''''8''''''''''''''''''''''''0''0'''">
              <a:rPr lang="en-GB" altLang="en-US" sz="800" smtClean="0">
                <a:latin typeface="+mn-lt"/>
              </a:rPr>
              <a:pPr lvl="0" algn="r">
                <a:spcBef>
                  <a:spcPct val="0"/>
                </a:spcBef>
                <a:spcAft>
                  <a:spcPct val="0"/>
                </a:spcAft>
                <a:defRPr/>
              </a:pPr>
              <a:t>2,800</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238" name="Text Placeholder 3">
            <a:extLst>
              <a:ext uri="{FF2B5EF4-FFF2-40B4-BE49-F238E27FC236}">
                <a16:creationId xmlns:a16="http://schemas.microsoft.com/office/drawing/2014/main" id="{5141A513-F0D4-1A37-4314-F46048279DDD}"/>
              </a:ext>
            </a:extLst>
          </p:cNvPr>
          <p:cNvSpPr>
            <a:spLocks noGrp="1"/>
          </p:cNvSpPr>
          <p:nvPr>
            <p:custDataLst>
              <p:tags r:id="rId26"/>
            </p:custDataLst>
          </p:nvPr>
        </p:nvSpPr>
        <p:spPr bwMode="gray">
          <a:xfrm>
            <a:off x="8202613" y="3779838"/>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F20C769C-1DE2-436E-845B-216586836A32}" type="datetime'''''''''2'''''''''''''''''''''''''',''''8''50'''''''''''''''''">
              <a:rPr lang="en-GB" altLang="en-US" sz="800" smtClean="0">
                <a:effectLst/>
                <a:latin typeface="+mn-lt"/>
              </a:rPr>
              <a:pPr lvl="0" algn="r">
                <a:spcBef>
                  <a:spcPct val="0"/>
                </a:spcBef>
                <a:spcAft>
                  <a:spcPct val="0"/>
                </a:spcAft>
              </a:pPr>
              <a:t>2,850</a:t>
            </a:fld>
            <a:endParaRPr lang="en-GB" sz="800" dirty="0">
              <a:latin typeface="+mn-lt"/>
            </a:endParaRPr>
          </a:p>
        </p:txBody>
      </p:sp>
      <p:sp>
        <p:nvSpPr>
          <p:cNvPr id="22" name="Text Placeholder 3">
            <a:extLst>
              <a:ext uri="{FF2B5EF4-FFF2-40B4-BE49-F238E27FC236}">
                <a16:creationId xmlns:a16="http://schemas.microsoft.com/office/drawing/2014/main" id="{0AA70559-8D33-0DF3-989F-45E00D163AC3}"/>
              </a:ext>
            </a:extLst>
          </p:cNvPr>
          <p:cNvSpPr>
            <a:spLocks noGrp="1"/>
          </p:cNvSpPr>
          <p:nvPr>
            <p:custDataLst>
              <p:tags r:id="rId27"/>
            </p:custDataLst>
          </p:nvPr>
        </p:nvSpPr>
        <p:spPr bwMode="gray">
          <a:xfrm>
            <a:off x="8202613" y="3575050"/>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13E5FB72-7A9F-41F2-B201-0433F3A77722}" type="datetime'''2'',''''9''''''''''''0''0'''''''''''''''''''''''''">
              <a:rPr lang="en-GB" altLang="en-US" sz="800" smtClean="0">
                <a:effectLst/>
                <a:latin typeface="+mn-lt"/>
              </a:rPr>
              <a:pPr lvl="0" algn="r">
                <a:spcBef>
                  <a:spcPct val="0"/>
                </a:spcBef>
                <a:spcAft>
                  <a:spcPct val="0"/>
                </a:spcAft>
              </a:pPr>
              <a:t>2,900</a:t>
            </a:fld>
            <a:endParaRPr lang="en-GB" sz="800" dirty="0">
              <a:latin typeface="+mn-lt"/>
            </a:endParaRPr>
          </a:p>
        </p:txBody>
      </p:sp>
      <p:sp>
        <p:nvSpPr>
          <p:cNvPr id="29" name="Text Placeholder 3">
            <a:extLst>
              <a:ext uri="{FF2B5EF4-FFF2-40B4-BE49-F238E27FC236}">
                <a16:creationId xmlns:a16="http://schemas.microsoft.com/office/drawing/2014/main" id="{C170A6A5-CFD1-1383-95A1-17AA1293BF74}"/>
              </a:ext>
            </a:extLst>
          </p:cNvPr>
          <p:cNvSpPr>
            <a:spLocks noGrp="1"/>
          </p:cNvSpPr>
          <p:nvPr>
            <p:custDataLst>
              <p:tags r:id="rId28"/>
            </p:custDataLst>
          </p:nvPr>
        </p:nvSpPr>
        <p:spPr bwMode="gray">
          <a:xfrm>
            <a:off x="8202613" y="3368675"/>
            <a:ext cx="2540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r">
              <a:spcBef>
                <a:spcPct val="0"/>
              </a:spcBef>
              <a:spcAft>
                <a:spcPct val="0"/>
              </a:spcAft>
            </a:pPr>
            <a:fld id="{7EC16F36-64A4-4317-8AC4-84F3C9B9B957}" type="datetime'2'''''''''''''''''''''',''9''''''''50'''''''''''''''">
              <a:rPr lang="en-GB" altLang="en-US" sz="800" smtClean="0">
                <a:effectLst/>
                <a:latin typeface="+mn-lt"/>
              </a:rPr>
              <a:pPr lvl="0" algn="r">
                <a:spcBef>
                  <a:spcPct val="0"/>
                </a:spcBef>
                <a:spcAft>
                  <a:spcPct val="0"/>
                </a:spcAft>
              </a:pPr>
              <a:t>2,950</a:t>
            </a:fld>
            <a:endParaRPr lang="en-GB" sz="800" dirty="0">
              <a:latin typeface="+mn-lt"/>
            </a:endParaRPr>
          </a:p>
        </p:txBody>
      </p:sp>
      <p:sp useBgFill="1">
        <p:nvSpPr>
          <p:cNvPr id="6" name="Freeform: Shape 5">
            <a:extLst>
              <a:ext uri="{FF2B5EF4-FFF2-40B4-BE49-F238E27FC236}">
                <a16:creationId xmlns:a16="http://schemas.microsoft.com/office/drawing/2014/main" id="{2F73A75E-2496-7693-1B53-4ECBB6E6510F}"/>
              </a:ext>
            </a:extLst>
          </p:cNvPr>
          <p:cNvSpPr/>
          <p:nvPr>
            <p:custDataLst>
              <p:tags r:id="rId29"/>
            </p:custDataLst>
          </p:nvPr>
        </p:nvSpPr>
        <p:spPr bwMode="auto">
          <a:xfrm>
            <a:off x="8483600" y="5886450"/>
            <a:ext cx="146051" cy="96838"/>
          </a:xfrm>
          <a:custGeom>
            <a:avLst/>
            <a:gdLst/>
            <a:ahLst/>
            <a:cxnLst/>
            <a:rect l="0" t="0" r="0" b="0"/>
            <a:pathLst>
              <a:path w="146051" h="96839">
                <a:moveTo>
                  <a:pt x="0" y="39688"/>
                </a:moveTo>
                <a:lnTo>
                  <a:pt x="146050" y="0"/>
                </a:lnTo>
                <a:lnTo>
                  <a:pt x="146050" y="57150"/>
                </a:lnTo>
                <a:lnTo>
                  <a:pt x="0" y="96838"/>
                </a:lnTo>
                <a:close/>
              </a:path>
            </a:pathLst>
          </a:custGeom>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rgbClr val="006C67"/>
                </a:solidFill>
                <a:prstDash val="solid"/>
                <a:round/>
                <a:headEnd type="none" w="med" len="med"/>
                <a:tailEnd type="none" w="med" len="med"/>
              </a14:hiddenLine>
            </a:ext>
            <a:ext uri="{AF507438-7753-43E0-B8FC-AC1667EBCBE1}">
              <a14:hiddenEffects xmlns:a14="http://schemas.microsoft.com/office/drawing/2010/main">
                <a:effectLst>
                  <a:outerShdw blurRad="50800" dist="38100" dir="8100000" algn="tr" rotWithShape="0">
                    <a:prstClr val="black">
                      <a:alpha val="40000"/>
                    </a:prstClr>
                  </a:outerShdw>
                </a:effectLst>
              </a14:hiddenEffects>
            </a:ext>
          </a:ex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indent="-171450" algn="l">
              <a:buClr>
                <a:srgbClr val="006C67"/>
              </a:buClr>
              <a:buFont typeface="Wingdings" panose="05000000000000000000" pitchFamily="2" charset="2"/>
              <a:buChar char="§"/>
            </a:pPr>
            <a:endParaRPr lang="en-GB" sz="1200" dirty="0">
              <a:solidFill>
                <a:srgbClr val="000000"/>
              </a:solidFill>
            </a:endParaRPr>
          </a:p>
        </p:txBody>
      </p:sp>
      <p:sp>
        <p:nvSpPr>
          <p:cNvPr id="4" name="Freeform: Shape 3">
            <a:extLst>
              <a:ext uri="{FF2B5EF4-FFF2-40B4-BE49-F238E27FC236}">
                <a16:creationId xmlns:a16="http://schemas.microsoft.com/office/drawing/2014/main" id="{E25EF49B-31A5-F654-AE82-2F57A9EA300B}"/>
              </a:ext>
            </a:extLst>
          </p:cNvPr>
          <p:cNvSpPr/>
          <p:nvPr>
            <p:custDataLst>
              <p:tags r:id="rId30"/>
            </p:custDataLst>
          </p:nvPr>
        </p:nvSpPr>
        <p:spPr bwMode="auto">
          <a:xfrm>
            <a:off x="8483600" y="5886450"/>
            <a:ext cx="146051" cy="39688"/>
          </a:xfrm>
          <a:custGeom>
            <a:avLst/>
            <a:gdLst/>
            <a:ahLst/>
            <a:cxnLst/>
            <a:rect l="0" t="0" r="0" b="0"/>
            <a:pathLst>
              <a:path w="146051" h="39689">
                <a:moveTo>
                  <a:pt x="0" y="39688"/>
                </a:moveTo>
                <a:lnTo>
                  <a:pt x="146050" y="0"/>
                </a:lnTo>
              </a:path>
            </a:pathLst>
          </a:custGeom>
          <a:ln w="9525" cap="rnd" cmpd="sng" algn="ctr">
            <a:solidFill>
              <a:srgbClr val="6E6F73"/>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 name="Freeform: Shape 4">
            <a:extLst>
              <a:ext uri="{FF2B5EF4-FFF2-40B4-BE49-F238E27FC236}">
                <a16:creationId xmlns:a16="http://schemas.microsoft.com/office/drawing/2014/main" id="{661074CF-7BBA-930F-E62B-9C3C714D1A65}"/>
              </a:ext>
            </a:extLst>
          </p:cNvPr>
          <p:cNvSpPr/>
          <p:nvPr>
            <p:custDataLst>
              <p:tags r:id="rId31"/>
            </p:custDataLst>
          </p:nvPr>
        </p:nvSpPr>
        <p:spPr bwMode="auto">
          <a:xfrm>
            <a:off x="8483600" y="5943600"/>
            <a:ext cx="146051" cy="39688"/>
          </a:xfrm>
          <a:custGeom>
            <a:avLst/>
            <a:gdLst/>
            <a:ahLst/>
            <a:cxnLst/>
            <a:rect l="0" t="0" r="0" b="0"/>
            <a:pathLst>
              <a:path w="146051" h="39689">
                <a:moveTo>
                  <a:pt x="0" y="39688"/>
                </a:moveTo>
                <a:lnTo>
                  <a:pt x="146050" y="0"/>
                </a:lnTo>
              </a:path>
            </a:pathLst>
          </a:custGeom>
          <a:ln w="9525" cap="rnd" cmpd="sng" algn="ctr">
            <a:solidFill>
              <a:srgbClr val="6E6F73"/>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1" name="Straight Connector 10">
            <a:extLst>
              <a:ext uri="{FF2B5EF4-FFF2-40B4-BE49-F238E27FC236}">
                <a16:creationId xmlns:a16="http://schemas.microsoft.com/office/drawing/2014/main" id="{667605C8-6025-565B-19DF-CEB4FE954592}"/>
              </a:ext>
            </a:extLst>
          </p:cNvPr>
          <p:cNvCxnSpPr/>
          <p:nvPr>
            <p:custDataLst>
              <p:tags r:id="rId32"/>
            </p:custDataLst>
          </p:nvPr>
        </p:nvCxnSpPr>
        <p:spPr bwMode="gray">
          <a:xfrm>
            <a:off x="9134475" y="5607050"/>
            <a:ext cx="0" cy="34925"/>
          </a:xfrm>
          <a:prstGeom prst="line">
            <a:avLst/>
          </a:prstGeom>
          <a:ln w="6350"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DB5E0DC3-3436-498A-4D23-11911503DF28}"/>
              </a:ext>
            </a:extLst>
          </p:cNvPr>
          <p:cNvCxnSpPr/>
          <p:nvPr>
            <p:custDataLst>
              <p:tags r:id="rId33"/>
            </p:custDataLst>
          </p:nvPr>
        </p:nvCxnSpPr>
        <p:spPr bwMode="gray">
          <a:xfrm flipH="1">
            <a:off x="8570912" y="5853113"/>
            <a:ext cx="209550" cy="14288"/>
          </a:xfrm>
          <a:prstGeom prst="line">
            <a:avLst/>
          </a:prstGeom>
          <a:ln w="6350"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2" name="Text Placeholder 3">
            <a:extLst>
              <a:ext uri="{FF2B5EF4-FFF2-40B4-BE49-F238E27FC236}">
                <a16:creationId xmlns:a16="http://schemas.microsoft.com/office/drawing/2014/main" id="{A2B5A9E8-FC65-23E7-722F-1081885B6B09}"/>
              </a:ext>
            </a:extLst>
          </p:cNvPr>
          <p:cNvSpPr>
            <a:spLocks noGrp="1"/>
          </p:cNvSpPr>
          <p:nvPr>
            <p:custDataLst>
              <p:tags r:id="rId34"/>
            </p:custDataLst>
          </p:nvPr>
        </p:nvSpPr>
        <p:spPr bwMode="gray">
          <a:xfrm>
            <a:off x="11299825" y="4595813"/>
            <a:ext cx="28892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DF00886B-619D-4B3D-AB4B-868A12E87511}" type="datetime'''2'''',''''''''''''''''''62''''''''''''4'''''">
              <a:rPr lang="en-GB" altLang="en-US" sz="800" smtClean="0">
                <a:latin typeface="+mn-lt"/>
              </a:rPr>
              <a:pPr/>
              <a:t>2,624</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73" name="Text Placeholder 3">
            <a:extLst>
              <a:ext uri="{FF2B5EF4-FFF2-40B4-BE49-F238E27FC236}">
                <a16:creationId xmlns:a16="http://schemas.microsoft.com/office/drawing/2014/main" id="{4D3A2A54-B509-62C4-A89A-2B7FD6E562C5}"/>
              </a:ext>
            </a:extLst>
          </p:cNvPr>
          <p:cNvSpPr>
            <a:spLocks noGrp="1"/>
          </p:cNvSpPr>
          <p:nvPr>
            <p:custDataLst>
              <p:tags r:id="rId35"/>
            </p:custDataLst>
          </p:nvPr>
        </p:nvSpPr>
        <p:spPr bwMode="gray">
          <a:xfrm>
            <a:off x="8582025" y="5649913"/>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FDB58A35-73C2-483E-9491-B1B719D81B1C}" type="datetime'2'''''''''''',''''''''''''''''''3''''''''''''''6''''''9'">
              <a:rPr lang="en-GB" altLang="en-US" sz="800" smtClean="0">
                <a:effectLst/>
                <a:latin typeface="+mn-lt"/>
              </a:rPr>
              <a:pPr/>
              <a:t>2,369</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74" name="Text Placeholder 3">
            <a:extLst>
              <a:ext uri="{FF2B5EF4-FFF2-40B4-BE49-F238E27FC236}">
                <a16:creationId xmlns:a16="http://schemas.microsoft.com/office/drawing/2014/main" id="{C8CE1010-EB01-5BD7-D0D0-972065D030D2}"/>
              </a:ext>
            </a:extLst>
          </p:cNvPr>
          <p:cNvSpPr>
            <a:spLocks noGrp="1"/>
          </p:cNvSpPr>
          <p:nvPr>
            <p:custDataLst>
              <p:tags r:id="rId36"/>
            </p:custDataLst>
          </p:nvPr>
        </p:nvSpPr>
        <p:spPr bwMode="gray">
          <a:xfrm>
            <a:off x="8990013" y="5473700"/>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4D8C3F24-E07C-4146-8CE2-EDA34A975456}" type="datetime'''''2'',''''''''''''''''''41''''''''1'''">
              <a:rPr lang="en-GB" altLang="en-US" sz="800" smtClean="0">
                <a:effectLst/>
                <a:latin typeface="+mn-lt"/>
              </a:rPr>
              <a:pPr/>
              <a:t>2,411</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75" name="Text Placeholder 3">
            <a:extLst>
              <a:ext uri="{FF2B5EF4-FFF2-40B4-BE49-F238E27FC236}">
                <a16:creationId xmlns:a16="http://schemas.microsoft.com/office/drawing/2014/main" id="{3F9FFBE5-0345-1115-AF54-A66B4B601F23}"/>
              </a:ext>
            </a:extLst>
          </p:cNvPr>
          <p:cNvSpPr>
            <a:spLocks noGrp="1"/>
          </p:cNvSpPr>
          <p:nvPr>
            <p:custDataLst>
              <p:tags r:id="rId37"/>
            </p:custDataLst>
          </p:nvPr>
        </p:nvSpPr>
        <p:spPr bwMode="gray">
          <a:xfrm>
            <a:off x="8990013" y="5297488"/>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A349B648-0326-4CDC-96CC-BBF5D49E7B60}" type="datetime'2,''''''''''''4''''''''''''''5''''''''''''''''''4'''''''''''''">
              <a:rPr lang="en-GB" altLang="en-US" sz="800" smtClean="0">
                <a:latin typeface="+mn-lt"/>
              </a:rPr>
              <a:pPr/>
              <a:t>2,454</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76" name="Text Placeholder 3">
            <a:extLst>
              <a:ext uri="{FF2B5EF4-FFF2-40B4-BE49-F238E27FC236}">
                <a16:creationId xmlns:a16="http://schemas.microsoft.com/office/drawing/2014/main" id="{96CFB37E-A134-EC59-C47F-110A42C53E5A}"/>
              </a:ext>
            </a:extLst>
          </p:cNvPr>
          <p:cNvSpPr>
            <a:spLocks noGrp="1"/>
          </p:cNvSpPr>
          <p:nvPr>
            <p:custDataLst>
              <p:tags r:id="rId38"/>
            </p:custDataLst>
          </p:nvPr>
        </p:nvSpPr>
        <p:spPr bwMode="gray">
          <a:xfrm>
            <a:off x="9567863" y="5262563"/>
            <a:ext cx="288925" cy="13335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D46FB103-72FC-4B4E-8D84-293C790A10D1}" type="datetime'''2,46''''''''''3'''''''''''''''''''''''''''''">
              <a:rPr lang="en-GB" altLang="en-US" sz="800" smtClean="0">
                <a:effectLst/>
                <a:latin typeface="+mn-lt"/>
              </a:rPr>
              <a:pPr/>
              <a:t>2,463</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77" name="Text Placeholder 3">
            <a:extLst>
              <a:ext uri="{FF2B5EF4-FFF2-40B4-BE49-F238E27FC236}">
                <a16:creationId xmlns:a16="http://schemas.microsoft.com/office/drawing/2014/main" id="{32E634B2-F373-029D-C796-31F9351967A0}"/>
              </a:ext>
            </a:extLst>
          </p:cNvPr>
          <p:cNvSpPr>
            <a:spLocks noGrp="1"/>
          </p:cNvSpPr>
          <p:nvPr>
            <p:custDataLst>
              <p:tags r:id="rId39"/>
            </p:custDataLst>
          </p:nvPr>
        </p:nvSpPr>
        <p:spPr bwMode="gray">
          <a:xfrm>
            <a:off x="9567863" y="4930775"/>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1DC1B304-E169-49E9-8CEF-430A90E4DB73}" type="datetime'''''''''''''''''''2'''',5''''4''''''''''''''3'''''''">
              <a:rPr lang="en-GB" altLang="en-US" sz="800" smtClean="0">
                <a:latin typeface="+mn-lt"/>
              </a:rPr>
              <a:pPr/>
              <a:t>2,543</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72" name="Text Placeholder 3">
            <a:extLst>
              <a:ext uri="{FF2B5EF4-FFF2-40B4-BE49-F238E27FC236}">
                <a16:creationId xmlns:a16="http://schemas.microsoft.com/office/drawing/2014/main" id="{4660D223-5603-E1A0-5B2D-04E4994771FC}"/>
              </a:ext>
            </a:extLst>
          </p:cNvPr>
          <p:cNvSpPr>
            <a:spLocks noGrp="1"/>
          </p:cNvSpPr>
          <p:nvPr>
            <p:custDataLst>
              <p:tags r:id="rId40"/>
            </p:custDataLst>
          </p:nvPr>
        </p:nvSpPr>
        <p:spPr bwMode="gray">
          <a:xfrm>
            <a:off x="8780463" y="5775325"/>
            <a:ext cx="288925" cy="13335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5CF0A596-B845-4E89-BEBA-0B62BD61E3E7}" type="datetime'2'''''''''''''',''''''''''3''''''''6''''''''''''''0'">
              <a:rPr lang="en-GB" altLang="en-US" sz="800" smtClean="0">
                <a:effectLst/>
                <a:latin typeface="+mn-lt"/>
              </a:rPr>
              <a:pPr marL="0" marR="0" lvl="0" indent="0"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360</a:t>
            </a:fld>
            <a:endParaRPr kumimoji="0" lang="en-GB" sz="800" b="0" i="0" strike="noStrike" kern="1200" cap="none" spc="0" normalizeH="0" baseline="0" noProof="0" dirty="0">
              <a:ln>
                <a:noFill/>
              </a:ln>
              <a:effectLst/>
              <a:uLnTx/>
              <a:uFillTx/>
              <a:latin typeface="+mn-lt"/>
              <a:sym typeface="Trebuchet MS" panose="020B0603020202020204" pitchFamily="34" charset="0"/>
            </a:endParaRPr>
          </a:p>
        </p:txBody>
      </p:sp>
      <p:sp>
        <p:nvSpPr>
          <p:cNvPr id="178" name="Text Placeholder 3">
            <a:extLst>
              <a:ext uri="{FF2B5EF4-FFF2-40B4-BE49-F238E27FC236}">
                <a16:creationId xmlns:a16="http://schemas.microsoft.com/office/drawing/2014/main" id="{561B168D-F1CA-0BB7-4D46-B5553ADDA359}"/>
              </a:ext>
            </a:extLst>
          </p:cNvPr>
          <p:cNvSpPr>
            <a:spLocks noGrp="1"/>
          </p:cNvSpPr>
          <p:nvPr>
            <p:custDataLst>
              <p:tags r:id="rId41"/>
            </p:custDataLst>
          </p:nvPr>
        </p:nvSpPr>
        <p:spPr bwMode="gray">
          <a:xfrm>
            <a:off x="10144125" y="5046663"/>
            <a:ext cx="288925" cy="13335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D8C624A4-256F-4FF9-BAC3-2781D211007B}" type="datetime'''2'''''''',''''''''''''''''''''5''''''''''''''''15'''''''''">
              <a:rPr lang="en-GB" altLang="en-US" sz="800" smtClean="0">
                <a:effectLst/>
                <a:latin typeface="+mn-lt"/>
              </a:rPr>
              <a:pPr/>
              <a:t>2,515</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79" name="Text Placeholder 3">
            <a:extLst>
              <a:ext uri="{FF2B5EF4-FFF2-40B4-BE49-F238E27FC236}">
                <a16:creationId xmlns:a16="http://schemas.microsoft.com/office/drawing/2014/main" id="{7343A53F-60C9-3C14-21B1-DCCEB3FAFA43}"/>
              </a:ext>
            </a:extLst>
          </p:cNvPr>
          <p:cNvSpPr>
            <a:spLocks noGrp="1"/>
          </p:cNvSpPr>
          <p:nvPr>
            <p:custDataLst>
              <p:tags r:id="rId42"/>
            </p:custDataLst>
          </p:nvPr>
        </p:nvSpPr>
        <p:spPr bwMode="gray">
          <a:xfrm>
            <a:off x="10144125" y="4551363"/>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BEF2DAAA-B07D-4277-909C-72D138638783}" type="datetime'''''''2'''',6''''''''''3''''''''5'''''''''">
              <a:rPr lang="en-GB" altLang="en-US" sz="800" smtClean="0">
                <a:latin typeface="+mn-lt"/>
              </a:rPr>
              <a:pPr/>
              <a:t>2,635</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80" name="Text Placeholder 3">
            <a:extLst>
              <a:ext uri="{FF2B5EF4-FFF2-40B4-BE49-F238E27FC236}">
                <a16:creationId xmlns:a16="http://schemas.microsoft.com/office/drawing/2014/main" id="{DD22EE88-2B71-0B84-682C-102A0BB2D695}"/>
              </a:ext>
            </a:extLst>
          </p:cNvPr>
          <p:cNvSpPr>
            <a:spLocks noGrp="1"/>
          </p:cNvSpPr>
          <p:nvPr>
            <p:custDataLst>
              <p:tags r:id="rId43"/>
            </p:custDataLst>
          </p:nvPr>
        </p:nvSpPr>
        <p:spPr bwMode="gray">
          <a:xfrm>
            <a:off x="10721975" y="4826000"/>
            <a:ext cx="288925" cy="13335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0A2B9371-02D9-45DB-A2E7-F7F173A01F7A}" type="datetime'''''''''''2'',''''''''''''''''''5''''''''''''''''''''''''''69'">
              <a:rPr lang="en-GB" altLang="en-US" sz="800" smtClean="0">
                <a:effectLst/>
                <a:latin typeface="+mn-lt"/>
              </a:rPr>
              <a:pPr/>
              <a:t>2,569</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useBgFill="1">
        <p:nvSpPr>
          <p:cNvPr id="181" name="Text Placeholder 3">
            <a:extLst>
              <a:ext uri="{FF2B5EF4-FFF2-40B4-BE49-F238E27FC236}">
                <a16:creationId xmlns:a16="http://schemas.microsoft.com/office/drawing/2014/main" id="{041FDC2A-9265-BE20-77C4-69EE46AD2F89}"/>
              </a:ext>
            </a:extLst>
          </p:cNvPr>
          <p:cNvSpPr>
            <a:spLocks noGrp="1"/>
          </p:cNvSpPr>
          <p:nvPr>
            <p:custDataLst>
              <p:tags r:id="rId44"/>
            </p:custDataLst>
          </p:nvPr>
        </p:nvSpPr>
        <p:spPr bwMode="gray">
          <a:xfrm>
            <a:off x="10721975" y="4159250"/>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D4F85EF7-1EDD-45A2-BADD-4E233027FDA9}" type="datetime'''''''''2'''''',''''''''''''''''''''7''3''''''''''''1'''''''">
              <a:rPr lang="en-GB" altLang="en-US" sz="800" smtClean="0">
                <a:latin typeface="+mn-lt"/>
              </a:rPr>
              <a:pPr/>
              <a:t>2,731</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sp>
        <p:nvSpPr>
          <p:cNvPr id="183" name="Text Placeholder 3">
            <a:extLst>
              <a:ext uri="{FF2B5EF4-FFF2-40B4-BE49-F238E27FC236}">
                <a16:creationId xmlns:a16="http://schemas.microsoft.com/office/drawing/2014/main" id="{0E62A76D-1146-CEC5-C43B-CC7EAE260600}"/>
              </a:ext>
            </a:extLst>
          </p:cNvPr>
          <p:cNvSpPr>
            <a:spLocks noGrp="1"/>
          </p:cNvSpPr>
          <p:nvPr>
            <p:custDataLst>
              <p:tags r:id="rId45"/>
            </p:custDataLst>
          </p:nvPr>
        </p:nvSpPr>
        <p:spPr bwMode="gray">
          <a:xfrm>
            <a:off x="11299825" y="3763963"/>
            <a:ext cx="28892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defRPr/>
            </a:pPr>
            <a:fld id="{3B8A506D-04A0-455D-87E8-2FDC3545B7E3}" type="datetime'''''''''2,''''''''''''''''8''''''''''''2''''''7'''''''''''">
              <a:rPr lang="en-GB" altLang="en-US" sz="800" smtClean="0">
                <a:latin typeface="+mn-lt"/>
              </a:rPr>
              <a:pPr/>
              <a:t>2,827</a:t>
            </a:fld>
            <a:endParaRPr kumimoji="0" lang="en-GB" sz="800" b="0" i="0" strike="noStrike" kern="1200" cap="none" spc="0" normalizeH="0" baseline="0" noProof="0">
              <a:ln>
                <a:noFill/>
              </a:ln>
              <a:effectLst/>
              <a:uLnTx/>
              <a:uFillTx/>
              <a:latin typeface="+mn-lt"/>
              <a:sym typeface="Trebuchet MS" panose="020B0603020202020204" pitchFamily="34" charset="0"/>
            </a:endParaRPr>
          </a:p>
        </p:txBody>
      </p:sp>
      <p:cxnSp>
        <p:nvCxnSpPr>
          <p:cNvPr id="190" name="Straight Arrow Connector 189">
            <a:extLst>
              <a:ext uri="{FF2B5EF4-FFF2-40B4-BE49-F238E27FC236}">
                <a16:creationId xmlns:a16="http://schemas.microsoft.com/office/drawing/2014/main" id="{7108C110-5A32-FA25-4EFB-E18FCA67DD6C}"/>
              </a:ext>
            </a:extLst>
          </p:cNvPr>
          <p:cNvCxnSpPr>
            <a:cxnSpLocks/>
          </p:cNvCxnSpPr>
          <p:nvPr/>
        </p:nvCxnSpPr>
        <p:spPr>
          <a:xfrm flipV="1">
            <a:off x="10326688" y="4703764"/>
            <a:ext cx="0" cy="365125"/>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91" name="Oval 190">
            <a:extLst>
              <a:ext uri="{FF2B5EF4-FFF2-40B4-BE49-F238E27FC236}">
                <a16:creationId xmlns:a16="http://schemas.microsoft.com/office/drawing/2014/main" id="{0231D4FE-AF75-73DB-73D8-94795E8702B9}"/>
              </a:ext>
            </a:extLst>
          </p:cNvPr>
          <p:cNvSpPr>
            <a:spLocks/>
          </p:cNvSpPr>
          <p:nvPr/>
        </p:nvSpPr>
        <p:spPr>
          <a:xfrm>
            <a:off x="10196513" y="4799013"/>
            <a:ext cx="258763" cy="228600"/>
          </a:xfrm>
          <a:prstGeom prst="ellipse">
            <a:avLst/>
          </a:prstGeom>
          <a:solidFill>
            <a:schemeClr val="bg1"/>
          </a:solidFill>
          <a:ln w="12700" cap="rnd" cmpd="sng" algn="ctr">
            <a:solidFill>
              <a:schemeClr val="tx1"/>
            </a:solidFill>
            <a:prstDash val="solid"/>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
                <a:srgbClr val="006C67"/>
              </a:buClr>
              <a:buSzTx/>
              <a:buFontTx/>
              <a:buNone/>
              <a:tabLst/>
              <a:defRPr/>
            </a:pPr>
            <a:r>
              <a:rPr kumimoji="0" lang="en-US" sz="700" b="1" i="0" u="none" strike="noStrike" kern="1200" cap="none" spc="0" normalizeH="0" baseline="0" noProof="0" dirty="0">
                <a:ln>
                  <a:noFill/>
                </a:ln>
                <a:solidFill>
                  <a:srgbClr val="000000"/>
                </a:solidFill>
                <a:effectLst/>
                <a:uLnTx/>
                <a:uFillTx/>
                <a:latin typeface="Trebuchet MS"/>
                <a:ea typeface="+mn-ea"/>
                <a:cs typeface="+mn-cs"/>
              </a:rPr>
              <a:t>120</a:t>
            </a:r>
          </a:p>
        </p:txBody>
      </p:sp>
      <p:cxnSp>
        <p:nvCxnSpPr>
          <p:cNvPr id="192" name="Straight Arrow Connector 191">
            <a:extLst>
              <a:ext uri="{FF2B5EF4-FFF2-40B4-BE49-F238E27FC236}">
                <a16:creationId xmlns:a16="http://schemas.microsoft.com/office/drawing/2014/main" id="{E775C0B1-6EE3-E161-3357-467F37384974}"/>
              </a:ext>
            </a:extLst>
          </p:cNvPr>
          <p:cNvCxnSpPr>
            <a:cxnSpLocks/>
          </p:cNvCxnSpPr>
          <p:nvPr/>
        </p:nvCxnSpPr>
        <p:spPr>
          <a:xfrm flipH="1" flipV="1">
            <a:off x="10891838" y="4373563"/>
            <a:ext cx="0" cy="457200"/>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1A1B386A-1528-E69D-13CB-0D00005A65FB}"/>
              </a:ext>
            </a:extLst>
          </p:cNvPr>
          <p:cNvSpPr>
            <a:spLocks/>
          </p:cNvSpPr>
          <p:nvPr/>
        </p:nvSpPr>
        <p:spPr>
          <a:xfrm>
            <a:off x="10763250" y="4527550"/>
            <a:ext cx="258763" cy="228600"/>
          </a:xfrm>
          <a:prstGeom prst="ellipse">
            <a:avLst/>
          </a:prstGeom>
          <a:solidFill>
            <a:schemeClr val="bg1"/>
          </a:solidFill>
          <a:ln w="12700" cap="rnd" cmpd="sng" algn="ctr">
            <a:solidFill>
              <a:schemeClr val="tx1"/>
            </a:solidFill>
            <a:prstDash val="solid"/>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
                <a:srgbClr val="006C67"/>
              </a:buClr>
              <a:buSzTx/>
              <a:buFontTx/>
              <a:buNone/>
              <a:tabLst/>
              <a:defRPr/>
            </a:pPr>
            <a:r>
              <a:rPr kumimoji="0" lang="en-US" sz="700" b="1" i="0" u="none" strike="noStrike" kern="1200" cap="none" spc="0" normalizeH="0" baseline="0" noProof="0" dirty="0">
                <a:ln>
                  <a:noFill/>
                </a:ln>
                <a:solidFill>
                  <a:srgbClr val="000000"/>
                </a:solidFill>
                <a:effectLst/>
                <a:uLnTx/>
                <a:uFillTx/>
                <a:latin typeface="Trebuchet MS"/>
                <a:ea typeface="+mn-ea"/>
                <a:cs typeface="+mn-cs"/>
              </a:rPr>
              <a:t>161</a:t>
            </a:r>
          </a:p>
        </p:txBody>
      </p:sp>
      <p:cxnSp>
        <p:nvCxnSpPr>
          <p:cNvPr id="194" name="Straight Arrow Connector 193">
            <a:extLst>
              <a:ext uri="{FF2B5EF4-FFF2-40B4-BE49-F238E27FC236}">
                <a16:creationId xmlns:a16="http://schemas.microsoft.com/office/drawing/2014/main" id="{E60FA614-0DB0-572E-A800-C301C3978C3D}"/>
              </a:ext>
            </a:extLst>
          </p:cNvPr>
          <p:cNvCxnSpPr>
            <a:cxnSpLocks/>
          </p:cNvCxnSpPr>
          <p:nvPr/>
        </p:nvCxnSpPr>
        <p:spPr>
          <a:xfrm flipV="1">
            <a:off x="11444288" y="4017963"/>
            <a:ext cx="0" cy="549275"/>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95" name="Oval 194">
            <a:extLst>
              <a:ext uri="{FF2B5EF4-FFF2-40B4-BE49-F238E27FC236}">
                <a16:creationId xmlns:a16="http://schemas.microsoft.com/office/drawing/2014/main" id="{035B7D84-99BF-91D5-4235-DE4D31050814}"/>
              </a:ext>
            </a:extLst>
          </p:cNvPr>
          <p:cNvSpPr>
            <a:spLocks/>
          </p:cNvSpPr>
          <p:nvPr/>
        </p:nvSpPr>
        <p:spPr>
          <a:xfrm>
            <a:off x="11315700" y="4243388"/>
            <a:ext cx="258763" cy="228600"/>
          </a:xfrm>
          <a:prstGeom prst="ellipse">
            <a:avLst/>
          </a:prstGeom>
          <a:solidFill>
            <a:schemeClr val="bg1"/>
          </a:solidFill>
          <a:ln w="12700" cap="rnd" cmpd="sng" algn="ctr">
            <a:solidFill>
              <a:schemeClr val="tx1"/>
            </a:solidFill>
            <a:prstDash val="solid"/>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
                <a:srgbClr val="006C67"/>
              </a:buClr>
              <a:buSzTx/>
              <a:buFontTx/>
              <a:buNone/>
              <a:tabLst/>
              <a:defRPr/>
            </a:pPr>
            <a:r>
              <a:rPr kumimoji="0" lang="en-US" sz="700" b="1" i="0" u="none" strike="noStrike" kern="1200" cap="none" spc="0" normalizeH="0" baseline="0" noProof="0" dirty="0">
                <a:ln>
                  <a:noFill/>
                </a:ln>
                <a:solidFill>
                  <a:srgbClr val="000000"/>
                </a:solidFill>
                <a:effectLst/>
                <a:uLnTx/>
                <a:uFillTx/>
                <a:latin typeface="Trebuchet MS"/>
                <a:ea typeface="+mn-ea"/>
                <a:cs typeface="+mn-cs"/>
              </a:rPr>
              <a:t>202</a:t>
            </a:r>
          </a:p>
        </p:txBody>
      </p:sp>
      <p:sp>
        <p:nvSpPr>
          <p:cNvPr id="216" name="TextBox 215">
            <a:extLst>
              <a:ext uri="{FF2B5EF4-FFF2-40B4-BE49-F238E27FC236}">
                <a16:creationId xmlns:a16="http://schemas.microsoft.com/office/drawing/2014/main" id="{D3C1B3FB-1BB1-4A95-CCEB-9D90FEC9CCC9}"/>
              </a:ext>
            </a:extLst>
          </p:cNvPr>
          <p:cNvSpPr txBox="1"/>
          <p:nvPr/>
        </p:nvSpPr>
        <p:spPr>
          <a:xfrm>
            <a:off x="7931150" y="2641600"/>
            <a:ext cx="3725863" cy="6000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4C48"/>
                </a:solidFill>
                <a:effectLst/>
                <a:uLnTx/>
                <a:uFillTx/>
                <a:latin typeface="Trebuchet MS"/>
              </a:rPr>
              <a:t>Supply and demand of housing </a:t>
            </a:r>
            <a:r>
              <a:rPr lang="en-GB" sz="1100" b="1" dirty="0">
                <a:solidFill>
                  <a:srgbClr val="004C48"/>
                </a:solidFill>
                <a:latin typeface="Trebuchet MS"/>
              </a:rPr>
              <a:t>u</a:t>
            </a:r>
            <a:r>
              <a:rPr kumimoji="0" lang="en-GB" sz="1100" b="1" i="0" u="none" strike="noStrike" kern="1200" cap="none" spc="0" normalizeH="0" baseline="0" noProof="0" dirty="0">
                <a:ln>
                  <a:noFill/>
                </a:ln>
                <a:solidFill>
                  <a:srgbClr val="004C48"/>
                </a:solidFill>
                <a:effectLst/>
                <a:uLnTx/>
                <a:uFillTx/>
                <a:latin typeface="Trebuchet MS"/>
              </a:rPr>
              <a:t>nits, Riyadh, 2025-2030</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35353"/>
                </a:solidFill>
                <a:effectLst/>
                <a:uLnTx/>
                <a:uFillTx/>
                <a:latin typeface="Trebuchet MS"/>
              </a:rPr>
              <a:t>[# of housing units, thousands]</a:t>
            </a:r>
          </a:p>
        </p:txBody>
      </p:sp>
      <p:sp>
        <p:nvSpPr>
          <p:cNvPr id="266" name="Rectangle 265">
            <a:extLst>
              <a:ext uri="{FF2B5EF4-FFF2-40B4-BE49-F238E27FC236}">
                <a16:creationId xmlns:a16="http://schemas.microsoft.com/office/drawing/2014/main" id="{BEEA81E7-268A-92EC-CE32-1F15AE82975E}"/>
              </a:ext>
            </a:extLst>
          </p:cNvPr>
          <p:cNvSpPr/>
          <p:nvPr/>
        </p:nvSpPr>
        <p:spPr>
          <a:xfrm>
            <a:off x="7451725" y="1443038"/>
            <a:ext cx="349250" cy="5124450"/>
          </a:xfrm>
          <a:custGeom>
            <a:avLst/>
            <a:gdLst>
              <a:gd name="connsiteX0" fmla="*/ 0 w 353391"/>
              <a:gd name="connsiteY0" fmla="*/ 0 h 5124173"/>
              <a:gd name="connsiteX1" fmla="*/ 353391 w 353391"/>
              <a:gd name="connsiteY1" fmla="*/ 0 h 5124173"/>
              <a:gd name="connsiteX2" fmla="*/ 353391 w 353391"/>
              <a:gd name="connsiteY2" fmla="*/ 5124173 h 5124173"/>
              <a:gd name="connsiteX3" fmla="*/ 0 w 353391"/>
              <a:gd name="connsiteY3" fmla="*/ 5124173 h 5124173"/>
              <a:gd name="connsiteX4" fmla="*/ 0 w 353391"/>
              <a:gd name="connsiteY4" fmla="*/ 0 h 5124173"/>
              <a:gd name="connsiteX0" fmla="*/ 0 w 353391"/>
              <a:gd name="connsiteY0" fmla="*/ 0 h 5124173"/>
              <a:gd name="connsiteX1" fmla="*/ 353391 w 353391"/>
              <a:gd name="connsiteY1" fmla="*/ 0 h 5124173"/>
              <a:gd name="connsiteX2" fmla="*/ 353391 w 353391"/>
              <a:gd name="connsiteY2" fmla="*/ 5124173 h 5124173"/>
              <a:gd name="connsiteX3" fmla="*/ 4418 w 353391"/>
              <a:gd name="connsiteY3" fmla="*/ 2495825 h 5124173"/>
              <a:gd name="connsiteX4" fmla="*/ 0 w 353391"/>
              <a:gd name="connsiteY4" fmla="*/ 0 h 5124173"/>
              <a:gd name="connsiteX0" fmla="*/ 17745 w 349049"/>
              <a:gd name="connsiteY0" fmla="*/ 88348 h 5124173"/>
              <a:gd name="connsiteX1" fmla="*/ 349049 w 349049"/>
              <a:gd name="connsiteY1" fmla="*/ 0 h 5124173"/>
              <a:gd name="connsiteX2" fmla="*/ 349049 w 349049"/>
              <a:gd name="connsiteY2" fmla="*/ 5124173 h 5124173"/>
              <a:gd name="connsiteX3" fmla="*/ 76 w 349049"/>
              <a:gd name="connsiteY3" fmla="*/ 2495825 h 5124173"/>
              <a:gd name="connsiteX4" fmla="*/ 17745 w 349049"/>
              <a:gd name="connsiteY4" fmla="*/ 88348 h 5124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049" h="5124173">
                <a:moveTo>
                  <a:pt x="17745" y="88348"/>
                </a:moveTo>
                <a:lnTo>
                  <a:pt x="349049" y="0"/>
                </a:lnTo>
                <a:lnTo>
                  <a:pt x="349049" y="5124173"/>
                </a:lnTo>
                <a:lnTo>
                  <a:pt x="76" y="2495825"/>
                </a:lnTo>
                <a:cubicBezTo>
                  <a:pt x="-1397" y="1663883"/>
                  <a:pt x="19218" y="920290"/>
                  <a:pt x="17745" y="88348"/>
                </a:cubicBezTo>
                <a:close/>
              </a:path>
            </a:pathLst>
          </a:custGeom>
          <a:gradFill flip="none" rotWithShape="1">
            <a:gsLst>
              <a:gs pos="6322">
                <a:schemeClr val="tx1">
                  <a:lumMod val="75000"/>
                  <a:lumOff val="25000"/>
                </a:schemeClr>
              </a:gs>
              <a:gs pos="62000">
                <a:schemeClr val="bg2">
                  <a:lumMod val="50000"/>
                  <a:alpha val="57000"/>
                </a:schemeClr>
              </a:gs>
              <a:gs pos="100000">
                <a:schemeClr val="bg1">
                  <a:lumMod val="95000"/>
                </a:schemeClr>
              </a:gs>
            </a:gsLst>
            <a:lin ang="0" scaled="1"/>
            <a:tileRect/>
          </a:gra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indent="-171450" algn="l">
              <a:buClr>
                <a:srgbClr val="006C67"/>
              </a:buClr>
              <a:buFont typeface="Wingdings" panose="05000000000000000000" pitchFamily="2" charset="2"/>
              <a:buChar char="§"/>
            </a:pPr>
            <a:endParaRPr lang="en-GB" sz="1200" dirty="0">
              <a:solidFill>
                <a:srgbClr val="000000"/>
              </a:solidFill>
            </a:endParaRPr>
          </a:p>
        </p:txBody>
      </p:sp>
      <p:sp>
        <p:nvSpPr>
          <p:cNvPr id="267" name="Graphic 3">
            <a:extLst>
              <a:ext uri="{FF2B5EF4-FFF2-40B4-BE49-F238E27FC236}">
                <a16:creationId xmlns:a16="http://schemas.microsoft.com/office/drawing/2014/main" id="{5B3674CE-E9A6-8477-ED8A-4099F2CB7DB3}"/>
              </a:ext>
            </a:extLst>
          </p:cNvPr>
          <p:cNvSpPr>
            <a:spLocks/>
          </p:cNvSpPr>
          <p:nvPr/>
        </p:nvSpPr>
        <p:spPr>
          <a:xfrm>
            <a:off x="3787775" y="541338"/>
            <a:ext cx="2290763" cy="800100"/>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100" b="1" i="0" u="none" strike="noStrike" kern="1200" cap="none" spc="0" normalizeH="0" baseline="0" noProof="0" dirty="0">
                <a:solidFill>
                  <a:schemeClr val="bg1"/>
                </a:solidFill>
                <a:effectLst/>
                <a:uLnTx/>
                <a:uFillTx/>
                <a:latin typeface="Trebuchet MS"/>
                <a:ea typeface="+mn-ea"/>
                <a:cs typeface="+mn-cs"/>
              </a:rPr>
              <a:t>Historic (medium to long term)</a:t>
            </a:r>
            <a:endParaRPr kumimoji="0" lang="en-US" sz="1100" b="0" i="1" u="none" strike="noStrike" kern="1200" cap="none" spc="0" normalizeH="0" baseline="0" noProof="0" dirty="0">
              <a:solidFill>
                <a:schemeClr val="bg1"/>
              </a:solidFill>
              <a:effectLst/>
              <a:uLnTx/>
              <a:uFillTx/>
              <a:latin typeface="Trebuchet MS"/>
              <a:ea typeface="+mn-ea"/>
              <a:cs typeface="+mn-cs"/>
            </a:endParaRPr>
          </a:p>
        </p:txBody>
      </p:sp>
      <p:sp>
        <p:nvSpPr>
          <p:cNvPr id="268" name="Graphic 3">
            <a:extLst>
              <a:ext uri="{FF2B5EF4-FFF2-40B4-BE49-F238E27FC236}">
                <a16:creationId xmlns:a16="http://schemas.microsoft.com/office/drawing/2014/main" id="{DFA2B881-2F64-2963-BD2E-1CB91D87846B}"/>
              </a:ext>
            </a:extLst>
          </p:cNvPr>
          <p:cNvSpPr>
            <a:spLocks/>
          </p:cNvSpPr>
          <p:nvPr/>
        </p:nvSpPr>
        <p:spPr>
          <a:xfrm>
            <a:off x="6219825" y="546100"/>
            <a:ext cx="1174750" cy="793750"/>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100" b="1" i="0" u="none" strike="noStrike" kern="1200" cap="none" spc="0" normalizeH="0" baseline="0" noProof="0" dirty="0">
                <a:solidFill>
                  <a:schemeClr val="bg1"/>
                </a:solidFill>
                <a:effectLst/>
                <a:uLnTx/>
                <a:uFillTx/>
                <a:latin typeface="Trebuchet MS"/>
                <a:ea typeface="+mn-ea"/>
                <a:cs typeface="+mn-cs"/>
              </a:rPr>
              <a:t>Historic (short term – 12 months)</a:t>
            </a:r>
            <a:endParaRPr kumimoji="0" lang="en-US" sz="1100" b="0" i="1" u="none" strike="noStrike" kern="1200" cap="none" spc="0" normalizeH="0" baseline="0" noProof="0" dirty="0">
              <a:solidFill>
                <a:schemeClr val="bg1"/>
              </a:solidFill>
              <a:effectLst/>
              <a:uLnTx/>
              <a:uFillTx/>
              <a:latin typeface="Trebuchet MS"/>
              <a:ea typeface="+mn-ea"/>
              <a:cs typeface="+mn-cs"/>
            </a:endParaRPr>
          </a:p>
        </p:txBody>
      </p:sp>
      <p:sp>
        <p:nvSpPr>
          <p:cNvPr id="269" name="Graphic 3">
            <a:extLst>
              <a:ext uri="{FF2B5EF4-FFF2-40B4-BE49-F238E27FC236}">
                <a16:creationId xmlns:a16="http://schemas.microsoft.com/office/drawing/2014/main" id="{A024A498-9170-E8D1-0897-8E3488120EE4}"/>
              </a:ext>
            </a:extLst>
          </p:cNvPr>
          <p:cNvSpPr>
            <a:spLocks/>
          </p:cNvSpPr>
          <p:nvPr/>
        </p:nvSpPr>
        <p:spPr>
          <a:xfrm>
            <a:off x="7512050" y="552450"/>
            <a:ext cx="4224338" cy="350838"/>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100" b="1" i="0" u="none" strike="noStrike" kern="1200" cap="none" spc="0" normalizeH="0" baseline="0" noProof="0" dirty="0">
                <a:solidFill>
                  <a:schemeClr val="bg1"/>
                </a:solidFill>
                <a:effectLst/>
                <a:uLnTx/>
                <a:uFillTx/>
                <a:latin typeface="Trebuchet MS"/>
                <a:ea typeface="+mn-ea"/>
                <a:cs typeface="+mn-cs"/>
              </a:rPr>
              <a:t>Forecast</a:t>
            </a:r>
            <a:endParaRPr kumimoji="0" lang="en-US" sz="1100" b="0" i="1" u="none" strike="noStrike" kern="1200" cap="none" spc="0" normalizeH="0" baseline="0" noProof="0" dirty="0">
              <a:solidFill>
                <a:schemeClr val="bg1"/>
              </a:solidFill>
              <a:effectLst/>
              <a:uLnTx/>
              <a:uFillTx/>
              <a:latin typeface="Trebuchet MS"/>
              <a:ea typeface="+mn-ea"/>
              <a:cs typeface="+mn-cs"/>
            </a:endParaRPr>
          </a:p>
        </p:txBody>
      </p:sp>
      <p:sp>
        <p:nvSpPr>
          <p:cNvPr id="277" name="Graphic 3">
            <a:hlinkClick r:id="rId61" action="ppaction://hlinksldjump"/>
            <a:extLst>
              <a:ext uri="{FF2B5EF4-FFF2-40B4-BE49-F238E27FC236}">
                <a16:creationId xmlns:a16="http://schemas.microsoft.com/office/drawing/2014/main" id="{0727D5B1-F165-1B9B-CACA-CE365A0D5863}"/>
              </a:ext>
            </a:extLst>
          </p:cNvPr>
          <p:cNvSpPr>
            <a:spLocks/>
          </p:cNvSpPr>
          <p:nvPr/>
        </p:nvSpPr>
        <p:spPr>
          <a:xfrm>
            <a:off x="7505700" y="969963"/>
            <a:ext cx="2052638" cy="350838"/>
          </a:xfrm>
          <a:prstGeom prst="rect">
            <a:avLst/>
          </a:prstGeom>
          <a:solidFill>
            <a:schemeClr val="accent6">
              <a:lumMod val="60000"/>
              <a:lumOff val="40000"/>
            </a:schemeClr>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000" b="1" dirty="0">
                <a:solidFill>
                  <a:schemeClr val="bg1"/>
                </a:solidFill>
                <a:latin typeface="Trebuchet MS"/>
              </a:rPr>
              <a:t>Baseline (only committed policies)</a:t>
            </a:r>
          </a:p>
        </p:txBody>
      </p:sp>
      <p:sp>
        <p:nvSpPr>
          <p:cNvPr id="279" name="Graphic 3">
            <a:extLst>
              <a:ext uri="{FF2B5EF4-FFF2-40B4-BE49-F238E27FC236}">
                <a16:creationId xmlns:a16="http://schemas.microsoft.com/office/drawing/2014/main" id="{E6A6EB33-DA4D-F12A-7CED-17B4D33D596A}"/>
              </a:ext>
            </a:extLst>
          </p:cNvPr>
          <p:cNvSpPr>
            <a:spLocks/>
          </p:cNvSpPr>
          <p:nvPr/>
        </p:nvSpPr>
        <p:spPr>
          <a:xfrm>
            <a:off x="9652001" y="969963"/>
            <a:ext cx="2066925" cy="350838"/>
          </a:xfrm>
          <a:prstGeom prst="rect">
            <a:avLst/>
          </a:prstGeom>
          <a:solidFill>
            <a:schemeClr val="accent4"/>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000" b="1" dirty="0">
                <a:solidFill>
                  <a:schemeClr val="bg1"/>
                </a:solidFill>
                <a:latin typeface="Trebuchet MS"/>
              </a:rPr>
              <a:t>Policy impacts applied</a:t>
            </a:r>
          </a:p>
        </p:txBody>
      </p:sp>
      <p:sp>
        <p:nvSpPr>
          <p:cNvPr id="280" name="Graphic 3">
            <a:extLst>
              <a:ext uri="{FF2B5EF4-FFF2-40B4-BE49-F238E27FC236}">
                <a16:creationId xmlns:a16="http://schemas.microsoft.com/office/drawing/2014/main" id="{31B79BAA-96DA-B913-A8B3-F1B5AE272FDC}"/>
              </a:ext>
            </a:extLst>
          </p:cNvPr>
          <p:cNvSpPr>
            <a:spLocks/>
          </p:cNvSpPr>
          <p:nvPr/>
        </p:nvSpPr>
        <p:spPr>
          <a:xfrm>
            <a:off x="7966075" y="1546226"/>
            <a:ext cx="1755775" cy="296863"/>
          </a:xfrm>
          <a:prstGeom prst="rect">
            <a:avLst/>
          </a:prstGeom>
          <a:solidFill>
            <a:schemeClr val="accent4"/>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solidFill>
                  <a:schemeClr val="bg1"/>
                </a:solidFill>
                <a:effectLst/>
                <a:uLnTx/>
                <a:uFillTx/>
                <a:latin typeface="Trebuchet MS"/>
                <a:ea typeface="+mn-ea"/>
                <a:cs typeface="+mn-cs"/>
              </a:rPr>
              <a:t>Supply and demand</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282" name="Graphic 3">
            <a:extLst>
              <a:ext uri="{FF2B5EF4-FFF2-40B4-BE49-F238E27FC236}">
                <a16:creationId xmlns:a16="http://schemas.microsoft.com/office/drawing/2014/main" id="{29DD3AA7-17DA-1DD4-8BAB-CB307DFF82E5}"/>
              </a:ext>
            </a:extLst>
          </p:cNvPr>
          <p:cNvSpPr>
            <a:spLocks/>
          </p:cNvSpPr>
          <p:nvPr/>
        </p:nvSpPr>
        <p:spPr>
          <a:xfrm>
            <a:off x="9829800" y="1546226"/>
            <a:ext cx="1755775" cy="296863"/>
          </a:xfrm>
          <a:prstGeom prst="rect">
            <a:avLst/>
          </a:prstGeom>
          <a:solidFill>
            <a:schemeClr val="accent6">
              <a:lumMod val="60000"/>
              <a:lumOff val="40000"/>
            </a:schemeClr>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solidFill>
                  <a:schemeClr val="bg1"/>
                </a:solidFill>
                <a:effectLst/>
                <a:uLnTx/>
                <a:uFillTx/>
                <a:latin typeface="Trebuchet MS"/>
                <a:ea typeface="+mn-ea"/>
                <a:cs typeface="+mn-cs"/>
              </a:rPr>
              <a:t>Prices</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292" name="Graphic 3">
            <a:extLst>
              <a:ext uri="{FF2B5EF4-FFF2-40B4-BE49-F238E27FC236}">
                <a16:creationId xmlns:a16="http://schemas.microsoft.com/office/drawing/2014/main" id="{DD6CADD2-EABC-BD43-4C86-ABE33BCB4319}"/>
              </a:ext>
            </a:extLst>
          </p:cNvPr>
          <p:cNvSpPr>
            <a:spLocks/>
          </p:cNvSpPr>
          <p:nvPr/>
        </p:nvSpPr>
        <p:spPr>
          <a:xfrm>
            <a:off x="7966075" y="2230438"/>
            <a:ext cx="3616325" cy="298450"/>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solidFill>
                  <a:schemeClr val="bg1"/>
                </a:solidFill>
                <a:effectLst/>
                <a:uLnTx/>
                <a:uFillTx/>
                <a:latin typeface="Trebuchet MS"/>
                <a:ea typeface="+mn-ea"/>
                <a:cs typeface="+mn-cs"/>
              </a:rPr>
              <a:t>Policy breakdown and assumptions</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297" name="Graphic 3">
            <a:extLst>
              <a:ext uri="{FF2B5EF4-FFF2-40B4-BE49-F238E27FC236}">
                <a16:creationId xmlns:a16="http://schemas.microsoft.com/office/drawing/2014/main" id="{12F9AEC7-F8A2-C0CF-6881-19F11DA0950B}"/>
              </a:ext>
            </a:extLst>
          </p:cNvPr>
          <p:cNvSpPr>
            <a:spLocks/>
          </p:cNvSpPr>
          <p:nvPr/>
        </p:nvSpPr>
        <p:spPr>
          <a:xfrm>
            <a:off x="7963867" y="1906589"/>
            <a:ext cx="3616325" cy="296863"/>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solidFill>
                  <a:schemeClr val="bg1"/>
                </a:solidFill>
                <a:effectLst/>
                <a:uLnTx/>
                <a:uFillTx/>
                <a:latin typeface="Trebuchet MS"/>
                <a:ea typeface="+mn-ea"/>
                <a:cs typeface="+mn-cs"/>
              </a:rPr>
              <a:t>Baseline growth assumptions</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300" name="Text Placeholder 2">
            <a:extLst>
              <a:ext uri="{FF2B5EF4-FFF2-40B4-BE49-F238E27FC236}">
                <a16:creationId xmlns:a16="http://schemas.microsoft.com/office/drawing/2014/main" id="{934FD5D2-8DE9-C2D6-11F7-4D39C7C64A4D}"/>
              </a:ext>
            </a:extLst>
          </p:cNvPr>
          <p:cNvSpPr>
            <a:spLocks noGrp="1"/>
          </p:cNvSpPr>
          <p:nvPr>
            <p:custDataLst>
              <p:tags r:id="rId46"/>
            </p:custDataLst>
          </p:nvPr>
        </p:nvSpPr>
        <p:spPr bwMode="auto">
          <a:xfrm>
            <a:off x="9081050" y="6265863"/>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endParaRPr kumimoji="0" lang="en-GB" sz="800" b="0" i="0" u="none" strike="noStrike" kern="1200" cap="none" spc="0" normalizeH="0" baseline="0" noProof="0">
              <a:ln>
                <a:noFill/>
              </a:ln>
              <a:solidFill>
                <a:srgbClr val="032633"/>
              </a:solidFill>
              <a:effectLst/>
              <a:uLnTx/>
              <a:uFillTx/>
              <a:latin typeface="Trebuchet MS"/>
              <a:ea typeface="+mn-ea"/>
              <a:cs typeface="DIN Next LT Arabic" panose="020B0503020203050203" pitchFamily="34" charset="-78"/>
              <a:sym typeface="DIN Next LT Arabic" panose="020B0503020203050203" pitchFamily="34" charset="-78"/>
            </a:endParaRPr>
          </a:p>
        </p:txBody>
      </p:sp>
      <p:sp>
        <p:nvSpPr>
          <p:cNvPr id="301" name="Rectangle 300">
            <a:extLst>
              <a:ext uri="{FF2B5EF4-FFF2-40B4-BE49-F238E27FC236}">
                <a16:creationId xmlns:a16="http://schemas.microsoft.com/office/drawing/2014/main" id="{338B8AF8-C746-3274-48B0-F9C7B7B7F59C}"/>
              </a:ext>
            </a:extLst>
          </p:cNvPr>
          <p:cNvSpPr>
            <a:spLocks/>
          </p:cNvSpPr>
          <p:nvPr>
            <p:custDataLst>
              <p:tags r:id="rId47"/>
            </p:custDataLst>
          </p:nvPr>
        </p:nvSpPr>
        <p:spPr bwMode="auto">
          <a:xfrm>
            <a:off x="8050040" y="6311900"/>
            <a:ext cx="130074" cy="136525"/>
          </a:xfrm>
          <a:prstGeom prst="rect">
            <a:avLst/>
          </a:prstGeom>
          <a:solidFill>
            <a:srgbClr val="009A93"/>
          </a:solidFill>
          <a:ln w="9525" cap="flat" cmpd="sng" algn="ctr">
            <a:solidFill>
              <a:srgbClr val="FFFFF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latin typeface="Trebuchet MS"/>
              <a:ea typeface="+mn-ea"/>
              <a:cs typeface="+mn-cs"/>
            </a:endParaRPr>
          </a:p>
        </p:txBody>
      </p:sp>
      <p:sp>
        <p:nvSpPr>
          <p:cNvPr id="302" name="Rectangle 301">
            <a:extLst>
              <a:ext uri="{FF2B5EF4-FFF2-40B4-BE49-F238E27FC236}">
                <a16:creationId xmlns:a16="http://schemas.microsoft.com/office/drawing/2014/main" id="{BA751374-212B-BD62-FC15-99CB9DFC430E}"/>
              </a:ext>
            </a:extLst>
          </p:cNvPr>
          <p:cNvSpPr>
            <a:spLocks/>
          </p:cNvSpPr>
          <p:nvPr>
            <p:custDataLst>
              <p:tags r:id="rId48"/>
            </p:custDataLst>
          </p:nvPr>
        </p:nvSpPr>
        <p:spPr bwMode="auto">
          <a:xfrm>
            <a:off x="9109314" y="6307138"/>
            <a:ext cx="130074" cy="136525"/>
          </a:xfrm>
          <a:prstGeom prst="rect">
            <a:avLst/>
          </a:prstGeom>
          <a:solidFill>
            <a:srgbClr val="1A5768"/>
          </a:solidFill>
          <a:ln w="9525" cap="flat" cmpd="sng" algn="ctr">
            <a:solidFill>
              <a:srgbClr val="FFFFF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latin typeface="Trebuchet MS"/>
              <a:ea typeface="+mn-ea"/>
              <a:cs typeface="+mn-cs"/>
            </a:endParaRPr>
          </a:p>
        </p:txBody>
      </p:sp>
      <p:sp>
        <p:nvSpPr>
          <p:cNvPr id="303" name="Text Placeholder 2">
            <a:extLst>
              <a:ext uri="{FF2B5EF4-FFF2-40B4-BE49-F238E27FC236}">
                <a16:creationId xmlns:a16="http://schemas.microsoft.com/office/drawing/2014/main" id="{62E1CCFF-1190-C0A7-2B33-19E1DE3CFE8A}"/>
              </a:ext>
            </a:extLst>
          </p:cNvPr>
          <p:cNvSpPr>
            <a:spLocks noGrp="1"/>
          </p:cNvSpPr>
          <p:nvPr>
            <p:custDataLst>
              <p:tags r:id="rId49"/>
            </p:custDataLst>
          </p:nvPr>
        </p:nvSpPr>
        <p:spPr bwMode="auto">
          <a:xfrm>
            <a:off x="8220027" y="6311900"/>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r>
              <a:rPr kumimoji="0" lang="en-GB" sz="800" b="0" i="0" u="none" strike="noStrike" kern="1200" cap="none" spc="0" normalizeH="0" baseline="0" noProof="0">
                <a:ln>
                  <a:noFill/>
                </a:ln>
                <a:solidFill>
                  <a:srgbClr val="003A37"/>
                </a:solidFill>
                <a:effectLst/>
                <a:uLnTx/>
                <a:uFillTx/>
                <a:latin typeface="Trebuchet MS"/>
                <a:ea typeface="+mn-ea"/>
                <a:cs typeface="DIN Next LT Arabic" panose="020B0503020203050203" pitchFamily="34" charset="-78"/>
                <a:sym typeface="DIN Next LT Arabic" panose="020B0503020203050203" pitchFamily="34" charset="-78"/>
              </a:rPr>
              <a:t>Housing Demand</a:t>
            </a:r>
          </a:p>
        </p:txBody>
      </p:sp>
      <p:sp>
        <p:nvSpPr>
          <p:cNvPr id="304" name="Text Placeholder 2">
            <a:extLst>
              <a:ext uri="{FF2B5EF4-FFF2-40B4-BE49-F238E27FC236}">
                <a16:creationId xmlns:a16="http://schemas.microsoft.com/office/drawing/2014/main" id="{AC6ABF24-B077-0330-EA77-EE8C37605E0F}"/>
              </a:ext>
            </a:extLst>
          </p:cNvPr>
          <p:cNvSpPr>
            <a:spLocks noGrp="1"/>
          </p:cNvSpPr>
          <p:nvPr>
            <p:custDataLst>
              <p:tags r:id="rId50"/>
            </p:custDataLst>
          </p:nvPr>
        </p:nvSpPr>
        <p:spPr bwMode="auto">
          <a:xfrm>
            <a:off x="9281531" y="6307138"/>
            <a:ext cx="442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r>
              <a:rPr kumimoji="0" lang="en-GB" sz="800" b="0" i="0" u="none" strike="noStrike" kern="1200" cap="none" spc="0" normalizeH="0" baseline="0" noProof="0">
                <a:ln>
                  <a:noFill/>
                </a:ln>
                <a:solidFill>
                  <a:srgbClr val="003A37"/>
                </a:solidFill>
                <a:effectLst/>
                <a:uLnTx/>
                <a:uFillTx/>
                <a:latin typeface="Trebuchet MS"/>
                <a:ea typeface="+mn-ea"/>
                <a:cs typeface="DIN Next LT Arabic" panose="020B0503020203050203" pitchFamily="34" charset="-78"/>
                <a:sym typeface="DIN Next LT Arabic" panose="020B0503020203050203" pitchFamily="34" charset="-78"/>
              </a:rPr>
              <a:t>Housing Supply </a:t>
            </a:r>
          </a:p>
        </p:txBody>
      </p:sp>
      <p:sp>
        <p:nvSpPr>
          <p:cNvPr id="305" name="Text Placeholder 2">
            <a:extLst>
              <a:ext uri="{FF2B5EF4-FFF2-40B4-BE49-F238E27FC236}">
                <a16:creationId xmlns:a16="http://schemas.microsoft.com/office/drawing/2014/main" id="{AB23FB9B-3C22-2164-6B68-991BD4CBEA86}"/>
              </a:ext>
            </a:extLst>
          </p:cNvPr>
          <p:cNvSpPr>
            <a:spLocks noGrp="1"/>
          </p:cNvSpPr>
          <p:nvPr>
            <p:custDataLst>
              <p:tags r:id="rId51"/>
            </p:custDataLst>
          </p:nvPr>
        </p:nvSpPr>
        <p:spPr bwMode="auto">
          <a:xfrm>
            <a:off x="10609777" y="6251575"/>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endParaRPr kumimoji="0" lang="en-GB" sz="800" b="0" i="0" u="none" strike="noStrike" kern="1200" cap="none" spc="0" normalizeH="0" baseline="0" noProof="0">
              <a:ln>
                <a:noFill/>
              </a:ln>
              <a:solidFill>
                <a:srgbClr val="032633"/>
              </a:solidFill>
              <a:effectLst/>
              <a:uLnTx/>
              <a:uFillTx/>
              <a:latin typeface="Trebuchet MS"/>
              <a:ea typeface="+mn-ea"/>
              <a:cs typeface="DIN Next LT Arabic" panose="020B0503020203050203" pitchFamily="34" charset="-78"/>
              <a:sym typeface="DIN Next LT Arabic" panose="020B0503020203050203" pitchFamily="34" charset="-78"/>
            </a:endParaRPr>
          </a:p>
        </p:txBody>
      </p:sp>
      <p:sp>
        <p:nvSpPr>
          <p:cNvPr id="306" name="Text Placeholder 2">
            <a:extLst>
              <a:ext uri="{FF2B5EF4-FFF2-40B4-BE49-F238E27FC236}">
                <a16:creationId xmlns:a16="http://schemas.microsoft.com/office/drawing/2014/main" id="{2F556184-F84C-DA47-13A2-5797E8673B4C}"/>
              </a:ext>
            </a:extLst>
          </p:cNvPr>
          <p:cNvSpPr>
            <a:spLocks noGrp="1"/>
          </p:cNvSpPr>
          <p:nvPr>
            <p:custDataLst>
              <p:tags r:id="rId52"/>
            </p:custDataLst>
          </p:nvPr>
        </p:nvSpPr>
        <p:spPr bwMode="auto">
          <a:xfrm>
            <a:off x="10505542" y="6297613"/>
            <a:ext cx="442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r>
              <a:rPr kumimoji="0" lang="en-GB" sz="800" b="0" i="0" u="none" strike="noStrike" kern="1200" cap="none" spc="0" normalizeH="0" baseline="0" noProof="0" dirty="0">
                <a:ln>
                  <a:noFill/>
                </a:ln>
                <a:solidFill>
                  <a:srgbClr val="003A37"/>
                </a:solidFill>
                <a:effectLst/>
                <a:uLnTx/>
                <a:uFillTx/>
                <a:latin typeface="Trebuchet MS"/>
                <a:ea typeface="+mn-ea"/>
                <a:cs typeface="DIN Next LT Arabic" panose="020B0503020203050203" pitchFamily="34" charset="-78"/>
                <a:sym typeface="DIN Next LT Arabic" panose="020B0503020203050203" pitchFamily="34" charset="-78"/>
              </a:rPr>
              <a:t>Supply-Demand Gap</a:t>
            </a:r>
          </a:p>
        </p:txBody>
      </p:sp>
      <p:sp>
        <p:nvSpPr>
          <p:cNvPr id="307" name="Text Placeholder 2">
            <a:extLst>
              <a:ext uri="{FF2B5EF4-FFF2-40B4-BE49-F238E27FC236}">
                <a16:creationId xmlns:a16="http://schemas.microsoft.com/office/drawing/2014/main" id="{E78866A9-D2D5-E09A-1155-4BB7010DE003}"/>
              </a:ext>
            </a:extLst>
          </p:cNvPr>
          <p:cNvSpPr>
            <a:spLocks noGrp="1"/>
          </p:cNvSpPr>
          <p:nvPr>
            <p:custDataLst>
              <p:tags r:id="rId53"/>
            </p:custDataLst>
          </p:nvPr>
        </p:nvSpPr>
        <p:spPr bwMode="auto">
          <a:xfrm>
            <a:off x="11818565" y="6432841"/>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endParaRPr kumimoji="0" lang="en-GB" sz="800" b="0" i="0" u="none" strike="noStrike" kern="1200" cap="none" spc="0" normalizeH="0" baseline="0" noProof="0">
              <a:ln>
                <a:noFill/>
              </a:ln>
              <a:solidFill>
                <a:srgbClr val="032633"/>
              </a:solidFill>
              <a:effectLst/>
              <a:uLnTx/>
              <a:uFillTx/>
              <a:latin typeface="Trebuchet MS"/>
              <a:ea typeface="+mn-ea"/>
              <a:cs typeface="DIN Next LT Arabic" panose="020B0503020203050203" pitchFamily="34" charset="-78"/>
              <a:sym typeface="DIN Next LT Arabic" panose="020B0503020203050203" pitchFamily="34" charset="-78"/>
            </a:endParaRPr>
          </a:p>
        </p:txBody>
      </p:sp>
      <p:grpSp>
        <p:nvGrpSpPr>
          <p:cNvPr id="308" name="Group 307">
            <a:extLst>
              <a:ext uri="{FF2B5EF4-FFF2-40B4-BE49-F238E27FC236}">
                <a16:creationId xmlns:a16="http://schemas.microsoft.com/office/drawing/2014/main" id="{6E252FE2-AB00-C69B-F5BB-199547E1FBA2}"/>
              </a:ext>
            </a:extLst>
          </p:cNvPr>
          <p:cNvGrpSpPr/>
          <p:nvPr/>
        </p:nvGrpSpPr>
        <p:grpSpPr>
          <a:xfrm>
            <a:off x="10098578" y="6235700"/>
            <a:ext cx="354011" cy="274638"/>
            <a:chOff x="8001001" y="2603500"/>
            <a:chExt cx="354011" cy="1098550"/>
          </a:xfrm>
        </p:grpSpPr>
        <p:cxnSp>
          <p:nvCxnSpPr>
            <p:cNvPr id="309" name="Straight Arrow Connector 308">
              <a:extLst>
                <a:ext uri="{FF2B5EF4-FFF2-40B4-BE49-F238E27FC236}">
                  <a16:creationId xmlns:a16="http://schemas.microsoft.com/office/drawing/2014/main" id="{163E5BE3-C369-F548-DCB3-0BE369083EA9}"/>
                </a:ext>
              </a:extLst>
            </p:cNvPr>
            <p:cNvCxnSpPr>
              <a:cxnSpLocks/>
            </p:cNvCxnSpPr>
            <p:nvPr/>
          </p:nvCxnSpPr>
          <p:spPr>
            <a:xfrm>
              <a:off x="8178006" y="2603500"/>
              <a:ext cx="0" cy="1098550"/>
            </a:xfrm>
            <a:prstGeom prst="straightConnector1">
              <a:avLst/>
            </a:prstGeom>
            <a:ln w="9525" cap="rnd">
              <a:solidFill>
                <a:srgbClr val="9A9A9A"/>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22BDAFC0-40B8-B815-3663-251B435BA63D}"/>
                </a:ext>
              </a:extLst>
            </p:cNvPr>
            <p:cNvGrpSpPr/>
            <p:nvPr/>
          </p:nvGrpSpPr>
          <p:grpSpPr>
            <a:xfrm>
              <a:off x="8001001" y="2997647"/>
              <a:ext cx="354011" cy="310256"/>
              <a:chOff x="7980363" y="2991224"/>
              <a:chExt cx="354011" cy="310256"/>
            </a:xfrm>
            <a:solidFill>
              <a:srgbClr val="FF0000"/>
            </a:solidFill>
          </p:grpSpPr>
          <p:sp>
            <p:nvSpPr>
              <p:cNvPr id="311" name="Oval 310">
                <a:extLst>
                  <a:ext uri="{FF2B5EF4-FFF2-40B4-BE49-F238E27FC236}">
                    <a16:creationId xmlns:a16="http://schemas.microsoft.com/office/drawing/2014/main" id="{C901AF82-E7AC-8C5E-7109-80E33FBF52AC}"/>
                  </a:ext>
                </a:extLst>
              </p:cNvPr>
              <p:cNvSpPr/>
              <p:nvPr/>
            </p:nvSpPr>
            <p:spPr>
              <a:xfrm>
                <a:off x="7980363" y="2991224"/>
                <a:ext cx="354011" cy="310256"/>
              </a:xfrm>
              <a:prstGeom prst="ellipse">
                <a:avLst/>
              </a:prstGeom>
              <a:solidFill>
                <a:srgbClr val="F2F2F2"/>
              </a:solidFill>
              <a:ln w="12700" cap="rnd" cmpd="sng" algn="ctr">
                <a:solidFill>
                  <a:schemeClr val="tx2"/>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006C67"/>
                  </a:buClr>
                  <a:buSzTx/>
                  <a:buFontTx/>
                  <a:buNone/>
                  <a:tabLst/>
                  <a:defRPr/>
                </a:pPr>
                <a:endParaRPr kumimoji="0" lang="en-GB" sz="800" b="0" i="0" u="none" strike="noStrike" kern="1200" cap="none" spc="0" normalizeH="0" baseline="0" noProof="0">
                  <a:ln>
                    <a:noFill/>
                  </a:ln>
                  <a:solidFill>
                    <a:srgbClr val="000000"/>
                  </a:solidFill>
                  <a:effectLst/>
                  <a:uLnTx/>
                  <a:uFillTx/>
                  <a:latin typeface="Trebuchet MS"/>
                  <a:ea typeface="+mn-ea"/>
                  <a:cs typeface="+mn-cs"/>
                </a:endParaRPr>
              </a:p>
            </p:txBody>
          </p:sp>
          <p:sp>
            <p:nvSpPr>
              <p:cNvPr id="312" name="TextBox 311">
                <a:extLst>
                  <a:ext uri="{FF2B5EF4-FFF2-40B4-BE49-F238E27FC236}">
                    <a16:creationId xmlns:a16="http://schemas.microsoft.com/office/drawing/2014/main" id="{1674BDC4-EBB2-EECD-E8C3-787EF93CB445}"/>
                  </a:ext>
                </a:extLst>
              </p:cNvPr>
              <p:cNvSpPr txBox="1"/>
              <p:nvPr/>
            </p:nvSpPr>
            <p:spPr>
              <a:xfrm>
                <a:off x="8001000" y="3062214"/>
                <a:ext cx="312737" cy="16827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Trebuchet MS"/>
                  <a:ea typeface="+mn-ea"/>
                  <a:cs typeface="+mn-cs"/>
                </a:endParaRPr>
              </a:p>
            </p:txBody>
          </p:sp>
        </p:grpSp>
      </p:grpSp>
      <p:sp>
        <p:nvSpPr>
          <p:cNvPr id="42" name="Graphic 3">
            <a:extLst>
              <a:ext uri="{FF2B5EF4-FFF2-40B4-BE49-F238E27FC236}">
                <a16:creationId xmlns:a16="http://schemas.microsoft.com/office/drawing/2014/main" id="{DEF27C44-6C8E-5BE8-F392-40D0AA110D9E}"/>
              </a:ext>
            </a:extLst>
          </p:cNvPr>
          <p:cNvSpPr>
            <a:spLocks/>
          </p:cNvSpPr>
          <p:nvPr/>
        </p:nvSpPr>
        <p:spPr>
          <a:xfrm>
            <a:off x="71507" y="6630504"/>
            <a:ext cx="7336458" cy="227495"/>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algn="ctr">
              <a:spcAft>
                <a:spcPts val="200"/>
              </a:spcAft>
              <a:buClr>
                <a:srgbClr val="006C67"/>
              </a:buClr>
            </a:pPr>
            <a:r>
              <a:rPr lang="en-US" sz="1200" b="1" dirty="0">
                <a:solidFill>
                  <a:schemeClr val="bg1"/>
                </a:solidFill>
                <a:latin typeface="Trebuchet MS"/>
              </a:rPr>
              <a:t>Policy monitoring</a:t>
            </a:r>
          </a:p>
        </p:txBody>
      </p:sp>
      <p:sp>
        <p:nvSpPr>
          <p:cNvPr id="43" name="Rectangle 42">
            <a:extLst>
              <a:ext uri="{FF2B5EF4-FFF2-40B4-BE49-F238E27FC236}">
                <a16:creationId xmlns:a16="http://schemas.microsoft.com/office/drawing/2014/main" id="{516CA731-6BBD-A302-FAD7-9FA129E2DA26}"/>
              </a:ext>
            </a:extLst>
          </p:cNvPr>
          <p:cNvSpPr/>
          <p:nvPr/>
        </p:nvSpPr>
        <p:spPr>
          <a:xfrm>
            <a:off x="0" y="0"/>
            <a:ext cx="12192000" cy="494748"/>
          </a:xfrm>
          <a:prstGeom prst="rect">
            <a:avLst/>
          </a:prstGeom>
          <a:gradFill>
            <a:gsLst>
              <a:gs pos="6322">
                <a:schemeClr val="accent2"/>
              </a:gs>
              <a:gs pos="62000">
                <a:schemeClr val="bg2">
                  <a:lumMod val="50000"/>
                  <a:alpha val="57000"/>
                </a:schemeClr>
              </a:gs>
              <a:gs pos="100000">
                <a:schemeClr val="bg1">
                  <a:alpha val="0"/>
                </a:schemeClr>
              </a:gs>
            </a:gsLst>
            <a:lin ang="0" scaled="1"/>
          </a:gra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274320" tIns="91440" rIns="182880" bIns="91440" numCol="1" spcCol="0" rtlCol="0" fromWordArt="0" anchor="ctr" anchorCtr="0" forceAA="0" compatLnSpc="1">
            <a:prstTxWarp prst="textNoShape">
              <a:avLst/>
            </a:prstTxWarp>
            <a:noAutofit/>
          </a:bodyPr>
          <a:lstStyle/>
          <a:p>
            <a:pPr algn="l">
              <a:buClr>
                <a:srgbClr val="006C67"/>
              </a:buClr>
            </a:pPr>
            <a:r>
              <a:rPr lang="en-GB" sz="1400" b="1" dirty="0">
                <a:solidFill>
                  <a:schemeClr val="bg1"/>
                </a:solidFill>
              </a:rPr>
              <a:t>                 </a:t>
            </a:r>
            <a:r>
              <a:rPr lang="en-GB" sz="1400" b="1" dirty="0" err="1">
                <a:solidFill>
                  <a:schemeClr val="bg1"/>
                </a:solidFill>
              </a:rPr>
              <a:t>MoMAH</a:t>
            </a:r>
            <a:r>
              <a:rPr lang="en-GB" sz="1400" b="1" dirty="0">
                <a:solidFill>
                  <a:schemeClr val="bg1"/>
                </a:solidFill>
              </a:rPr>
              <a:t> - Decision Support System</a:t>
            </a:r>
          </a:p>
        </p:txBody>
      </p:sp>
      <p:pic>
        <p:nvPicPr>
          <p:cNvPr id="45" name="Graphic 44">
            <a:extLst>
              <a:ext uri="{FF2B5EF4-FFF2-40B4-BE49-F238E27FC236}">
                <a16:creationId xmlns:a16="http://schemas.microsoft.com/office/drawing/2014/main" id="{1E833D70-C9A7-B5BE-FEB1-8C3824036403}"/>
              </a:ext>
            </a:extLst>
          </p:cNvPr>
          <p:cNvPicPr>
            <a:picLocks noChangeAspect="1"/>
          </p:cNvPicPr>
          <p:nvPr>
            <p:custDataLst>
              <p:tags r:id="rId54"/>
            </p:custDataLst>
          </p:nvPr>
        </p:nvPicPr>
        <p:blipFill>
          <a:blip r:embed="rId62">
            <a:extLst>
              <a:ext uri="{96DAC541-7B7A-43D3-8B79-37D633B846F1}">
                <asvg:svgBlip xmlns:asvg="http://schemas.microsoft.com/office/drawing/2016/SVG/main" r:embed="rId63"/>
              </a:ext>
            </a:extLst>
          </a:blip>
          <a:stretch>
            <a:fillRect/>
          </a:stretch>
        </p:blipFill>
        <p:spPr>
          <a:xfrm>
            <a:off x="99121" y="53075"/>
            <a:ext cx="389863" cy="389863"/>
          </a:xfrm>
          <a:prstGeom prst="rect">
            <a:avLst/>
          </a:prstGeom>
        </p:spPr>
      </p:pic>
      <p:pic>
        <p:nvPicPr>
          <p:cNvPr id="46" name="Graphic 45">
            <a:extLst>
              <a:ext uri="{FF2B5EF4-FFF2-40B4-BE49-F238E27FC236}">
                <a16:creationId xmlns:a16="http://schemas.microsoft.com/office/drawing/2014/main" id="{7116AA28-0B8A-3EA4-F554-0CBC51424D3E}"/>
              </a:ext>
            </a:extLst>
          </p:cNvPr>
          <p:cNvPicPr>
            <a:picLocks noChangeAspect="1"/>
          </p:cNvPicPr>
          <p:nvPr>
            <p:custDataLst>
              <p:tags r:id="rId55"/>
            </p:custDataLst>
          </p:nvPr>
        </p:nvPicPr>
        <p:blipFill>
          <a:blip r:embed="rId64">
            <a:extLst>
              <a:ext uri="{96DAC541-7B7A-43D3-8B79-37D633B846F1}">
                <asvg:svgBlip xmlns:asvg="http://schemas.microsoft.com/office/drawing/2016/SVG/main" r:embed="rId65"/>
              </a:ext>
            </a:extLst>
          </a:blip>
          <a:stretch>
            <a:fillRect/>
          </a:stretch>
        </p:blipFill>
        <p:spPr>
          <a:xfrm>
            <a:off x="583217" y="38405"/>
            <a:ext cx="426129" cy="426129"/>
          </a:xfrm>
          <a:prstGeom prst="rect">
            <a:avLst/>
          </a:prstGeom>
        </p:spPr>
      </p:pic>
    </p:spTree>
    <p:extLst>
      <p:ext uri="{BB962C8B-B14F-4D97-AF65-F5344CB8AC3E}">
        <p14:creationId xmlns:p14="http://schemas.microsoft.com/office/powerpoint/2010/main" val="2752569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ADD88-D6C9-FA5E-EB66-501D5C1AC35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698654-2BB9-6830-1353-482F061A7B79}"/>
              </a:ext>
            </a:extLst>
          </p:cNvPr>
          <p:cNvGraphicFramePr>
            <a:graphicFrameLocks noChangeAspect="1"/>
          </p:cNvGraphicFramePr>
          <p:nvPr>
            <p:custDataLst>
              <p:tags r:id="rId1"/>
            </p:custDataLst>
            <p:extLst>
              <p:ext uri="{D42A27DB-BD31-4B8C-83A1-F6EECF244321}">
                <p14:modId xmlns:p14="http://schemas.microsoft.com/office/powerpoint/2010/main" val="1306311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3" name="think-cell data - do not delete" hidden="1">
                        <a:extLst>
                          <a:ext uri="{FF2B5EF4-FFF2-40B4-BE49-F238E27FC236}">
                            <a16:creationId xmlns:a16="http://schemas.microsoft.com/office/drawing/2014/main" id="{8DB7EBFD-A7FD-E7E4-538F-9AB1F1B197F8}"/>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98" name="Rectangle 97">
            <a:extLst>
              <a:ext uri="{FF2B5EF4-FFF2-40B4-BE49-F238E27FC236}">
                <a16:creationId xmlns:a16="http://schemas.microsoft.com/office/drawing/2014/main" id="{17516631-7F1B-DDBF-B384-75D13AEA36F7}"/>
              </a:ext>
            </a:extLst>
          </p:cNvPr>
          <p:cNvSpPr>
            <a:spLocks/>
          </p:cNvSpPr>
          <p:nvPr/>
        </p:nvSpPr>
        <p:spPr>
          <a:xfrm>
            <a:off x="622299" y="1600199"/>
            <a:ext cx="7714877" cy="258763"/>
          </a:xfrm>
          <a:prstGeom prst="rect">
            <a:avLst/>
          </a:prstGeom>
          <a:solidFill>
            <a:schemeClr val="tx2"/>
          </a:solidFill>
          <a:ln w="12700" cap="flat" cmpd="sng" algn="ctr">
            <a:solidFill>
              <a:schemeClr val="tx2"/>
            </a:solidFill>
            <a:prstDash val="solid"/>
            <a:miter lim="800000"/>
          </a:ln>
          <a:effectLst>
            <a:outerShdw blurRad="63500" sx="102000" sy="102000" algn="ctr" rotWithShape="0">
              <a:prstClr val="black">
                <a:alpha val="19709"/>
              </a:prstClr>
            </a:outerShdw>
          </a:effectLst>
        </p:spPr>
        <p:txBody>
          <a:bodyPr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Trebuchet MS"/>
                <a:ea typeface="+mn-ea"/>
                <a:cs typeface="+mn-cs"/>
              </a:rPr>
              <a:t>Price to Income Ratio</a:t>
            </a:r>
            <a:endParaRPr kumimoji="0" lang="en-GB" sz="1100" b="1" i="0" u="none" strike="noStrike" kern="1200" cap="none" spc="0" normalizeH="0" baseline="0" noProof="0">
              <a:ln>
                <a:noFill/>
              </a:ln>
              <a:solidFill>
                <a:srgbClr val="535353"/>
              </a:solidFill>
              <a:effectLst/>
              <a:uLnTx/>
              <a:uFillTx/>
              <a:latin typeface="Trebuchet MS"/>
              <a:ea typeface="+mn-ea"/>
              <a:cs typeface="+mn-cs"/>
            </a:endParaRPr>
          </a:p>
        </p:txBody>
      </p:sp>
      <p:sp>
        <p:nvSpPr>
          <p:cNvPr id="39" name="TextBox 38">
            <a:extLst>
              <a:ext uri="{FF2B5EF4-FFF2-40B4-BE49-F238E27FC236}">
                <a16:creationId xmlns:a16="http://schemas.microsoft.com/office/drawing/2014/main" id="{B3910FE7-D5F6-36D3-3F28-228B6D30EFD6}"/>
              </a:ext>
            </a:extLst>
          </p:cNvPr>
          <p:cNvSpPr txBox="1"/>
          <p:nvPr/>
        </p:nvSpPr>
        <p:spPr>
          <a:xfrm>
            <a:off x="9670815" y="1819782"/>
            <a:ext cx="210814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sng" strike="noStrike" kern="1200" cap="none" spc="0" normalizeH="0" baseline="0" noProof="0">
                <a:ln>
                  <a:noFill/>
                </a:ln>
                <a:solidFill>
                  <a:srgbClr val="004C48"/>
                </a:solidFill>
                <a:effectLst/>
                <a:uLnTx/>
                <a:uFillTx/>
                <a:latin typeface="Trebuchet MS"/>
                <a:ea typeface="+mn-ea"/>
                <a:cs typeface="+mn-cs"/>
              </a:rPr>
              <a:t>Key insights</a:t>
            </a:r>
          </a:p>
        </p:txBody>
      </p:sp>
      <p:grpSp>
        <p:nvGrpSpPr>
          <p:cNvPr id="1363" name="Group 1362">
            <a:extLst>
              <a:ext uri="{FF2B5EF4-FFF2-40B4-BE49-F238E27FC236}">
                <a16:creationId xmlns:a16="http://schemas.microsoft.com/office/drawing/2014/main" id="{970BD3E3-D4B6-549E-C7A3-290383D0E884}"/>
              </a:ext>
            </a:extLst>
          </p:cNvPr>
          <p:cNvGrpSpPr/>
          <p:nvPr/>
        </p:nvGrpSpPr>
        <p:grpSpPr>
          <a:xfrm>
            <a:off x="8633611" y="1651186"/>
            <a:ext cx="323850" cy="4476564"/>
            <a:chOff x="8633611" y="1651186"/>
            <a:chExt cx="323850" cy="4476564"/>
          </a:xfrm>
        </p:grpSpPr>
        <p:cxnSp>
          <p:nvCxnSpPr>
            <p:cNvPr id="1364" name="Straight Connector 1363">
              <a:extLst>
                <a:ext uri="{FF2B5EF4-FFF2-40B4-BE49-F238E27FC236}">
                  <a16:creationId xmlns:a16="http://schemas.microsoft.com/office/drawing/2014/main" id="{3F0CDC26-320C-4976-99C8-C15A7213E30C}"/>
                </a:ext>
              </a:extLst>
            </p:cNvPr>
            <p:cNvCxnSpPr>
              <a:cxnSpLocks/>
            </p:cNvCxnSpPr>
            <p:nvPr/>
          </p:nvCxnSpPr>
          <p:spPr>
            <a:xfrm>
              <a:off x="8769342" y="1651186"/>
              <a:ext cx="0" cy="4476564"/>
            </a:xfrm>
            <a:prstGeom prst="line">
              <a:avLst/>
            </a:prstGeom>
            <a:noFill/>
            <a:ln w="19050" cap="flat" cmpd="sng" algn="ctr">
              <a:solidFill>
                <a:schemeClr val="accent4"/>
              </a:solidFill>
              <a:prstDash val="solid"/>
              <a:miter lim="800000"/>
            </a:ln>
            <a:effectLst/>
          </p:spPr>
        </p:cxnSp>
        <p:grpSp>
          <p:nvGrpSpPr>
            <p:cNvPr id="1365" name="Group 1364">
              <a:extLst>
                <a:ext uri="{FF2B5EF4-FFF2-40B4-BE49-F238E27FC236}">
                  <a16:creationId xmlns:a16="http://schemas.microsoft.com/office/drawing/2014/main" id="{B4C201E7-F2D4-D906-EBA6-B346EE863E45}"/>
                </a:ext>
              </a:extLst>
            </p:cNvPr>
            <p:cNvGrpSpPr/>
            <p:nvPr/>
          </p:nvGrpSpPr>
          <p:grpSpPr>
            <a:xfrm>
              <a:off x="8633611" y="3461456"/>
              <a:ext cx="323850" cy="628593"/>
              <a:chOff x="1886358" y="5199045"/>
              <a:chExt cx="557212" cy="497047"/>
            </a:xfrm>
          </p:grpSpPr>
          <p:sp>
            <p:nvSpPr>
              <p:cNvPr id="1367" name="Rectangle 1366">
                <a:extLst>
                  <a:ext uri="{FF2B5EF4-FFF2-40B4-BE49-F238E27FC236}">
                    <a16:creationId xmlns:a16="http://schemas.microsoft.com/office/drawing/2014/main" id="{E5934EAD-4711-F398-26F8-82C31E34C0D2}"/>
                  </a:ext>
                </a:extLst>
              </p:cNvPr>
              <p:cNvSpPr/>
              <p:nvPr/>
            </p:nvSpPr>
            <p:spPr>
              <a:xfrm>
                <a:off x="1886358" y="5201984"/>
                <a:ext cx="557212" cy="49116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grpSp>
            <p:nvGrpSpPr>
              <p:cNvPr id="1368" name="Google Shape;2322;p9">
                <a:extLst>
                  <a:ext uri="{FF2B5EF4-FFF2-40B4-BE49-F238E27FC236}">
                    <a16:creationId xmlns:a16="http://schemas.microsoft.com/office/drawing/2014/main" id="{50C29ECE-E3E2-5E6A-A08D-E1E5B52BD600}"/>
                  </a:ext>
                </a:extLst>
              </p:cNvPr>
              <p:cNvGrpSpPr/>
              <p:nvPr/>
            </p:nvGrpSpPr>
            <p:grpSpPr>
              <a:xfrm>
                <a:off x="1923159" y="5199045"/>
                <a:ext cx="459420" cy="497047"/>
                <a:chOff x="4646915" y="3734035"/>
                <a:chExt cx="390043" cy="529695"/>
              </a:xfrm>
            </p:grpSpPr>
            <p:sp>
              <p:nvSpPr>
                <p:cNvPr id="1369" name="Google Shape;2324;p9">
                  <a:extLst>
                    <a:ext uri="{FF2B5EF4-FFF2-40B4-BE49-F238E27FC236}">
                      <a16:creationId xmlns:a16="http://schemas.microsoft.com/office/drawing/2014/main" id="{3E9992E5-F720-3B43-03DA-0E2F13E62769}"/>
                    </a:ext>
                  </a:extLst>
                </p:cNvPr>
                <p:cNvSpPr/>
                <p:nvPr/>
              </p:nvSpPr>
              <p:spPr>
                <a:xfrm rot="5400000">
                  <a:off x="4656677" y="3883450"/>
                  <a:ext cx="529695" cy="230866"/>
                </a:xfrm>
                <a:prstGeom prst="triangle">
                  <a:avLst>
                    <a:gd name="adj" fmla="val 50000"/>
                  </a:avLst>
                </a:prstGeom>
                <a:solidFill>
                  <a:srgbClr val="009A93"/>
                </a:solid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00000"/>
                    </a:buClr>
                    <a:buSzPts val="2000"/>
                    <a:buFontTx/>
                    <a:buNone/>
                    <a:tabLst/>
                    <a:defRPr/>
                  </a:pPr>
                  <a:endParaRPr kumimoji="0" lang="en-GB" sz="1467" b="1" i="0" u="none" strike="noStrike" kern="0" cap="none" spc="0" normalizeH="0" baseline="0" noProof="0">
                    <a:ln>
                      <a:noFill/>
                    </a:ln>
                    <a:solidFill>
                      <a:srgbClr val="000000"/>
                    </a:solidFill>
                    <a:effectLst/>
                    <a:uLnTx/>
                    <a:uFillTx/>
                    <a:latin typeface="Fund Light" pitchFamily="2" charset="-78"/>
                    <a:ea typeface="Libre Franklin"/>
                    <a:cs typeface="Fund Light" pitchFamily="2" charset="-78"/>
                    <a:sym typeface="Libre Franklin"/>
                  </a:endParaRPr>
                </a:p>
              </p:txBody>
            </p:sp>
            <p:grpSp>
              <p:nvGrpSpPr>
                <p:cNvPr id="1370" name="Google Shape;2325;p9">
                  <a:extLst>
                    <a:ext uri="{FF2B5EF4-FFF2-40B4-BE49-F238E27FC236}">
                      <a16:creationId xmlns:a16="http://schemas.microsoft.com/office/drawing/2014/main" id="{864B7A29-E9C3-0988-6D0C-B7CF29CC1A8E}"/>
                    </a:ext>
                  </a:extLst>
                </p:cNvPr>
                <p:cNvGrpSpPr/>
                <p:nvPr/>
              </p:nvGrpSpPr>
              <p:grpSpPr>
                <a:xfrm>
                  <a:off x="4646915" y="3768997"/>
                  <a:ext cx="271280" cy="459790"/>
                  <a:chOff x="6702563" y="1522409"/>
                  <a:chExt cx="280727" cy="723340"/>
                </a:xfrm>
              </p:grpSpPr>
              <p:sp>
                <p:nvSpPr>
                  <p:cNvPr id="1371" name="Google Shape;2326;p9">
                    <a:extLst>
                      <a:ext uri="{FF2B5EF4-FFF2-40B4-BE49-F238E27FC236}">
                        <a16:creationId xmlns:a16="http://schemas.microsoft.com/office/drawing/2014/main" id="{B49588A2-5676-8E76-A2EE-D62B7515648E}"/>
                      </a:ext>
                    </a:extLst>
                  </p:cNvPr>
                  <p:cNvSpPr/>
                  <p:nvPr/>
                </p:nvSpPr>
                <p:spPr>
                  <a:xfrm rot="5400000">
                    <a:off x="6515854" y="1778305"/>
                    <a:ext cx="723332" cy="211540"/>
                  </a:xfrm>
                  <a:prstGeom prst="triangle">
                    <a:avLst>
                      <a:gd name="adj" fmla="val 50000"/>
                    </a:avLst>
                  </a:prstGeom>
                  <a:solidFill>
                    <a:schemeClr val="accent4"/>
                  </a:solidFill>
                  <a:ln w="57150" cap="flat" cmpd="sng">
                    <a:solidFill>
                      <a:srgbClr val="F2F2F2"/>
                    </a:solidFill>
                    <a:prstDash val="solid"/>
                    <a:round/>
                    <a:headEnd type="none" w="sm" len="sm"/>
                    <a:tailEnd type="none" w="sm" len="sm"/>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00000"/>
                      </a:buClr>
                      <a:buSzPts val="2000"/>
                      <a:buFontTx/>
                      <a:buNone/>
                      <a:tabLst/>
                      <a:defRPr/>
                    </a:pPr>
                    <a:endParaRPr kumimoji="0" lang="en-GB" sz="1467" b="1" i="0" u="none" strike="noStrike" kern="0" cap="none" spc="0" normalizeH="0" baseline="0" noProof="0">
                      <a:ln>
                        <a:noFill/>
                      </a:ln>
                      <a:solidFill>
                        <a:srgbClr val="000000"/>
                      </a:solidFill>
                      <a:effectLst/>
                      <a:uLnTx/>
                      <a:uFillTx/>
                      <a:latin typeface="Fund Light" pitchFamily="2" charset="-78"/>
                      <a:ea typeface="Libre Franklin"/>
                      <a:cs typeface="Fund Light" pitchFamily="2" charset="-78"/>
                      <a:sym typeface="Libre Franklin"/>
                    </a:endParaRPr>
                  </a:p>
                </p:txBody>
              </p:sp>
              <p:sp>
                <p:nvSpPr>
                  <p:cNvPr id="1372" name="Google Shape;2327;p9">
                    <a:extLst>
                      <a:ext uri="{FF2B5EF4-FFF2-40B4-BE49-F238E27FC236}">
                        <a16:creationId xmlns:a16="http://schemas.microsoft.com/office/drawing/2014/main" id="{D5C8EA88-6CB1-2F8C-48F6-255FF514309A}"/>
                      </a:ext>
                    </a:extLst>
                  </p:cNvPr>
                  <p:cNvSpPr/>
                  <p:nvPr/>
                </p:nvSpPr>
                <p:spPr>
                  <a:xfrm rot="5400000">
                    <a:off x="6446667" y="1778314"/>
                    <a:ext cx="723331" cy="211540"/>
                  </a:xfrm>
                  <a:prstGeom prst="triangle">
                    <a:avLst>
                      <a:gd name="adj" fmla="val 50000"/>
                    </a:avLst>
                  </a:prstGeom>
                  <a:solidFill>
                    <a:srgbClr val="F2F2F2"/>
                  </a:solid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00000"/>
                      </a:buClr>
                      <a:buSzPts val="2000"/>
                      <a:buFontTx/>
                      <a:buNone/>
                      <a:tabLst/>
                      <a:defRPr/>
                    </a:pPr>
                    <a:endParaRPr kumimoji="0" lang="en-GB" sz="1467" b="1" i="0" u="none" strike="noStrike" kern="0" cap="none" spc="0" normalizeH="0" baseline="0" noProof="0">
                      <a:ln>
                        <a:noFill/>
                      </a:ln>
                      <a:solidFill>
                        <a:srgbClr val="000000"/>
                      </a:solidFill>
                      <a:effectLst/>
                      <a:uLnTx/>
                      <a:uFillTx/>
                      <a:latin typeface="Fund Light" pitchFamily="2" charset="-78"/>
                      <a:ea typeface="Libre Franklin"/>
                      <a:cs typeface="Fund Light" pitchFamily="2" charset="-78"/>
                      <a:sym typeface="Libre Franklin"/>
                    </a:endParaRPr>
                  </a:p>
                </p:txBody>
              </p:sp>
            </p:grpSp>
          </p:grpSp>
        </p:grpSp>
      </p:grpSp>
      <p:sp>
        <p:nvSpPr>
          <p:cNvPr id="1376" name="Rectangle 1375">
            <a:extLst>
              <a:ext uri="{FF2B5EF4-FFF2-40B4-BE49-F238E27FC236}">
                <a16:creationId xmlns:a16="http://schemas.microsoft.com/office/drawing/2014/main" id="{B2294419-B36E-B6EB-282F-FF30200346F7}"/>
              </a:ext>
            </a:extLst>
          </p:cNvPr>
          <p:cNvSpPr>
            <a:spLocks/>
          </p:cNvSpPr>
          <p:nvPr/>
        </p:nvSpPr>
        <p:spPr>
          <a:xfrm>
            <a:off x="634999" y="3981338"/>
            <a:ext cx="7714877" cy="258763"/>
          </a:xfrm>
          <a:prstGeom prst="rect">
            <a:avLst/>
          </a:prstGeom>
          <a:solidFill>
            <a:schemeClr val="tx2"/>
          </a:solidFill>
          <a:ln w="12700" cap="flat" cmpd="sng" algn="ctr">
            <a:solidFill>
              <a:schemeClr val="tx2"/>
            </a:solidFill>
            <a:prstDash val="solid"/>
            <a:miter lim="800000"/>
          </a:ln>
          <a:effectLst>
            <a:outerShdw blurRad="63500" sx="102000" sy="102000" algn="ctr" rotWithShape="0">
              <a:prstClr val="black">
                <a:alpha val="19709"/>
              </a:prstClr>
            </a:outerShdw>
          </a:effectLst>
        </p:spPr>
        <p:txBody>
          <a:bodyPr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Trebuchet MS"/>
                <a:ea typeface="+mn-ea"/>
                <a:cs typeface="+mn-cs"/>
              </a:rPr>
              <a:t>Rent to Income Ratio </a:t>
            </a:r>
          </a:p>
        </p:txBody>
      </p:sp>
      <p:sp>
        <p:nvSpPr>
          <p:cNvPr id="97" name="Rectangle 96">
            <a:extLst>
              <a:ext uri="{FF2B5EF4-FFF2-40B4-BE49-F238E27FC236}">
                <a16:creationId xmlns:a16="http://schemas.microsoft.com/office/drawing/2014/main" id="{8C399FE1-7CD6-3436-7881-FB00E1242D10}"/>
              </a:ext>
            </a:extLst>
          </p:cNvPr>
          <p:cNvSpPr>
            <a:spLocks/>
          </p:cNvSpPr>
          <p:nvPr/>
        </p:nvSpPr>
        <p:spPr>
          <a:xfrm>
            <a:off x="622299" y="1961621"/>
            <a:ext cx="3765196" cy="1783568"/>
          </a:xfrm>
          <a:prstGeom prst="rect">
            <a:avLst/>
          </a:prstGeom>
          <a:solidFill>
            <a:sysClr val="window" lastClr="FFFFFF">
              <a:lumMod val="95000"/>
            </a:sysClr>
          </a:solidFill>
          <a:ln w="12700" cap="flat" cmpd="sng" algn="ctr">
            <a:solidFill>
              <a:sysClr val="window" lastClr="FFFFFF">
                <a:lumMod val="95000"/>
              </a:sysClr>
            </a:solidFill>
            <a:prstDash val="solid"/>
            <a:miter lim="800000"/>
          </a:ln>
          <a:effectLst>
            <a:outerShdw blurRad="63500" sx="102000" sy="102000" algn="ctr" rotWithShape="0">
              <a:prstClr val="black">
                <a:alpha val="19709"/>
              </a:prstClr>
            </a:outerShdw>
          </a:effectLst>
        </p:spPr>
        <p:txBody>
          <a:bodyPr lIns="91440" tIns="91440" r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4C48"/>
                </a:solidFill>
                <a:effectLst/>
                <a:uLnTx/>
                <a:uFillTx/>
                <a:latin typeface="Trebuchet MS"/>
                <a:ea typeface="+mn-ea"/>
                <a:cs typeface="+mn-cs"/>
              </a:rPr>
              <a:t>Price to income r</a:t>
            </a:r>
            <a:r>
              <a:rPr kumimoji="0" lang="en-GB" sz="1000" b="1" i="0" u="none" strike="noStrike" kern="1200" cap="none" spc="0" normalizeH="0" baseline="0" noProof="0" err="1">
                <a:ln>
                  <a:noFill/>
                </a:ln>
                <a:solidFill>
                  <a:srgbClr val="004C48"/>
                </a:solidFill>
                <a:effectLst/>
                <a:uLnTx/>
                <a:uFillTx/>
                <a:latin typeface="Trebuchet MS"/>
                <a:ea typeface="+mn-ea"/>
                <a:cs typeface="+mn-cs"/>
              </a:rPr>
              <a:t>atio</a:t>
            </a:r>
            <a:r>
              <a:rPr kumimoji="0" lang="en-GB" sz="1000" b="1" i="0" u="none" strike="noStrike" kern="1200" cap="none" spc="0" normalizeH="0" baseline="0" noProof="0">
                <a:ln>
                  <a:noFill/>
                </a:ln>
                <a:solidFill>
                  <a:srgbClr val="004C48"/>
                </a:solidFill>
                <a:effectLst/>
                <a:uLnTx/>
                <a:uFillTx/>
                <a:latin typeface="Trebuchet MS"/>
                <a:ea typeface="+mn-ea"/>
                <a:cs typeface="+mn-cs"/>
              </a:rPr>
              <a:t> (Villa), Riyadh, 2022 to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535353"/>
                </a:solidFill>
                <a:effectLst/>
                <a:uLnTx/>
                <a:uFillTx/>
                <a:latin typeface="Trebuchet MS"/>
                <a:ea typeface="+mn-ea"/>
                <a:cs typeface="+mn-cs"/>
              </a:rPr>
              <a:t>[income multiples; monthly]</a:t>
            </a:r>
          </a:p>
        </p:txBody>
      </p:sp>
      <p:sp>
        <p:nvSpPr>
          <p:cNvPr id="1398" name="Rectangle 1397">
            <a:extLst>
              <a:ext uri="{FF2B5EF4-FFF2-40B4-BE49-F238E27FC236}">
                <a16:creationId xmlns:a16="http://schemas.microsoft.com/office/drawing/2014/main" id="{C96E6595-63EE-8867-B2A0-A023F2744836}"/>
              </a:ext>
            </a:extLst>
          </p:cNvPr>
          <p:cNvSpPr>
            <a:spLocks/>
          </p:cNvSpPr>
          <p:nvPr/>
        </p:nvSpPr>
        <p:spPr>
          <a:xfrm>
            <a:off x="4571980" y="1961621"/>
            <a:ext cx="3765196" cy="1783568"/>
          </a:xfrm>
          <a:prstGeom prst="rect">
            <a:avLst/>
          </a:prstGeom>
          <a:solidFill>
            <a:sysClr val="window" lastClr="FFFFFF">
              <a:lumMod val="95000"/>
            </a:sysClr>
          </a:solidFill>
          <a:ln w="12700" cap="flat" cmpd="sng" algn="ctr">
            <a:solidFill>
              <a:sysClr val="window" lastClr="FFFFFF">
                <a:lumMod val="95000"/>
              </a:sysClr>
            </a:solidFill>
            <a:prstDash val="solid"/>
            <a:miter lim="800000"/>
          </a:ln>
          <a:effectLst>
            <a:outerShdw blurRad="63500" sx="102000" sy="102000" algn="ctr" rotWithShape="0">
              <a:prstClr val="black">
                <a:alpha val="19709"/>
              </a:prstClr>
            </a:outerShdw>
          </a:effectLst>
        </p:spPr>
        <p:txBody>
          <a:bodyPr lIns="91440" tIns="91440" r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4C48"/>
                </a:solidFill>
                <a:effectLst/>
                <a:uLnTx/>
                <a:uFillTx/>
                <a:latin typeface="Trebuchet MS"/>
                <a:ea typeface="+mn-ea"/>
                <a:cs typeface="+mn-cs"/>
              </a:rPr>
              <a:t>Price to income ratio (Apartment), Riyadh, 2022 to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535353"/>
                </a:solidFill>
                <a:effectLst/>
                <a:uLnTx/>
                <a:uFillTx/>
                <a:latin typeface="Trebuchet MS"/>
                <a:ea typeface="+mn-ea"/>
                <a:cs typeface="+mn-cs"/>
              </a:rPr>
              <a:t>[income multiples; monthly]</a:t>
            </a:r>
          </a:p>
        </p:txBody>
      </p:sp>
      <p:grpSp>
        <p:nvGrpSpPr>
          <p:cNvPr id="1400" name="Group 1399">
            <a:extLst>
              <a:ext uri="{FF2B5EF4-FFF2-40B4-BE49-F238E27FC236}">
                <a16:creationId xmlns:a16="http://schemas.microsoft.com/office/drawing/2014/main" id="{78EE54D3-7350-BEE6-9ECB-7AE5C6C8471F}"/>
              </a:ext>
            </a:extLst>
          </p:cNvPr>
          <p:cNvGrpSpPr/>
          <p:nvPr/>
        </p:nvGrpSpPr>
        <p:grpSpPr>
          <a:xfrm>
            <a:off x="622299" y="4347749"/>
            <a:ext cx="7714877" cy="1783568"/>
            <a:chOff x="635000" y="1961621"/>
            <a:chExt cx="7494413" cy="1783568"/>
          </a:xfrm>
        </p:grpSpPr>
        <p:sp>
          <p:nvSpPr>
            <p:cNvPr id="1401" name="Rectangle 1400">
              <a:extLst>
                <a:ext uri="{FF2B5EF4-FFF2-40B4-BE49-F238E27FC236}">
                  <a16:creationId xmlns:a16="http://schemas.microsoft.com/office/drawing/2014/main" id="{D4721083-F578-F257-5D4A-3A4ACBB353C2}"/>
                </a:ext>
              </a:extLst>
            </p:cNvPr>
            <p:cNvSpPr>
              <a:spLocks/>
            </p:cNvSpPr>
            <p:nvPr/>
          </p:nvSpPr>
          <p:spPr>
            <a:xfrm>
              <a:off x="635000" y="1961621"/>
              <a:ext cx="3657600" cy="1783568"/>
            </a:xfrm>
            <a:prstGeom prst="rect">
              <a:avLst/>
            </a:prstGeom>
            <a:solidFill>
              <a:sysClr val="window" lastClr="FFFFFF">
                <a:lumMod val="95000"/>
              </a:sysClr>
            </a:solidFill>
            <a:ln w="12700" cap="flat" cmpd="sng" algn="ctr">
              <a:solidFill>
                <a:sysClr val="window" lastClr="FFFFFF">
                  <a:lumMod val="95000"/>
                </a:sysClr>
              </a:solidFill>
              <a:prstDash val="solid"/>
              <a:miter lim="800000"/>
            </a:ln>
            <a:effectLst>
              <a:outerShdw blurRad="63500" sx="102000" sy="102000" algn="ctr" rotWithShape="0">
                <a:prstClr val="black">
                  <a:alpha val="19709"/>
                </a:prstClr>
              </a:outerShdw>
            </a:effectLst>
          </p:spPr>
          <p:txBody>
            <a:bodyPr lIns="91440" tIns="91440" r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4C48"/>
                  </a:solidFill>
                  <a:effectLst/>
                  <a:uLnTx/>
                  <a:uFillTx/>
                  <a:latin typeface="Trebuchet MS"/>
                  <a:ea typeface="+mn-ea"/>
                  <a:cs typeface="+mn-cs"/>
                </a:rPr>
                <a:t>Rent to income r</a:t>
              </a:r>
              <a:r>
                <a:rPr kumimoji="0" lang="en-GB" sz="1000" b="1" i="0" u="none" strike="noStrike" kern="1200" cap="none" spc="0" normalizeH="0" baseline="0" noProof="0" err="1">
                  <a:ln>
                    <a:noFill/>
                  </a:ln>
                  <a:solidFill>
                    <a:srgbClr val="004C48"/>
                  </a:solidFill>
                  <a:effectLst/>
                  <a:uLnTx/>
                  <a:uFillTx/>
                  <a:latin typeface="Trebuchet MS"/>
                  <a:ea typeface="+mn-ea"/>
                  <a:cs typeface="+mn-cs"/>
                </a:rPr>
                <a:t>atio</a:t>
              </a:r>
              <a:r>
                <a:rPr kumimoji="0" lang="en-GB" sz="1000" b="1" i="0" u="none" strike="noStrike" kern="1200" cap="none" spc="0" normalizeH="0" baseline="0" noProof="0">
                  <a:ln>
                    <a:noFill/>
                  </a:ln>
                  <a:solidFill>
                    <a:srgbClr val="004C48"/>
                  </a:solidFill>
                  <a:effectLst/>
                  <a:uLnTx/>
                  <a:uFillTx/>
                  <a:latin typeface="Trebuchet MS"/>
                  <a:ea typeface="+mn-ea"/>
                  <a:cs typeface="+mn-cs"/>
                </a:rPr>
                <a:t> (Villa), Riyadh, 2022 to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535353"/>
                  </a:solidFill>
                  <a:effectLst/>
                  <a:uLnTx/>
                  <a:uFillTx/>
                  <a:latin typeface="Trebuchet MS"/>
                  <a:ea typeface="+mn-ea"/>
                  <a:cs typeface="+mn-cs"/>
                </a:rPr>
                <a:t>[% of income; monthly]</a:t>
              </a:r>
            </a:p>
          </p:txBody>
        </p:sp>
        <p:sp>
          <p:nvSpPr>
            <p:cNvPr id="1402" name="Rectangle 1401">
              <a:extLst>
                <a:ext uri="{FF2B5EF4-FFF2-40B4-BE49-F238E27FC236}">
                  <a16:creationId xmlns:a16="http://schemas.microsoft.com/office/drawing/2014/main" id="{553AD18A-EA4C-0304-51A7-5054AE218C72}"/>
                </a:ext>
              </a:extLst>
            </p:cNvPr>
            <p:cNvSpPr>
              <a:spLocks/>
            </p:cNvSpPr>
            <p:nvPr/>
          </p:nvSpPr>
          <p:spPr>
            <a:xfrm>
              <a:off x="4471813" y="1961621"/>
              <a:ext cx="3657600" cy="1783568"/>
            </a:xfrm>
            <a:prstGeom prst="rect">
              <a:avLst/>
            </a:prstGeom>
            <a:solidFill>
              <a:sysClr val="window" lastClr="FFFFFF">
                <a:lumMod val="95000"/>
              </a:sysClr>
            </a:solidFill>
            <a:ln w="12700" cap="flat" cmpd="sng" algn="ctr">
              <a:solidFill>
                <a:sysClr val="window" lastClr="FFFFFF">
                  <a:lumMod val="95000"/>
                </a:sysClr>
              </a:solidFill>
              <a:prstDash val="solid"/>
              <a:miter lim="800000"/>
            </a:ln>
            <a:effectLst>
              <a:outerShdw blurRad="63500" sx="102000" sy="102000" algn="ctr" rotWithShape="0">
                <a:prstClr val="black">
                  <a:alpha val="19709"/>
                </a:prstClr>
              </a:outerShdw>
            </a:effectLst>
          </p:spPr>
          <p:txBody>
            <a:bodyPr lIns="91440" tIns="91440" r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4C48"/>
                  </a:solidFill>
                  <a:effectLst/>
                  <a:uLnTx/>
                  <a:uFillTx/>
                  <a:latin typeface="Trebuchet MS"/>
                  <a:ea typeface="+mn-ea"/>
                  <a:cs typeface="+mn-cs"/>
                </a:rPr>
                <a:t>Rent to income r</a:t>
              </a:r>
              <a:r>
                <a:rPr kumimoji="0" lang="en-GB" sz="1000" b="1" i="0" u="none" strike="noStrike" kern="1200" cap="none" spc="0" normalizeH="0" baseline="0" noProof="0" err="1">
                  <a:ln>
                    <a:noFill/>
                  </a:ln>
                  <a:solidFill>
                    <a:srgbClr val="004C48"/>
                  </a:solidFill>
                  <a:effectLst/>
                  <a:uLnTx/>
                  <a:uFillTx/>
                  <a:latin typeface="Trebuchet MS"/>
                  <a:ea typeface="+mn-ea"/>
                  <a:cs typeface="+mn-cs"/>
                </a:rPr>
                <a:t>atio</a:t>
              </a:r>
              <a:r>
                <a:rPr kumimoji="0" lang="en-GB" sz="1000" b="1" i="0" u="none" strike="noStrike" kern="1200" cap="none" spc="0" normalizeH="0" baseline="0" noProof="0">
                  <a:ln>
                    <a:noFill/>
                  </a:ln>
                  <a:solidFill>
                    <a:srgbClr val="004C48"/>
                  </a:solidFill>
                  <a:effectLst/>
                  <a:uLnTx/>
                  <a:uFillTx/>
                  <a:latin typeface="Trebuchet MS"/>
                  <a:ea typeface="+mn-ea"/>
                  <a:cs typeface="+mn-cs"/>
                </a:rPr>
                <a:t> (Apartment), Riyadh, 2022 to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535353"/>
                  </a:solidFill>
                  <a:effectLst/>
                  <a:uLnTx/>
                  <a:uFillTx/>
                  <a:latin typeface="Trebuchet MS"/>
                  <a:ea typeface="+mn-ea"/>
                  <a:cs typeface="+mn-cs"/>
                </a:rPr>
                <a:t>[% of income; monthly]</a:t>
              </a:r>
            </a:p>
          </p:txBody>
        </p:sp>
      </p:grpSp>
      <p:graphicFrame>
        <p:nvGraphicFramePr>
          <p:cNvPr id="44" name="Chart 43">
            <a:extLst>
              <a:ext uri="{FF2B5EF4-FFF2-40B4-BE49-F238E27FC236}">
                <a16:creationId xmlns:a16="http://schemas.microsoft.com/office/drawing/2014/main" id="{FAA78A25-3BB1-2A03-DCD3-15F04E4CEE3A}"/>
              </a:ext>
            </a:extLst>
          </p:cNvPr>
          <p:cNvGraphicFramePr/>
          <p:nvPr>
            <p:custDataLst>
              <p:tags r:id="rId2"/>
            </p:custDataLst>
          </p:nvPr>
        </p:nvGraphicFramePr>
        <p:xfrm>
          <a:off x="768350" y="2427288"/>
          <a:ext cx="3460750" cy="1173162"/>
        </p:xfrm>
        <a:graphic>
          <a:graphicData uri="http://schemas.openxmlformats.org/drawingml/2006/chart">
            <c:chart xmlns:c="http://schemas.openxmlformats.org/drawingml/2006/chart" xmlns:r="http://schemas.openxmlformats.org/officeDocument/2006/relationships" r:id="rId32"/>
          </a:graphicData>
        </a:graphic>
      </p:graphicFrame>
      <p:sp>
        <p:nvSpPr>
          <p:cNvPr id="96" name="Text Placeholder 3">
            <a:extLst>
              <a:ext uri="{FF2B5EF4-FFF2-40B4-BE49-F238E27FC236}">
                <a16:creationId xmlns:a16="http://schemas.microsoft.com/office/drawing/2014/main" id="{5CA19982-8DBD-9505-442A-21A285027BF9}"/>
              </a:ext>
            </a:extLst>
          </p:cNvPr>
          <p:cNvSpPr>
            <a:spLocks noGrp="1"/>
          </p:cNvSpPr>
          <p:nvPr>
            <p:custDataLst>
              <p:tags r:id="rId3"/>
            </p:custDataLst>
          </p:nvPr>
        </p:nvSpPr>
        <p:spPr bwMode="auto">
          <a:xfrm>
            <a:off x="992188" y="34813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7E9D0018-CB10-483B-BD7F-9E27E66260E9}" type="datetime'''''''''''''2''''''''''''02''2''-''''''''''''''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2-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99" name="Text Placeholder 3">
            <a:extLst>
              <a:ext uri="{FF2B5EF4-FFF2-40B4-BE49-F238E27FC236}">
                <a16:creationId xmlns:a16="http://schemas.microsoft.com/office/drawing/2014/main" id="{4AB3FD9B-F848-BC2C-CEEC-41821DE7BFF8}"/>
              </a:ext>
            </a:extLst>
          </p:cNvPr>
          <p:cNvSpPr>
            <a:spLocks noGrp="1"/>
          </p:cNvSpPr>
          <p:nvPr>
            <p:custDataLst>
              <p:tags r:id="rId4"/>
            </p:custDataLst>
          </p:nvPr>
        </p:nvSpPr>
        <p:spPr bwMode="auto">
          <a:xfrm>
            <a:off x="1651000" y="34813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CD0DBEDA-C330-4C87-B339-04F75A4D06DA}" type="datetime'2''''''''0''''''2''''''3''''''''''''-''''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3-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00" name="Text Placeholder 3">
            <a:extLst>
              <a:ext uri="{FF2B5EF4-FFF2-40B4-BE49-F238E27FC236}">
                <a16:creationId xmlns:a16="http://schemas.microsoft.com/office/drawing/2014/main" id="{D3C90EFF-0B15-409E-BBDC-F17C973E9842}"/>
              </a:ext>
            </a:extLst>
          </p:cNvPr>
          <p:cNvSpPr>
            <a:spLocks noGrp="1"/>
          </p:cNvSpPr>
          <p:nvPr>
            <p:custDataLst>
              <p:tags r:id="rId5"/>
            </p:custDataLst>
          </p:nvPr>
        </p:nvSpPr>
        <p:spPr bwMode="auto">
          <a:xfrm>
            <a:off x="2311400" y="34813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1FE24AE0-603E-44AA-9DFA-CE786D7132A4}" type="datetime'''''2''''''''''''''''''''0''2''''4-''''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4-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01" name="Text Placeholder 3">
            <a:extLst>
              <a:ext uri="{FF2B5EF4-FFF2-40B4-BE49-F238E27FC236}">
                <a16:creationId xmlns:a16="http://schemas.microsoft.com/office/drawing/2014/main" id="{5B94A767-09F5-F1ED-28AB-3ECFE43A100D}"/>
              </a:ext>
            </a:extLst>
          </p:cNvPr>
          <p:cNvSpPr>
            <a:spLocks noGrp="1"/>
          </p:cNvSpPr>
          <p:nvPr>
            <p:custDataLst>
              <p:tags r:id="rId6"/>
            </p:custDataLst>
          </p:nvPr>
        </p:nvSpPr>
        <p:spPr bwMode="auto">
          <a:xfrm>
            <a:off x="2970213" y="34813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93C93DFD-462F-4978-A298-31F8F8D9DB36}" type="datetime'''''''2''''0''''''''''''2''''5''''''-''''''''''''''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5-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02" name="Text Placeholder 3">
            <a:extLst>
              <a:ext uri="{FF2B5EF4-FFF2-40B4-BE49-F238E27FC236}">
                <a16:creationId xmlns:a16="http://schemas.microsoft.com/office/drawing/2014/main" id="{4CB49E5B-A34C-AC1E-4617-105A861726B3}"/>
              </a:ext>
            </a:extLst>
          </p:cNvPr>
          <p:cNvSpPr>
            <a:spLocks noGrp="1"/>
          </p:cNvSpPr>
          <p:nvPr>
            <p:custDataLst>
              <p:tags r:id="rId7"/>
            </p:custDataLst>
          </p:nvPr>
        </p:nvSpPr>
        <p:spPr bwMode="auto">
          <a:xfrm>
            <a:off x="3614739" y="3481388"/>
            <a:ext cx="4048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18CB9BAD-DADC-4E5E-8089-5BB705003EA7}" type="datetime'''2''02''''''''5'''''''''' -''''''''''''''0''''''9'''">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5 -09</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graphicFrame>
        <p:nvGraphicFramePr>
          <p:cNvPr id="45" name="Chart 44">
            <a:extLst>
              <a:ext uri="{FF2B5EF4-FFF2-40B4-BE49-F238E27FC236}">
                <a16:creationId xmlns:a16="http://schemas.microsoft.com/office/drawing/2014/main" id="{1F2521A4-46CD-55ED-EAE7-61B0E6437339}"/>
              </a:ext>
            </a:extLst>
          </p:cNvPr>
          <p:cNvGraphicFramePr/>
          <p:nvPr>
            <p:custDataLst>
              <p:tags r:id="rId8"/>
            </p:custDataLst>
          </p:nvPr>
        </p:nvGraphicFramePr>
        <p:xfrm>
          <a:off x="4743450" y="2427288"/>
          <a:ext cx="3359150" cy="1173162"/>
        </p:xfrm>
        <a:graphic>
          <a:graphicData uri="http://schemas.openxmlformats.org/drawingml/2006/chart">
            <c:chart xmlns:c="http://schemas.openxmlformats.org/drawingml/2006/chart" xmlns:r="http://schemas.openxmlformats.org/officeDocument/2006/relationships" r:id="rId33"/>
          </a:graphicData>
        </a:graphic>
      </p:graphicFrame>
      <p:sp>
        <p:nvSpPr>
          <p:cNvPr id="1408" name="Text Placeholder 3">
            <a:extLst>
              <a:ext uri="{FF2B5EF4-FFF2-40B4-BE49-F238E27FC236}">
                <a16:creationId xmlns:a16="http://schemas.microsoft.com/office/drawing/2014/main" id="{6CFFD5DC-EB3B-67B7-E6EC-B1D7A85A1429}"/>
              </a:ext>
            </a:extLst>
          </p:cNvPr>
          <p:cNvSpPr>
            <a:spLocks noGrp="1"/>
          </p:cNvSpPr>
          <p:nvPr>
            <p:custDataLst>
              <p:tags r:id="rId9"/>
            </p:custDataLst>
          </p:nvPr>
        </p:nvSpPr>
        <p:spPr bwMode="auto">
          <a:xfrm>
            <a:off x="4957763" y="34813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42F48236-3B06-42FC-9DAC-0BFE6E0164E3}" type="datetime'2''''0''''''2''''''''''''2''''-''''''''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2-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09" name="Text Placeholder 3">
            <a:extLst>
              <a:ext uri="{FF2B5EF4-FFF2-40B4-BE49-F238E27FC236}">
                <a16:creationId xmlns:a16="http://schemas.microsoft.com/office/drawing/2014/main" id="{201CED58-4EB8-8798-7B68-20147FF9A22A}"/>
              </a:ext>
            </a:extLst>
          </p:cNvPr>
          <p:cNvSpPr>
            <a:spLocks noGrp="1"/>
          </p:cNvSpPr>
          <p:nvPr>
            <p:custDataLst>
              <p:tags r:id="rId10"/>
            </p:custDataLst>
          </p:nvPr>
        </p:nvSpPr>
        <p:spPr bwMode="auto">
          <a:xfrm>
            <a:off x="5595938" y="34813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4D76564A-F625-4B73-AD04-FACF1793A95E}" type="datetime'''2''''''''''0''2''''''''''3''-''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3-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10" name="Text Placeholder 3">
            <a:extLst>
              <a:ext uri="{FF2B5EF4-FFF2-40B4-BE49-F238E27FC236}">
                <a16:creationId xmlns:a16="http://schemas.microsoft.com/office/drawing/2014/main" id="{C300E432-C746-5A6A-FE3B-32CA5B4A0C94}"/>
              </a:ext>
            </a:extLst>
          </p:cNvPr>
          <p:cNvSpPr>
            <a:spLocks noGrp="1"/>
          </p:cNvSpPr>
          <p:nvPr>
            <p:custDataLst>
              <p:tags r:id="rId11"/>
            </p:custDataLst>
          </p:nvPr>
        </p:nvSpPr>
        <p:spPr bwMode="auto">
          <a:xfrm>
            <a:off x="6235700" y="34813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AB77D010-4B34-4CE5-BEA2-F4F8309209E1}" type="datetime'''2''''''''02''''4''''''''-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4-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11" name="Text Placeholder 3">
            <a:extLst>
              <a:ext uri="{FF2B5EF4-FFF2-40B4-BE49-F238E27FC236}">
                <a16:creationId xmlns:a16="http://schemas.microsoft.com/office/drawing/2014/main" id="{E8DF300C-1546-0766-EAA3-4BFED9156332}"/>
              </a:ext>
            </a:extLst>
          </p:cNvPr>
          <p:cNvSpPr>
            <a:spLocks noGrp="1"/>
          </p:cNvSpPr>
          <p:nvPr>
            <p:custDataLst>
              <p:tags r:id="rId12"/>
            </p:custDataLst>
          </p:nvPr>
        </p:nvSpPr>
        <p:spPr bwMode="auto">
          <a:xfrm>
            <a:off x="6873875" y="34813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31486429-A0EB-4330-A5F3-791860F5F823}" type="datetime'''''''''''''''''2''''''''0''2''5-''''''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5-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12" name="Text Placeholder 3">
            <a:extLst>
              <a:ext uri="{FF2B5EF4-FFF2-40B4-BE49-F238E27FC236}">
                <a16:creationId xmlns:a16="http://schemas.microsoft.com/office/drawing/2014/main" id="{1D9AA68D-7CDA-9641-4B02-F7E912DB18D9}"/>
              </a:ext>
            </a:extLst>
          </p:cNvPr>
          <p:cNvSpPr>
            <a:spLocks noGrp="1"/>
          </p:cNvSpPr>
          <p:nvPr>
            <p:custDataLst>
              <p:tags r:id="rId13"/>
            </p:custDataLst>
          </p:nvPr>
        </p:nvSpPr>
        <p:spPr bwMode="auto">
          <a:xfrm>
            <a:off x="7499351" y="3481388"/>
            <a:ext cx="4048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BF74CE8F-57C2-4DD1-8EF0-88EFB8C31208}" type="datetime'''''20''2''5'''''' ''''''''''''''''''-''0''''9'''''">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5 -09</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graphicFrame>
        <p:nvGraphicFramePr>
          <p:cNvPr id="47" name="Chart 46">
            <a:extLst>
              <a:ext uri="{FF2B5EF4-FFF2-40B4-BE49-F238E27FC236}">
                <a16:creationId xmlns:a16="http://schemas.microsoft.com/office/drawing/2014/main" id="{A37BEE0A-A175-0A72-27BC-D51D00CD974B}"/>
              </a:ext>
            </a:extLst>
          </p:cNvPr>
          <p:cNvGraphicFramePr/>
          <p:nvPr>
            <p:custDataLst>
              <p:tags r:id="rId14"/>
            </p:custDataLst>
          </p:nvPr>
        </p:nvGraphicFramePr>
        <p:xfrm>
          <a:off x="4743450" y="4829175"/>
          <a:ext cx="3359150" cy="1171575"/>
        </p:xfrm>
        <a:graphic>
          <a:graphicData uri="http://schemas.openxmlformats.org/drawingml/2006/chart">
            <c:chart xmlns:c="http://schemas.openxmlformats.org/drawingml/2006/chart" xmlns:r="http://schemas.openxmlformats.org/officeDocument/2006/relationships" r:id="rId34"/>
          </a:graphicData>
        </a:graphic>
      </p:graphicFrame>
      <p:sp>
        <p:nvSpPr>
          <p:cNvPr id="1443" name="Text Placeholder 3">
            <a:extLst>
              <a:ext uri="{FF2B5EF4-FFF2-40B4-BE49-F238E27FC236}">
                <a16:creationId xmlns:a16="http://schemas.microsoft.com/office/drawing/2014/main" id="{F6B80BC4-484C-9518-415B-0FE80A495CD7}"/>
              </a:ext>
            </a:extLst>
          </p:cNvPr>
          <p:cNvSpPr>
            <a:spLocks noGrp="1"/>
          </p:cNvSpPr>
          <p:nvPr>
            <p:custDataLst>
              <p:tags r:id="rId15"/>
            </p:custDataLst>
          </p:nvPr>
        </p:nvSpPr>
        <p:spPr bwMode="auto">
          <a:xfrm>
            <a:off x="4957763" y="58816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E5004AD1-48AA-4109-A037-CD1756FF800B}" type="datetime'''2''0''''22''''''-''''''''''''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2-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44" name="Text Placeholder 3">
            <a:extLst>
              <a:ext uri="{FF2B5EF4-FFF2-40B4-BE49-F238E27FC236}">
                <a16:creationId xmlns:a16="http://schemas.microsoft.com/office/drawing/2014/main" id="{3B1F1F20-F9DF-645A-3619-4F2E41825D89}"/>
              </a:ext>
            </a:extLst>
          </p:cNvPr>
          <p:cNvSpPr>
            <a:spLocks noGrp="1"/>
          </p:cNvSpPr>
          <p:nvPr>
            <p:custDataLst>
              <p:tags r:id="rId16"/>
            </p:custDataLst>
          </p:nvPr>
        </p:nvSpPr>
        <p:spPr bwMode="auto">
          <a:xfrm>
            <a:off x="5595938" y="58816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8584CC20-0BB0-4700-BD13-29843B5E7035}" type="datetime'2''02''''3-''''''''''''''''''''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3-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45" name="Text Placeholder 3">
            <a:extLst>
              <a:ext uri="{FF2B5EF4-FFF2-40B4-BE49-F238E27FC236}">
                <a16:creationId xmlns:a16="http://schemas.microsoft.com/office/drawing/2014/main" id="{E09DEB42-71FB-15FA-CD30-BD12CBFF64B6}"/>
              </a:ext>
            </a:extLst>
          </p:cNvPr>
          <p:cNvSpPr>
            <a:spLocks noGrp="1"/>
          </p:cNvSpPr>
          <p:nvPr>
            <p:custDataLst>
              <p:tags r:id="rId17"/>
            </p:custDataLst>
          </p:nvPr>
        </p:nvSpPr>
        <p:spPr bwMode="auto">
          <a:xfrm>
            <a:off x="6235700" y="58816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3D9E59BE-344E-446B-A4E4-87CCDCE3E5AC}" type="datetime'''''2''0''''''2''''''''4''''''''''-''''''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4-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46" name="Text Placeholder 3">
            <a:extLst>
              <a:ext uri="{FF2B5EF4-FFF2-40B4-BE49-F238E27FC236}">
                <a16:creationId xmlns:a16="http://schemas.microsoft.com/office/drawing/2014/main" id="{20471DB7-3C7C-799C-9E84-29FBBD3FEAFC}"/>
              </a:ext>
            </a:extLst>
          </p:cNvPr>
          <p:cNvSpPr>
            <a:spLocks noGrp="1"/>
          </p:cNvSpPr>
          <p:nvPr>
            <p:custDataLst>
              <p:tags r:id="rId18"/>
            </p:custDataLst>
          </p:nvPr>
        </p:nvSpPr>
        <p:spPr bwMode="auto">
          <a:xfrm>
            <a:off x="6873875" y="58816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AAF1B1C3-B0A9-476D-918E-5EDF414BF900}" type="datetime'''''''2025-''''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5-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47" name="Text Placeholder 3">
            <a:extLst>
              <a:ext uri="{FF2B5EF4-FFF2-40B4-BE49-F238E27FC236}">
                <a16:creationId xmlns:a16="http://schemas.microsoft.com/office/drawing/2014/main" id="{DAC1E0D4-4A34-0DFD-038A-2D2F4BE99355}"/>
              </a:ext>
            </a:extLst>
          </p:cNvPr>
          <p:cNvSpPr>
            <a:spLocks noGrp="1"/>
          </p:cNvSpPr>
          <p:nvPr>
            <p:custDataLst>
              <p:tags r:id="rId19"/>
            </p:custDataLst>
          </p:nvPr>
        </p:nvSpPr>
        <p:spPr bwMode="auto">
          <a:xfrm>
            <a:off x="7499351" y="5881688"/>
            <a:ext cx="4048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3331C006-B276-4E12-8E16-9203AE9E1F59}" type="datetime'20''2''''''''''''''5'''' ''''''''''-''0''9'''''''''''''''''">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5 -09</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graphicFrame>
        <p:nvGraphicFramePr>
          <p:cNvPr id="46" name="Chart 45">
            <a:extLst>
              <a:ext uri="{FF2B5EF4-FFF2-40B4-BE49-F238E27FC236}">
                <a16:creationId xmlns:a16="http://schemas.microsoft.com/office/drawing/2014/main" id="{A0051A4C-54B8-F44A-4455-A0488A3605C8}"/>
              </a:ext>
            </a:extLst>
          </p:cNvPr>
          <p:cNvGraphicFramePr/>
          <p:nvPr>
            <p:custDataLst>
              <p:tags r:id="rId20"/>
            </p:custDataLst>
          </p:nvPr>
        </p:nvGraphicFramePr>
        <p:xfrm>
          <a:off x="768350" y="4829175"/>
          <a:ext cx="3460750" cy="1171575"/>
        </p:xfrm>
        <a:graphic>
          <a:graphicData uri="http://schemas.openxmlformats.org/drawingml/2006/chart">
            <c:chart xmlns:c="http://schemas.openxmlformats.org/drawingml/2006/chart" xmlns:r="http://schemas.openxmlformats.org/officeDocument/2006/relationships" r:id="rId35"/>
          </a:graphicData>
        </a:graphic>
      </p:graphicFrame>
      <p:sp>
        <p:nvSpPr>
          <p:cNvPr id="1449" name="Text Placeholder 3">
            <a:extLst>
              <a:ext uri="{FF2B5EF4-FFF2-40B4-BE49-F238E27FC236}">
                <a16:creationId xmlns:a16="http://schemas.microsoft.com/office/drawing/2014/main" id="{54228C9E-BA5F-6B92-995E-D269362597C6}"/>
              </a:ext>
            </a:extLst>
          </p:cNvPr>
          <p:cNvSpPr>
            <a:spLocks noGrp="1"/>
          </p:cNvSpPr>
          <p:nvPr>
            <p:custDataLst>
              <p:tags r:id="rId21"/>
            </p:custDataLst>
          </p:nvPr>
        </p:nvSpPr>
        <p:spPr bwMode="auto">
          <a:xfrm>
            <a:off x="992188" y="58816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CAA9FC1E-3FCD-45F4-BF4D-E68BC575CBCA}" type="datetime'''''2''''''''''''02''''''''''''''''2-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2-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50" name="Text Placeholder 3">
            <a:extLst>
              <a:ext uri="{FF2B5EF4-FFF2-40B4-BE49-F238E27FC236}">
                <a16:creationId xmlns:a16="http://schemas.microsoft.com/office/drawing/2014/main" id="{FE7C1CDD-0EB4-980C-BA55-5F0481C7BB00}"/>
              </a:ext>
            </a:extLst>
          </p:cNvPr>
          <p:cNvSpPr>
            <a:spLocks noGrp="1"/>
          </p:cNvSpPr>
          <p:nvPr>
            <p:custDataLst>
              <p:tags r:id="rId22"/>
            </p:custDataLst>
          </p:nvPr>
        </p:nvSpPr>
        <p:spPr bwMode="auto">
          <a:xfrm>
            <a:off x="1651000" y="58816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0A865A04-44A1-4BAF-BECE-42FE2A40C9E5}" type="datetime'''''''''2''''''0''''2''''''''3''''-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3-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51" name="Text Placeholder 3">
            <a:extLst>
              <a:ext uri="{FF2B5EF4-FFF2-40B4-BE49-F238E27FC236}">
                <a16:creationId xmlns:a16="http://schemas.microsoft.com/office/drawing/2014/main" id="{8B7C244B-212C-2D13-AF01-9588FC86A44C}"/>
              </a:ext>
            </a:extLst>
          </p:cNvPr>
          <p:cNvSpPr>
            <a:spLocks noGrp="1"/>
          </p:cNvSpPr>
          <p:nvPr>
            <p:custDataLst>
              <p:tags r:id="rId23"/>
            </p:custDataLst>
          </p:nvPr>
        </p:nvSpPr>
        <p:spPr bwMode="auto">
          <a:xfrm>
            <a:off x="2311400" y="58816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A6263270-ED1E-40BA-879E-F4998BCC3F87}" type="datetime'''''''''''''''''''''''''''2''''''''''0''''''2''4''''-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4-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52" name="Text Placeholder 3">
            <a:extLst>
              <a:ext uri="{FF2B5EF4-FFF2-40B4-BE49-F238E27FC236}">
                <a16:creationId xmlns:a16="http://schemas.microsoft.com/office/drawing/2014/main" id="{43415B50-7053-BB4A-F7F1-A5988AB13088}"/>
              </a:ext>
            </a:extLst>
          </p:cNvPr>
          <p:cNvSpPr>
            <a:spLocks noGrp="1"/>
          </p:cNvSpPr>
          <p:nvPr>
            <p:custDataLst>
              <p:tags r:id="rId24"/>
            </p:custDataLst>
          </p:nvPr>
        </p:nvSpPr>
        <p:spPr bwMode="auto">
          <a:xfrm>
            <a:off x="2970213" y="5881688"/>
            <a:ext cx="3746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28A6C21D-F9E9-4F4B-A7CB-993347635BCF}" type="datetime'''''''''20''''25''''''''''''''''''''-0''''''''4'''''''''''">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5-04</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453" name="Text Placeholder 3">
            <a:extLst>
              <a:ext uri="{FF2B5EF4-FFF2-40B4-BE49-F238E27FC236}">
                <a16:creationId xmlns:a16="http://schemas.microsoft.com/office/drawing/2014/main" id="{FD80C67E-F3D3-EF43-38EA-CFC6BABBEDFB}"/>
              </a:ext>
            </a:extLst>
          </p:cNvPr>
          <p:cNvSpPr>
            <a:spLocks noGrp="1"/>
          </p:cNvSpPr>
          <p:nvPr>
            <p:custDataLst>
              <p:tags r:id="rId25"/>
            </p:custDataLst>
          </p:nvPr>
        </p:nvSpPr>
        <p:spPr bwMode="auto">
          <a:xfrm>
            <a:off x="3614739" y="5881688"/>
            <a:ext cx="4048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DC652C0E-F7E0-451F-B311-55F6C896C687}" type="datetime'202''''''''''''''5 ''''''''''''''-''''''0''''9'">
              <a:rPr kumimoji="0" lang="en-GB" altLang="en-US" sz="800" b="0" i="0" u="none" strike="noStrike" kern="1200" cap="none" spc="0" normalizeH="0" baseline="0" noProof="0" smtClean="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t>2025 -09</a:t>
            </a:fld>
            <a:endParaRPr kumimoji="0" lang="en-GB" sz="800" b="0" i="0" u="none" strike="noStrike" kern="1200" cap="none" spc="0" normalizeH="0" baseline="0" noProof="0">
              <a:ln>
                <a:noFill/>
              </a:ln>
              <a:solidFill>
                <a:srgbClr val="000000"/>
              </a:solidFill>
              <a:effectLst/>
              <a:uLnTx/>
              <a:uFillTx/>
              <a:latin typeface="Trebuchet MS"/>
              <a:ea typeface="+mn-ea"/>
              <a:cs typeface="Sakkal Majalla" panose="02000000000000000000" pitchFamily="2" charset="-78"/>
              <a:sym typeface="Trebuchet MS" panose="020B0603020202020204" pitchFamily="34" charset="0"/>
            </a:endParaRPr>
          </a:p>
        </p:txBody>
      </p:sp>
      <p:sp>
        <p:nvSpPr>
          <p:cNvPr id="1521" name="Rectangle 1520">
            <a:extLst>
              <a:ext uri="{FF2B5EF4-FFF2-40B4-BE49-F238E27FC236}">
                <a16:creationId xmlns:a16="http://schemas.microsoft.com/office/drawing/2014/main" id="{AEEDD593-42B0-1F3A-22F0-124E009F11C5}"/>
              </a:ext>
            </a:extLst>
          </p:cNvPr>
          <p:cNvSpPr/>
          <p:nvPr/>
        </p:nvSpPr>
        <p:spPr>
          <a:xfrm>
            <a:off x="9033817" y="2286518"/>
            <a:ext cx="2476865" cy="35671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31775" marR="0" lvl="0" indent="-231775"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5247"/>
                </a:solidFill>
                <a:effectLst/>
                <a:uLnTx/>
                <a:uFillTx/>
                <a:latin typeface="Trebuchet MS"/>
                <a:ea typeface="+mn-ea"/>
                <a:cs typeface="+mn-cs"/>
              </a:rPr>
              <a:t>Housing is getting harder to afford, as a result, </a:t>
            </a:r>
            <a:r>
              <a:rPr kumimoji="0" lang="en-US" sz="1100" b="1" i="0" u="none" strike="noStrike" kern="1200" cap="none" spc="0" normalizeH="0" baseline="0" noProof="0">
                <a:ln>
                  <a:noFill/>
                </a:ln>
                <a:solidFill>
                  <a:srgbClr val="005247"/>
                </a:solidFill>
                <a:effectLst/>
                <a:uLnTx/>
                <a:uFillTx/>
                <a:latin typeface="Trebuchet MS"/>
                <a:ea typeface="+mn-ea"/>
                <a:cs typeface="+mn-cs"/>
              </a:rPr>
              <a:t>more people are choosing to rent instead of buy</a:t>
            </a:r>
          </a:p>
          <a:p>
            <a:pPr marL="231775" marR="0" lvl="0" indent="-231775"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5247"/>
                </a:solidFill>
                <a:effectLst/>
                <a:uLnTx/>
                <a:uFillTx/>
                <a:latin typeface="Trebuchet MS"/>
                <a:ea typeface="+mn-ea"/>
                <a:cs typeface="+mn-cs"/>
              </a:rPr>
              <a:t>While home-buying conditions have stopped getting worse, the pressure has shifted to the </a:t>
            </a:r>
            <a:r>
              <a:rPr kumimoji="0" lang="en-US" sz="1100" b="1" i="0" u="none" strike="noStrike" kern="1200" cap="none" spc="0" normalizeH="0" baseline="0" noProof="0">
                <a:ln>
                  <a:noFill/>
                </a:ln>
                <a:solidFill>
                  <a:srgbClr val="005247"/>
                </a:solidFill>
                <a:effectLst/>
                <a:uLnTx/>
                <a:uFillTx/>
                <a:latin typeface="Trebuchet MS"/>
                <a:ea typeface="+mn-ea"/>
                <a:cs typeface="+mn-cs"/>
              </a:rPr>
              <a:t>rental market</a:t>
            </a:r>
            <a:r>
              <a:rPr kumimoji="0" lang="en-US" sz="1100" b="0" i="0" u="none" strike="noStrike" kern="1200" cap="none" spc="0" normalizeH="0" baseline="0" noProof="0">
                <a:ln>
                  <a:noFill/>
                </a:ln>
                <a:solidFill>
                  <a:srgbClr val="005247"/>
                </a:solidFill>
                <a:effectLst/>
                <a:uLnTx/>
                <a:uFillTx/>
                <a:latin typeface="Trebuchet MS"/>
                <a:ea typeface="+mn-ea"/>
                <a:cs typeface="+mn-cs"/>
              </a:rPr>
              <a:t>, where demand and costs are now becoming increasingly high</a:t>
            </a:r>
          </a:p>
        </p:txBody>
      </p:sp>
      <p:sp>
        <p:nvSpPr>
          <p:cNvPr id="7" name="Rectangle 6">
            <a:extLst>
              <a:ext uri="{FF2B5EF4-FFF2-40B4-BE49-F238E27FC236}">
                <a16:creationId xmlns:a16="http://schemas.microsoft.com/office/drawing/2014/main" id="{0BFBF859-3D6F-DA7C-D2EB-989017303B41}"/>
              </a:ext>
            </a:extLst>
          </p:cNvPr>
          <p:cNvSpPr/>
          <p:nvPr/>
        </p:nvSpPr>
        <p:spPr>
          <a:xfrm>
            <a:off x="0" y="0"/>
            <a:ext cx="12192000" cy="494748"/>
          </a:xfrm>
          <a:prstGeom prst="rect">
            <a:avLst/>
          </a:prstGeom>
          <a:gradFill>
            <a:gsLst>
              <a:gs pos="6322">
                <a:schemeClr val="accent2"/>
              </a:gs>
              <a:gs pos="62000">
                <a:schemeClr val="bg2">
                  <a:lumMod val="50000"/>
                  <a:alpha val="57000"/>
                </a:schemeClr>
              </a:gs>
              <a:gs pos="100000">
                <a:schemeClr val="bg1">
                  <a:alpha val="0"/>
                </a:schemeClr>
              </a:gs>
            </a:gsLst>
            <a:lin ang="0" scaled="1"/>
          </a:gra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274320" tIns="91440" rIns="182880" bIns="91440" numCol="1" spcCol="0" rtlCol="0" fromWordArt="0" anchor="ctr" anchorCtr="0" forceAA="0" compatLnSpc="1">
            <a:prstTxWarp prst="textNoShape">
              <a:avLst/>
            </a:prstTxWarp>
            <a:noAutofit/>
          </a:bodyPr>
          <a:lstStyle/>
          <a:p>
            <a:pPr algn="l">
              <a:buClr>
                <a:srgbClr val="006C67"/>
              </a:buClr>
            </a:pPr>
            <a:r>
              <a:rPr lang="en-GB" sz="1400" b="1" dirty="0">
                <a:solidFill>
                  <a:schemeClr val="bg1"/>
                </a:solidFill>
              </a:rPr>
              <a:t>                 </a:t>
            </a:r>
            <a:r>
              <a:rPr lang="en-GB" sz="1400" b="1" dirty="0" err="1">
                <a:solidFill>
                  <a:schemeClr val="bg1"/>
                </a:solidFill>
              </a:rPr>
              <a:t>MoMAH</a:t>
            </a:r>
            <a:r>
              <a:rPr lang="en-GB" sz="1400" b="1" dirty="0">
                <a:solidFill>
                  <a:schemeClr val="bg1"/>
                </a:solidFill>
              </a:rPr>
              <a:t> - Decision Support System</a:t>
            </a:r>
          </a:p>
        </p:txBody>
      </p:sp>
      <p:pic>
        <p:nvPicPr>
          <p:cNvPr id="8" name="Graphic 7">
            <a:extLst>
              <a:ext uri="{FF2B5EF4-FFF2-40B4-BE49-F238E27FC236}">
                <a16:creationId xmlns:a16="http://schemas.microsoft.com/office/drawing/2014/main" id="{0E4FFD9B-A73E-D7E6-7189-5F6C1D1C85B7}"/>
              </a:ext>
            </a:extLst>
          </p:cNvPr>
          <p:cNvPicPr>
            <a:picLocks noChangeAspect="1"/>
          </p:cNvPicPr>
          <p:nvPr>
            <p:custDataLst>
              <p:tags r:id="rId26"/>
            </p:custDataLst>
          </p:nvPr>
        </p:nvPicPr>
        <p:blipFill>
          <a:blip r:embed="rId36">
            <a:extLst>
              <a:ext uri="{96DAC541-7B7A-43D3-8B79-37D633B846F1}">
                <asvg:svgBlip xmlns:asvg="http://schemas.microsoft.com/office/drawing/2016/SVG/main" r:embed="rId37"/>
              </a:ext>
            </a:extLst>
          </a:blip>
          <a:stretch>
            <a:fillRect/>
          </a:stretch>
        </p:blipFill>
        <p:spPr>
          <a:xfrm>
            <a:off x="99121" y="53075"/>
            <a:ext cx="389863" cy="389863"/>
          </a:xfrm>
          <a:prstGeom prst="rect">
            <a:avLst/>
          </a:prstGeom>
        </p:spPr>
      </p:pic>
      <p:pic>
        <p:nvPicPr>
          <p:cNvPr id="9" name="Graphic 8">
            <a:hlinkClick r:id="rId38" action="ppaction://hlinksldjump"/>
            <a:extLst>
              <a:ext uri="{FF2B5EF4-FFF2-40B4-BE49-F238E27FC236}">
                <a16:creationId xmlns:a16="http://schemas.microsoft.com/office/drawing/2014/main" id="{058E0A36-0483-3F47-B072-423E5E661E76}"/>
              </a:ext>
            </a:extLst>
          </p:cNvPr>
          <p:cNvPicPr>
            <a:picLocks noChangeAspect="1"/>
          </p:cNvPicPr>
          <p:nvPr>
            <p:custDataLst>
              <p:tags r:id="rId27"/>
            </p:custDataLst>
          </p:nvPr>
        </p:nvPicPr>
        <p:blipFill>
          <a:blip r:embed="rId39">
            <a:extLst>
              <a:ext uri="{96DAC541-7B7A-43D3-8B79-37D633B846F1}">
                <asvg:svgBlip xmlns:asvg="http://schemas.microsoft.com/office/drawing/2016/SVG/main" r:embed="rId40"/>
              </a:ext>
            </a:extLst>
          </a:blip>
          <a:stretch>
            <a:fillRect/>
          </a:stretch>
        </p:blipFill>
        <p:spPr>
          <a:xfrm>
            <a:off x="583217" y="38405"/>
            <a:ext cx="426129" cy="426129"/>
          </a:xfrm>
          <a:prstGeom prst="rect">
            <a:avLst/>
          </a:prstGeom>
        </p:spPr>
      </p:pic>
    </p:spTree>
    <p:extLst>
      <p:ext uri="{BB962C8B-B14F-4D97-AF65-F5344CB8AC3E}">
        <p14:creationId xmlns:p14="http://schemas.microsoft.com/office/powerpoint/2010/main" val="436541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03EFAD-A41F-93C7-6054-F6FEDEF7915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178178-886B-BF18-C6A7-5BA98F2DA3DA}"/>
              </a:ext>
            </a:extLst>
          </p:cNvPr>
          <p:cNvGraphicFramePr>
            <a:graphicFrameLocks noChangeAspect="1"/>
          </p:cNvGraphicFramePr>
          <p:nvPr>
            <p:custDataLst>
              <p:tags r:id="rId1"/>
            </p:custDataLst>
            <p:extLst>
              <p:ext uri="{D42A27DB-BD31-4B8C-83A1-F6EECF244321}">
                <p14:modId xmlns:p14="http://schemas.microsoft.com/office/powerpoint/2010/main" val="3005778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3" name="think-cell data - do not delete" hidden="1">
                        <a:extLst>
                          <a:ext uri="{FF2B5EF4-FFF2-40B4-BE49-F238E27FC236}">
                            <a16:creationId xmlns:a16="http://schemas.microsoft.com/office/drawing/2014/main" id="{E01B682B-0CC5-2A0B-8836-C71B11E7B9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1" name="Rectangle 110">
            <a:extLst>
              <a:ext uri="{FF2B5EF4-FFF2-40B4-BE49-F238E27FC236}">
                <a16:creationId xmlns:a16="http://schemas.microsoft.com/office/drawing/2014/main" id="{E12EDD5B-0092-9B5F-8CF7-2C4B8B72F34B}"/>
              </a:ext>
            </a:extLst>
          </p:cNvPr>
          <p:cNvSpPr>
            <a:spLocks/>
          </p:cNvSpPr>
          <p:nvPr/>
        </p:nvSpPr>
        <p:spPr>
          <a:xfrm>
            <a:off x="560536" y="1869650"/>
            <a:ext cx="2505134"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1" i="0" u="none" strike="noStrike" kern="1200" cap="none" spc="0" normalizeH="0" baseline="0" noProof="0">
                <a:ln>
                  <a:noFill/>
                </a:ln>
                <a:solidFill>
                  <a:srgbClr val="000000"/>
                </a:solidFill>
                <a:effectLst/>
                <a:uLnTx/>
                <a:uFillTx/>
                <a:latin typeface="Trebuchet MS"/>
                <a:ea typeface="+mn-ea"/>
                <a:cs typeface="+mn-cs"/>
              </a:rPr>
              <a:t>White Land Fee</a:t>
            </a:r>
          </a:p>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Raises the cost of holding idle serviced land to push land into sale or development.</a:t>
            </a:r>
          </a:p>
        </p:txBody>
      </p:sp>
      <p:sp>
        <p:nvSpPr>
          <p:cNvPr id="112" name="Rectangle 111">
            <a:extLst>
              <a:ext uri="{FF2B5EF4-FFF2-40B4-BE49-F238E27FC236}">
                <a16:creationId xmlns:a16="http://schemas.microsoft.com/office/drawing/2014/main" id="{699DC9CC-0210-93B4-9D87-C00A8B0A9A4C}"/>
              </a:ext>
            </a:extLst>
          </p:cNvPr>
          <p:cNvSpPr/>
          <p:nvPr/>
        </p:nvSpPr>
        <p:spPr>
          <a:xfrm>
            <a:off x="560536" y="2699659"/>
            <a:ext cx="2505134"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1" i="0" u="none" strike="noStrike" kern="1200" cap="none" spc="0" normalizeH="0" baseline="0" noProof="0">
                <a:ln>
                  <a:noFill/>
                </a:ln>
                <a:solidFill>
                  <a:srgbClr val="000000"/>
                </a:solidFill>
                <a:effectLst/>
                <a:uLnTx/>
                <a:uFillTx/>
                <a:latin typeface="Trebuchet MS"/>
                <a:ea typeface="+mn-ea"/>
                <a:cs typeface="+mn-cs"/>
              </a:rPr>
              <a:t>Vacant Real Estate Tax</a:t>
            </a:r>
            <a:endParaRPr kumimoji="0" lang="en-US" sz="1000" b="0" i="0" u="none" strike="noStrike" kern="1200" cap="none" spc="0" normalizeH="0" baseline="0" noProof="0">
              <a:ln>
                <a:noFill/>
              </a:ln>
              <a:solidFill>
                <a:srgbClr val="000000"/>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Increases the cost of keeping completed units vacant, </a:t>
            </a:r>
            <a:r>
              <a:rPr kumimoji="0" lang="en-US" sz="1000" b="0" i="0" u="none" strike="noStrike" kern="1200" cap="none" spc="0" normalizeH="0" baseline="0" noProof="0" err="1">
                <a:ln>
                  <a:noFill/>
                </a:ln>
                <a:solidFill>
                  <a:srgbClr val="000000"/>
                </a:solidFill>
                <a:effectLst/>
                <a:uLnTx/>
                <a:uFillTx/>
                <a:latin typeface="Trebuchet MS"/>
                <a:ea typeface="+mn-ea"/>
                <a:cs typeface="+mn-cs"/>
              </a:rPr>
              <a:t>incentivising</a:t>
            </a:r>
            <a:r>
              <a:rPr kumimoji="0" lang="en-US" sz="1000" b="0" i="0" u="none" strike="noStrike" kern="1200" cap="none" spc="0" normalizeH="0" baseline="0" noProof="0">
                <a:ln>
                  <a:noFill/>
                </a:ln>
                <a:solidFill>
                  <a:srgbClr val="000000"/>
                </a:solidFill>
                <a:effectLst/>
                <a:uLnTx/>
                <a:uFillTx/>
                <a:latin typeface="Trebuchet MS"/>
                <a:ea typeface="+mn-ea"/>
                <a:cs typeface="+mn-cs"/>
              </a:rPr>
              <a:t> owners to rent or sell so stock returns to active use.</a:t>
            </a: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13" name="Rectangle 112">
            <a:extLst>
              <a:ext uri="{FF2B5EF4-FFF2-40B4-BE49-F238E27FC236}">
                <a16:creationId xmlns:a16="http://schemas.microsoft.com/office/drawing/2014/main" id="{FB799617-FAED-59AC-C3AE-FBEC405870F3}"/>
              </a:ext>
            </a:extLst>
          </p:cNvPr>
          <p:cNvSpPr/>
          <p:nvPr/>
        </p:nvSpPr>
        <p:spPr>
          <a:xfrm>
            <a:off x="560536" y="3529667"/>
            <a:ext cx="2505134"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1" i="0" u="none" strike="noStrike" kern="1200" cap="none" spc="0" normalizeH="0" baseline="0" noProof="0">
                <a:ln>
                  <a:noFill/>
                </a:ln>
                <a:solidFill>
                  <a:srgbClr val="000000"/>
                </a:solidFill>
                <a:effectLst/>
                <a:uLnTx/>
                <a:uFillTx/>
                <a:latin typeface="Trebuchet MS"/>
                <a:ea typeface="+mn-ea"/>
                <a:cs typeface="+mn-cs"/>
              </a:rPr>
              <a:t>Lifting land and planning restrictions</a:t>
            </a:r>
            <a:r>
              <a:rPr kumimoji="0" lang="en-US" sz="1000" b="0" i="0" u="none" strike="noStrike" kern="1200" cap="none" spc="0" normalizeH="0" baseline="0" noProof="0">
                <a:ln>
                  <a:noFill/>
                </a:ln>
                <a:solidFill>
                  <a:srgbClr val="000000"/>
                </a:solidFill>
                <a:effectLst/>
                <a:uLnTx/>
                <a:uFillTx/>
                <a:latin typeface="Trebuchet MS"/>
                <a:ea typeface="+mn-ea"/>
                <a:cs typeface="+mn-cs"/>
              </a:rPr>
              <a:t>: </a:t>
            </a:r>
          </a:p>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Removes regulatory bottlenecks to increase land available for development and supply.</a:t>
            </a:r>
          </a:p>
        </p:txBody>
      </p:sp>
      <p:sp>
        <p:nvSpPr>
          <p:cNvPr id="114" name="Rectangle 113">
            <a:extLst>
              <a:ext uri="{FF2B5EF4-FFF2-40B4-BE49-F238E27FC236}">
                <a16:creationId xmlns:a16="http://schemas.microsoft.com/office/drawing/2014/main" id="{AA63AAA3-9517-A734-5BF0-468C744C2C21}"/>
              </a:ext>
            </a:extLst>
          </p:cNvPr>
          <p:cNvSpPr/>
          <p:nvPr/>
        </p:nvSpPr>
        <p:spPr>
          <a:xfrm>
            <a:off x="560536" y="4429716"/>
            <a:ext cx="2505134" cy="763920"/>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1" i="0" u="none" strike="noStrike" kern="1200" cap="none" spc="0" normalizeH="0" baseline="0" noProof="0">
                <a:ln>
                  <a:noFill/>
                </a:ln>
                <a:solidFill>
                  <a:srgbClr val="000000"/>
                </a:solidFill>
                <a:effectLst/>
                <a:uLnTx/>
                <a:uFillTx/>
                <a:latin typeface="Trebuchet MS"/>
                <a:ea typeface="+mn-ea"/>
                <a:cs typeface="+mn-cs"/>
              </a:rPr>
              <a:t>Foreign ownership reform:</a:t>
            </a:r>
          </a:p>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Expands eligible zones and asset types for foreign buyers, increasing demand and investment.</a:t>
            </a: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15" name="Rectangle 114">
            <a:extLst>
              <a:ext uri="{FF2B5EF4-FFF2-40B4-BE49-F238E27FC236}">
                <a16:creationId xmlns:a16="http://schemas.microsoft.com/office/drawing/2014/main" id="{EDBB103E-3F0A-63D6-2CB8-ECF52DE89E6E}"/>
              </a:ext>
            </a:extLst>
          </p:cNvPr>
          <p:cNvSpPr/>
          <p:nvPr/>
        </p:nvSpPr>
        <p:spPr>
          <a:xfrm>
            <a:off x="560536" y="5259726"/>
            <a:ext cx="2505134" cy="763920"/>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1" i="0" u="none" strike="noStrike" kern="1200" cap="none" spc="0" normalizeH="0" baseline="0" noProof="0">
                <a:ln>
                  <a:noFill/>
                </a:ln>
                <a:solidFill>
                  <a:srgbClr val="000000"/>
                </a:solidFill>
                <a:effectLst/>
                <a:uLnTx/>
                <a:uFillTx/>
                <a:latin typeface="Trebuchet MS"/>
                <a:ea typeface="+mn-ea"/>
                <a:cs typeface="+mn-cs"/>
              </a:rPr>
              <a:t>Rent caps and landlord-tenant framework: </a:t>
            </a:r>
          </a:p>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Limits rent increases on renewals to protect existing tenants and improve market stability.</a:t>
            </a: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16" name="Graphic 3">
            <a:extLst>
              <a:ext uri="{FF2B5EF4-FFF2-40B4-BE49-F238E27FC236}">
                <a16:creationId xmlns:a16="http://schemas.microsoft.com/office/drawing/2014/main" id="{4DCC47E6-52D0-9A26-7F1B-EADA98F711BE}"/>
              </a:ext>
            </a:extLst>
          </p:cNvPr>
          <p:cNvSpPr/>
          <p:nvPr/>
        </p:nvSpPr>
        <p:spPr>
          <a:xfrm rot="16200000">
            <a:off x="-907459" y="2918675"/>
            <a:ext cx="2423938" cy="325886"/>
          </a:xfrm>
          <a:prstGeom prst="roundRect">
            <a:avLst>
              <a:gd name="adj" fmla="val 6274"/>
            </a:avLst>
          </a:prstGeom>
          <a:solidFill>
            <a:schemeClr val="accent1"/>
          </a:solidFill>
          <a:ln w="0" cap="flat">
            <a:noFill/>
            <a:prstDash val="solid"/>
            <a:miter/>
          </a:ln>
        </p:spPr>
        <p:txBody>
          <a:bodyPr lIns="182880" tIns="0" r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white"/>
                </a:solidFill>
                <a:effectLst/>
                <a:uLnTx/>
                <a:uFillTx/>
                <a:latin typeface="Trebuchet MS"/>
                <a:ea typeface="+mn-ea"/>
                <a:cs typeface="Arial"/>
                <a:sym typeface="Arial"/>
              </a:rPr>
              <a:t>Supply levers</a:t>
            </a:r>
          </a:p>
        </p:txBody>
      </p:sp>
      <p:sp>
        <p:nvSpPr>
          <p:cNvPr id="117" name="Graphic 3">
            <a:extLst>
              <a:ext uri="{FF2B5EF4-FFF2-40B4-BE49-F238E27FC236}">
                <a16:creationId xmlns:a16="http://schemas.microsoft.com/office/drawing/2014/main" id="{F4766C1F-91C7-9CA9-A166-BAB60FF29C4F}"/>
              </a:ext>
            </a:extLst>
          </p:cNvPr>
          <p:cNvSpPr/>
          <p:nvPr/>
        </p:nvSpPr>
        <p:spPr>
          <a:xfrm rot="16200000">
            <a:off x="-492459" y="5063740"/>
            <a:ext cx="1593929" cy="325884"/>
          </a:xfrm>
          <a:prstGeom prst="roundRect">
            <a:avLst>
              <a:gd name="adj" fmla="val 6274"/>
            </a:avLst>
          </a:prstGeom>
          <a:solidFill>
            <a:schemeClr val="accent1"/>
          </a:solidFill>
          <a:ln w="0" cap="flat">
            <a:noFill/>
            <a:prstDash val="solid"/>
            <a:miter/>
          </a:ln>
        </p:spPr>
        <p:txBody>
          <a:bodyPr lIns="182880" tIns="0" r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white"/>
                </a:solidFill>
                <a:effectLst/>
                <a:uLnTx/>
                <a:uFillTx/>
                <a:latin typeface="Trebuchet MS"/>
                <a:ea typeface="+mn-ea"/>
                <a:cs typeface="Arial"/>
                <a:sym typeface="Arial"/>
              </a:rPr>
              <a:t>Demand levers</a:t>
            </a:r>
          </a:p>
        </p:txBody>
      </p:sp>
      <p:cxnSp>
        <p:nvCxnSpPr>
          <p:cNvPr id="118" name="Straight Connector 117">
            <a:extLst>
              <a:ext uri="{FF2B5EF4-FFF2-40B4-BE49-F238E27FC236}">
                <a16:creationId xmlns:a16="http://schemas.microsoft.com/office/drawing/2014/main" id="{AD6D08AB-6588-4050-60DA-66229477E5BD}"/>
              </a:ext>
            </a:extLst>
          </p:cNvPr>
          <p:cNvCxnSpPr/>
          <p:nvPr/>
        </p:nvCxnSpPr>
        <p:spPr>
          <a:xfrm>
            <a:off x="121681" y="4364034"/>
            <a:ext cx="11612880" cy="0"/>
          </a:xfrm>
          <a:prstGeom prst="line">
            <a:avLst/>
          </a:prstGeom>
          <a:ln w="12700" cap="rnd">
            <a:solidFill>
              <a:schemeClr val="accent1"/>
            </a:solidFill>
            <a:prstDash val="sysDash"/>
            <a:round/>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E98EB8CA-BC01-68E6-B4D7-2C467810CC04}"/>
              </a:ext>
            </a:extLst>
          </p:cNvPr>
          <p:cNvSpPr>
            <a:spLocks/>
          </p:cNvSpPr>
          <p:nvPr/>
        </p:nvSpPr>
        <p:spPr>
          <a:xfrm>
            <a:off x="3178096" y="1837822"/>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17780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Changes owner </a:t>
            </a:r>
            <a:r>
              <a:rPr kumimoji="0" lang="en-US" sz="1000" b="0" i="0" u="none" strike="noStrike" kern="1200" cap="none" spc="0" normalizeH="0" baseline="0" noProof="0" err="1">
                <a:ln>
                  <a:noFill/>
                </a:ln>
                <a:solidFill>
                  <a:srgbClr val="000000"/>
                </a:solidFill>
                <a:effectLst/>
                <a:uLnTx/>
                <a:uFillTx/>
                <a:latin typeface="Trebuchet MS"/>
                <a:ea typeface="+mn-ea"/>
                <a:cs typeface="+mn-cs"/>
              </a:rPr>
              <a:t>behaviour</a:t>
            </a:r>
            <a:r>
              <a:rPr kumimoji="0" lang="en-US" sz="1000" b="0" i="0" u="none" strike="noStrike" kern="1200" cap="none" spc="0" normalizeH="0" baseline="0" noProof="0">
                <a:ln>
                  <a:noFill/>
                </a:ln>
                <a:solidFill>
                  <a:srgbClr val="000000"/>
                </a:solidFill>
                <a:effectLst/>
                <a:uLnTx/>
                <a:uFillTx/>
                <a:latin typeface="Trebuchet MS"/>
                <a:ea typeface="+mn-ea"/>
                <a:cs typeface="+mn-cs"/>
              </a:rPr>
              <a:t> rather than household demand</a:t>
            </a:r>
          </a:p>
        </p:txBody>
      </p:sp>
      <p:sp>
        <p:nvSpPr>
          <p:cNvPr id="120" name="Rectangle 119">
            <a:extLst>
              <a:ext uri="{FF2B5EF4-FFF2-40B4-BE49-F238E27FC236}">
                <a16:creationId xmlns:a16="http://schemas.microsoft.com/office/drawing/2014/main" id="{5B279C21-84D8-FC3A-70CF-CB2C750B3BD4}"/>
              </a:ext>
            </a:extLst>
          </p:cNvPr>
          <p:cNvSpPr>
            <a:spLocks/>
          </p:cNvSpPr>
          <p:nvPr/>
        </p:nvSpPr>
        <p:spPr>
          <a:xfrm>
            <a:off x="5551631" y="1833940"/>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174625"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More land plots move into development over time</a:t>
            </a:r>
          </a:p>
        </p:txBody>
      </p:sp>
      <p:sp>
        <p:nvSpPr>
          <p:cNvPr id="121" name="Rectangle 120">
            <a:extLst>
              <a:ext uri="{FF2B5EF4-FFF2-40B4-BE49-F238E27FC236}">
                <a16:creationId xmlns:a16="http://schemas.microsoft.com/office/drawing/2014/main" id="{0DC93969-5C66-0976-70A5-3D5708AA438C}"/>
              </a:ext>
            </a:extLst>
          </p:cNvPr>
          <p:cNvSpPr>
            <a:spLocks/>
          </p:cNvSpPr>
          <p:nvPr/>
        </p:nvSpPr>
        <p:spPr>
          <a:xfrm>
            <a:off x="7941353" y="1838599"/>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231775"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over time) Higher completions ease price/rent pressure</a:t>
            </a:r>
          </a:p>
        </p:txBody>
      </p:sp>
      <p:sp>
        <p:nvSpPr>
          <p:cNvPr id="122" name="Rectangle 121">
            <a:extLst>
              <a:ext uri="{FF2B5EF4-FFF2-40B4-BE49-F238E27FC236}">
                <a16:creationId xmlns:a16="http://schemas.microsoft.com/office/drawing/2014/main" id="{BFA898B8-6358-9AEA-6BF3-6E54480771F3}"/>
              </a:ext>
            </a:extLst>
          </p:cNvPr>
          <p:cNvSpPr>
            <a:spLocks/>
          </p:cNvSpPr>
          <p:nvPr/>
        </p:nvSpPr>
        <p:spPr>
          <a:xfrm>
            <a:off x="3178096" y="2657572"/>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17780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Doesn’t change housing need; brings stock back into use</a:t>
            </a:r>
          </a:p>
        </p:txBody>
      </p:sp>
      <p:sp>
        <p:nvSpPr>
          <p:cNvPr id="123" name="Rectangle 122">
            <a:extLst>
              <a:ext uri="{FF2B5EF4-FFF2-40B4-BE49-F238E27FC236}">
                <a16:creationId xmlns:a16="http://schemas.microsoft.com/office/drawing/2014/main" id="{5A8D43B7-8EF2-A508-C964-CFBA705DE8BB}"/>
              </a:ext>
            </a:extLst>
          </p:cNvPr>
          <p:cNvSpPr>
            <a:spLocks/>
          </p:cNvSpPr>
          <p:nvPr/>
        </p:nvSpPr>
        <p:spPr>
          <a:xfrm>
            <a:off x="5551631" y="2653690"/>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174625"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More existing homes return to rent/sale market</a:t>
            </a:r>
          </a:p>
        </p:txBody>
      </p:sp>
      <p:sp>
        <p:nvSpPr>
          <p:cNvPr id="124" name="Rectangle 123">
            <a:extLst>
              <a:ext uri="{FF2B5EF4-FFF2-40B4-BE49-F238E27FC236}">
                <a16:creationId xmlns:a16="http://schemas.microsoft.com/office/drawing/2014/main" id="{551CEDB4-082A-265E-9FBC-6D040FE73338}"/>
              </a:ext>
            </a:extLst>
          </p:cNvPr>
          <p:cNvSpPr>
            <a:spLocks/>
          </p:cNvSpPr>
          <p:nvPr/>
        </p:nvSpPr>
        <p:spPr>
          <a:xfrm>
            <a:off x="7941353" y="2658349"/>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231775"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Higher availability reduces upward price pressure</a:t>
            </a:r>
          </a:p>
        </p:txBody>
      </p:sp>
      <p:sp>
        <p:nvSpPr>
          <p:cNvPr id="125" name="Rectangle 124">
            <a:extLst>
              <a:ext uri="{FF2B5EF4-FFF2-40B4-BE49-F238E27FC236}">
                <a16:creationId xmlns:a16="http://schemas.microsoft.com/office/drawing/2014/main" id="{DC19ADCB-1EA7-7FC5-ADE9-31D43A2F10CD}"/>
              </a:ext>
            </a:extLst>
          </p:cNvPr>
          <p:cNvSpPr>
            <a:spLocks/>
          </p:cNvSpPr>
          <p:nvPr/>
        </p:nvSpPr>
        <p:spPr>
          <a:xfrm>
            <a:off x="3178096" y="3514582"/>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17780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Doesn’t change housing need</a:t>
            </a:r>
          </a:p>
        </p:txBody>
      </p:sp>
      <p:sp>
        <p:nvSpPr>
          <p:cNvPr id="126" name="Rectangle 125">
            <a:extLst>
              <a:ext uri="{FF2B5EF4-FFF2-40B4-BE49-F238E27FC236}">
                <a16:creationId xmlns:a16="http://schemas.microsoft.com/office/drawing/2014/main" id="{994BABA9-A197-CEFC-80CA-72CFA822B371}"/>
              </a:ext>
            </a:extLst>
          </p:cNvPr>
          <p:cNvSpPr>
            <a:spLocks/>
          </p:cNvSpPr>
          <p:nvPr/>
        </p:nvSpPr>
        <p:spPr>
          <a:xfrm>
            <a:off x="5551631" y="3510701"/>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174625"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lagged) Faster approvals &amp; easier subdivision increases delivery over time</a:t>
            </a:r>
          </a:p>
        </p:txBody>
      </p:sp>
      <p:sp>
        <p:nvSpPr>
          <p:cNvPr id="127" name="Rectangle 126">
            <a:extLst>
              <a:ext uri="{FF2B5EF4-FFF2-40B4-BE49-F238E27FC236}">
                <a16:creationId xmlns:a16="http://schemas.microsoft.com/office/drawing/2014/main" id="{D95CF3CA-88AF-10DB-ED03-D50112C2B6D8}"/>
              </a:ext>
            </a:extLst>
          </p:cNvPr>
          <p:cNvSpPr>
            <a:spLocks/>
          </p:cNvSpPr>
          <p:nvPr/>
        </p:nvSpPr>
        <p:spPr>
          <a:xfrm>
            <a:off x="7941353" y="3515360"/>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231775"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over time) More delivery moderates price/rent growth</a:t>
            </a:r>
          </a:p>
        </p:txBody>
      </p:sp>
      <p:sp>
        <p:nvSpPr>
          <p:cNvPr id="128" name="Rectangle 127">
            <a:extLst>
              <a:ext uri="{FF2B5EF4-FFF2-40B4-BE49-F238E27FC236}">
                <a16:creationId xmlns:a16="http://schemas.microsoft.com/office/drawing/2014/main" id="{B97A2A87-1BD3-3560-7FBD-78B4EE5D0553}"/>
              </a:ext>
            </a:extLst>
          </p:cNvPr>
          <p:cNvSpPr>
            <a:spLocks/>
          </p:cNvSpPr>
          <p:nvPr/>
        </p:nvSpPr>
        <p:spPr>
          <a:xfrm>
            <a:off x="3178096" y="4413513"/>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17780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Adds buyer demand in eligible zones/products</a:t>
            </a:r>
          </a:p>
        </p:txBody>
      </p:sp>
      <p:sp>
        <p:nvSpPr>
          <p:cNvPr id="129" name="Rectangle 128">
            <a:extLst>
              <a:ext uri="{FF2B5EF4-FFF2-40B4-BE49-F238E27FC236}">
                <a16:creationId xmlns:a16="http://schemas.microsoft.com/office/drawing/2014/main" id="{4F09BEF3-E750-6CDB-8EBA-7F455DE587BD}"/>
              </a:ext>
            </a:extLst>
          </p:cNvPr>
          <p:cNvSpPr>
            <a:spLocks/>
          </p:cNvSpPr>
          <p:nvPr/>
        </p:nvSpPr>
        <p:spPr>
          <a:xfrm>
            <a:off x="5551631" y="4409630"/>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174625"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lagged) Supply improves only if capital translates into new projects</a:t>
            </a:r>
          </a:p>
        </p:txBody>
      </p:sp>
      <p:sp>
        <p:nvSpPr>
          <p:cNvPr id="130" name="Rectangle 129">
            <a:extLst>
              <a:ext uri="{FF2B5EF4-FFF2-40B4-BE49-F238E27FC236}">
                <a16:creationId xmlns:a16="http://schemas.microsoft.com/office/drawing/2014/main" id="{BA502D1B-69F7-32DC-DA6D-B8949044E0FA}"/>
              </a:ext>
            </a:extLst>
          </p:cNvPr>
          <p:cNvSpPr>
            <a:spLocks/>
          </p:cNvSpPr>
          <p:nvPr/>
        </p:nvSpPr>
        <p:spPr>
          <a:xfrm>
            <a:off x="7941353" y="4414289"/>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231775"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near term) Hotspots can heat up if supply response is slow</a:t>
            </a:r>
          </a:p>
        </p:txBody>
      </p:sp>
      <p:sp>
        <p:nvSpPr>
          <p:cNvPr id="131" name="Rectangle 130">
            <a:extLst>
              <a:ext uri="{FF2B5EF4-FFF2-40B4-BE49-F238E27FC236}">
                <a16:creationId xmlns:a16="http://schemas.microsoft.com/office/drawing/2014/main" id="{803DD4C2-6C9B-7C8C-38C4-4511B48EA804}"/>
              </a:ext>
            </a:extLst>
          </p:cNvPr>
          <p:cNvSpPr>
            <a:spLocks/>
          </p:cNvSpPr>
          <p:nvPr/>
        </p:nvSpPr>
        <p:spPr>
          <a:xfrm>
            <a:off x="3178096" y="5293811"/>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17780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Overall housing demand stays broadly unchanged, but demand/pressure increases in the regulated segment</a:t>
            </a:r>
          </a:p>
        </p:txBody>
      </p:sp>
      <p:sp>
        <p:nvSpPr>
          <p:cNvPr id="132" name="Rectangle 131">
            <a:extLst>
              <a:ext uri="{FF2B5EF4-FFF2-40B4-BE49-F238E27FC236}">
                <a16:creationId xmlns:a16="http://schemas.microsoft.com/office/drawing/2014/main" id="{130E45B5-455E-BD6A-7964-258543C1FB42}"/>
              </a:ext>
            </a:extLst>
          </p:cNvPr>
          <p:cNvSpPr>
            <a:spLocks/>
          </p:cNvSpPr>
          <p:nvPr/>
        </p:nvSpPr>
        <p:spPr>
          <a:xfrm>
            <a:off x="5551631" y="5289930"/>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174625"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risk) If too tight, listings and new rental delivery can fall</a:t>
            </a:r>
          </a:p>
        </p:txBody>
      </p:sp>
      <p:sp>
        <p:nvSpPr>
          <p:cNvPr id="133" name="Rectangle 132">
            <a:extLst>
              <a:ext uri="{FF2B5EF4-FFF2-40B4-BE49-F238E27FC236}">
                <a16:creationId xmlns:a16="http://schemas.microsoft.com/office/drawing/2014/main" id="{D697D2EC-213D-BC6E-E257-EED95DE4F3BC}"/>
              </a:ext>
            </a:extLst>
          </p:cNvPr>
          <p:cNvSpPr>
            <a:spLocks/>
          </p:cNvSpPr>
          <p:nvPr/>
        </p:nvSpPr>
        <p:spPr>
          <a:xfrm>
            <a:off x="7941353" y="5294589"/>
            <a:ext cx="2254295" cy="763919"/>
          </a:xfrm>
          <a:prstGeom prst="rect">
            <a:avLst/>
          </a:prstGeom>
          <a:solidFill>
            <a:schemeClr val="bg1"/>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marL="231775"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US" sz="1000" b="0" i="0" u="none" strike="noStrike" kern="1200" cap="none" spc="0" normalizeH="0" baseline="0" noProof="0">
                <a:ln>
                  <a:noFill/>
                </a:ln>
                <a:solidFill>
                  <a:srgbClr val="000000"/>
                </a:solidFill>
                <a:effectLst/>
                <a:uLnTx/>
                <a:uFillTx/>
                <a:latin typeface="Trebuchet MS"/>
                <a:ea typeface="+mn-ea"/>
                <a:cs typeface="+mn-cs"/>
              </a:rPr>
              <a:t>Slower increases for renewals; higher increases can show up in new leases</a:t>
            </a:r>
          </a:p>
        </p:txBody>
      </p:sp>
      <p:sp>
        <p:nvSpPr>
          <p:cNvPr id="134" name="Oval 133">
            <a:extLst>
              <a:ext uri="{FF2B5EF4-FFF2-40B4-BE49-F238E27FC236}">
                <a16:creationId xmlns:a16="http://schemas.microsoft.com/office/drawing/2014/main" id="{4B8CFDA7-9228-7098-82A2-693F8CF65911}"/>
              </a:ext>
            </a:extLst>
          </p:cNvPr>
          <p:cNvSpPr/>
          <p:nvPr/>
        </p:nvSpPr>
        <p:spPr>
          <a:xfrm>
            <a:off x="3204072" y="3783106"/>
            <a:ext cx="222944" cy="215541"/>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35" name="Oval 134">
            <a:extLst>
              <a:ext uri="{FF2B5EF4-FFF2-40B4-BE49-F238E27FC236}">
                <a16:creationId xmlns:a16="http://schemas.microsoft.com/office/drawing/2014/main" id="{CA3ADDA6-7F78-28DC-2CA4-5AD08F5841A1}"/>
              </a:ext>
            </a:extLst>
          </p:cNvPr>
          <p:cNvSpPr/>
          <p:nvPr/>
        </p:nvSpPr>
        <p:spPr>
          <a:xfrm>
            <a:off x="5572995" y="3789549"/>
            <a:ext cx="222944" cy="215541"/>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36" name="Arrow: Down 135">
            <a:extLst>
              <a:ext uri="{FF2B5EF4-FFF2-40B4-BE49-F238E27FC236}">
                <a16:creationId xmlns:a16="http://schemas.microsoft.com/office/drawing/2014/main" id="{91EE2E7C-E7E9-978A-92BE-1C023FF11B34}"/>
              </a:ext>
            </a:extLst>
          </p:cNvPr>
          <p:cNvSpPr/>
          <p:nvPr/>
        </p:nvSpPr>
        <p:spPr>
          <a:xfrm rot="10800000">
            <a:off x="5608499" y="3826292"/>
            <a:ext cx="151937" cy="129170"/>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137" name="Group 136">
            <a:extLst>
              <a:ext uri="{FF2B5EF4-FFF2-40B4-BE49-F238E27FC236}">
                <a16:creationId xmlns:a16="http://schemas.microsoft.com/office/drawing/2014/main" id="{046353C5-27F2-53A7-21B9-B01B0DBBC5E9}"/>
              </a:ext>
            </a:extLst>
          </p:cNvPr>
          <p:cNvGrpSpPr/>
          <p:nvPr/>
        </p:nvGrpSpPr>
        <p:grpSpPr>
          <a:xfrm>
            <a:off x="5572995" y="2918966"/>
            <a:ext cx="222944" cy="215541"/>
            <a:chOff x="6619892" y="3265496"/>
            <a:chExt cx="222944" cy="219806"/>
          </a:xfrm>
        </p:grpSpPr>
        <p:sp>
          <p:nvSpPr>
            <p:cNvPr id="138" name="Oval 137">
              <a:extLst>
                <a:ext uri="{FF2B5EF4-FFF2-40B4-BE49-F238E27FC236}">
                  <a16:creationId xmlns:a16="http://schemas.microsoft.com/office/drawing/2014/main" id="{43405B68-905C-CD66-339A-7FC146D3AFF7}"/>
                </a:ext>
              </a:extLst>
            </p:cNvPr>
            <p:cNvSpPr/>
            <p:nvPr/>
          </p:nvSpPr>
          <p:spPr>
            <a:xfrm>
              <a:off x="6619892" y="3265496"/>
              <a:ext cx="222944" cy="219806"/>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39" name="Arrow: Down 138">
              <a:extLst>
                <a:ext uri="{FF2B5EF4-FFF2-40B4-BE49-F238E27FC236}">
                  <a16:creationId xmlns:a16="http://schemas.microsoft.com/office/drawing/2014/main" id="{B1B1956F-F15B-F5CE-5BCC-DE7927BDFB09}"/>
                </a:ext>
              </a:extLst>
            </p:cNvPr>
            <p:cNvSpPr/>
            <p:nvPr/>
          </p:nvSpPr>
          <p:spPr>
            <a:xfrm rot="10800000">
              <a:off x="6655396" y="3309537"/>
              <a:ext cx="151937" cy="131726"/>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140" name="Oval 139">
            <a:extLst>
              <a:ext uri="{FF2B5EF4-FFF2-40B4-BE49-F238E27FC236}">
                <a16:creationId xmlns:a16="http://schemas.microsoft.com/office/drawing/2014/main" id="{1DDF1EC1-4694-37BD-D41C-4BB7A0018467}"/>
              </a:ext>
            </a:extLst>
          </p:cNvPr>
          <p:cNvSpPr/>
          <p:nvPr/>
        </p:nvSpPr>
        <p:spPr>
          <a:xfrm>
            <a:off x="3204072" y="2119164"/>
            <a:ext cx="222944" cy="215541"/>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41" name="Oval 140">
            <a:extLst>
              <a:ext uri="{FF2B5EF4-FFF2-40B4-BE49-F238E27FC236}">
                <a16:creationId xmlns:a16="http://schemas.microsoft.com/office/drawing/2014/main" id="{471CBC0C-6D63-228E-9588-6B875F670309}"/>
              </a:ext>
            </a:extLst>
          </p:cNvPr>
          <p:cNvSpPr/>
          <p:nvPr/>
        </p:nvSpPr>
        <p:spPr>
          <a:xfrm>
            <a:off x="5572995" y="2119164"/>
            <a:ext cx="222944" cy="215541"/>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42" name="Arrow: Down 141">
            <a:extLst>
              <a:ext uri="{FF2B5EF4-FFF2-40B4-BE49-F238E27FC236}">
                <a16:creationId xmlns:a16="http://schemas.microsoft.com/office/drawing/2014/main" id="{732796B7-E78E-27EF-5ADA-62FC0C35E2B4}"/>
              </a:ext>
            </a:extLst>
          </p:cNvPr>
          <p:cNvSpPr/>
          <p:nvPr/>
        </p:nvSpPr>
        <p:spPr>
          <a:xfrm rot="10800000">
            <a:off x="5608499" y="2162351"/>
            <a:ext cx="151937" cy="129170"/>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143" name="Group 142">
            <a:extLst>
              <a:ext uri="{FF2B5EF4-FFF2-40B4-BE49-F238E27FC236}">
                <a16:creationId xmlns:a16="http://schemas.microsoft.com/office/drawing/2014/main" id="{6A83E13C-51A9-E84F-67AE-DD1A349615EA}"/>
              </a:ext>
            </a:extLst>
          </p:cNvPr>
          <p:cNvGrpSpPr>
            <a:grpSpLocks/>
          </p:cNvGrpSpPr>
          <p:nvPr/>
        </p:nvGrpSpPr>
        <p:grpSpPr>
          <a:xfrm>
            <a:off x="3204072" y="4680482"/>
            <a:ext cx="222944" cy="215541"/>
            <a:chOff x="3239907" y="3725616"/>
            <a:chExt cx="361868" cy="307440"/>
          </a:xfrm>
        </p:grpSpPr>
        <p:sp>
          <p:nvSpPr>
            <p:cNvPr id="144" name="Oval 143">
              <a:extLst>
                <a:ext uri="{FF2B5EF4-FFF2-40B4-BE49-F238E27FC236}">
                  <a16:creationId xmlns:a16="http://schemas.microsoft.com/office/drawing/2014/main" id="{A09BE27D-045E-1B79-057C-EA30659CC4F9}"/>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45" name="Arrow: Down 144">
              <a:extLst>
                <a:ext uri="{FF2B5EF4-FFF2-40B4-BE49-F238E27FC236}">
                  <a16:creationId xmlns:a16="http://schemas.microsoft.com/office/drawing/2014/main" id="{E327DBCF-1F56-EB58-EF7D-9ECA4E87FF4A}"/>
                </a:ext>
              </a:extLst>
            </p:cNvPr>
            <p:cNvSpPr/>
            <p:nvPr/>
          </p:nvSpPr>
          <p:spPr>
            <a:xfrm rot="10800000">
              <a:off x="3297534" y="3787215"/>
              <a:ext cx="246614" cy="184243"/>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146" name="Oval 145">
            <a:extLst>
              <a:ext uri="{FF2B5EF4-FFF2-40B4-BE49-F238E27FC236}">
                <a16:creationId xmlns:a16="http://schemas.microsoft.com/office/drawing/2014/main" id="{D22B4B9B-A190-5445-070B-0B95FB00C8AD}"/>
              </a:ext>
            </a:extLst>
          </p:cNvPr>
          <p:cNvSpPr/>
          <p:nvPr/>
        </p:nvSpPr>
        <p:spPr>
          <a:xfrm>
            <a:off x="5572995" y="4680482"/>
            <a:ext cx="222944" cy="215541"/>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47" name="Arrow: Down 146">
            <a:extLst>
              <a:ext uri="{FF2B5EF4-FFF2-40B4-BE49-F238E27FC236}">
                <a16:creationId xmlns:a16="http://schemas.microsoft.com/office/drawing/2014/main" id="{E363DFF2-BECC-A1EA-AE3E-95B1D98C01E9}"/>
              </a:ext>
            </a:extLst>
          </p:cNvPr>
          <p:cNvSpPr/>
          <p:nvPr/>
        </p:nvSpPr>
        <p:spPr>
          <a:xfrm rot="10800000">
            <a:off x="5608499" y="4723668"/>
            <a:ext cx="151937" cy="129170"/>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48" name="Oval 147">
            <a:extLst>
              <a:ext uri="{FF2B5EF4-FFF2-40B4-BE49-F238E27FC236}">
                <a16:creationId xmlns:a16="http://schemas.microsoft.com/office/drawing/2014/main" id="{CFEE6F06-4DC1-5C3A-09C2-E21DBE24A2C7}"/>
              </a:ext>
            </a:extLst>
          </p:cNvPr>
          <p:cNvSpPr/>
          <p:nvPr/>
        </p:nvSpPr>
        <p:spPr>
          <a:xfrm>
            <a:off x="3204072" y="5550659"/>
            <a:ext cx="222944" cy="215541"/>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49" name="Oval 148">
            <a:extLst>
              <a:ext uri="{FF2B5EF4-FFF2-40B4-BE49-F238E27FC236}">
                <a16:creationId xmlns:a16="http://schemas.microsoft.com/office/drawing/2014/main" id="{288B62A7-2E2E-C094-2111-F1F9ED916CB9}"/>
              </a:ext>
            </a:extLst>
          </p:cNvPr>
          <p:cNvSpPr/>
          <p:nvPr/>
        </p:nvSpPr>
        <p:spPr>
          <a:xfrm rot="10800000">
            <a:off x="5572995" y="5550660"/>
            <a:ext cx="222944" cy="215541"/>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58" name="Arrow: Down 157">
            <a:extLst>
              <a:ext uri="{FF2B5EF4-FFF2-40B4-BE49-F238E27FC236}">
                <a16:creationId xmlns:a16="http://schemas.microsoft.com/office/drawing/2014/main" id="{E7B649FE-5C98-116F-E3EF-0011837AB1F3}"/>
              </a:ext>
            </a:extLst>
          </p:cNvPr>
          <p:cNvSpPr/>
          <p:nvPr/>
        </p:nvSpPr>
        <p:spPr>
          <a:xfrm>
            <a:off x="5608499" y="5593846"/>
            <a:ext cx="151937" cy="129170"/>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59" name="Graphic 3">
            <a:extLst>
              <a:ext uri="{FF2B5EF4-FFF2-40B4-BE49-F238E27FC236}">
                <a16:creationId xmlns:a16="http://schemas.microsoft.com/office/drawing/2014/main" id="{75D126FA-2037-6F07-5EDB-C0BA617D8654}"/>
              </a:ext>
            </a:extLst>
          </p:cNvPr>
          <p:cNvSpPr>
            <a:spLocks/>
          </p:cNvSpPr>
          <p:nvPr/>
        </p:nvSpPr>
        <p:spPr>
          <a:xfrm>
            <a:off x="3178096" y="1403976"/>
            <a:ext cx="2254295" cy="388587"/>
          </a:xfrm>
          <a:prstGeom prst="roundRect">
            <a:avLst>
              <a:gd name="adj" fmla="val 6274"/>
            </a:avLst>
          </a:prstGeom>
          <a:solidFill>
            <a:schemeClr val="accent1">
              <a:lumMod val="90000"/>
              <a:lumOff val="10000"/>
            </a:schemeClr>
          </a:solidFill>
          <a:ln w="0" cap="flat">
            <a:noFill/>
            <a:prstDash val="solid"/>
            <a:miter/>
          </a:ln>
        </p:spPr>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Demand impacts</a:t>
            </a:r>
          </a:p>
        </p:txBody>
      </p:sp>
      <p:sp>
        <p:nvSpPr>
          <p:cNvPr id="167" name="Graphic 3">
            <a:extLst>
              <a:ext uri="{FF2B5EF4-FFF2-40B4-BE49-F238E27FC236}">
                <a16:creationId xmlns:a16="http://schemas.microsoft.com/office/drawing/2014/main" id="{F64C3861-304A-7790-9047-98744BDA110C}"/>
              </a:ext>
            </a:extLst>
          </p:cNvPr>
          <p:cNvSpPr>
            <a:spLocks/>
          </p:cNvSpPr>
          <p:nvPr/>
        </p:nvSpPr>
        <p:spPr>
          <a:xfrm>
            <a:off x="5551631" y="1418360"/>
            <a:ext cx="2254295" cy="388587"/>
          </a:xfrm>
          <a:prstGeom prst="roundRect">
            <a:avLst>
              <a:gd name="adj" fmla="val 6274"/>
            </a:avLst>
          </a:prstGeom>
          <a:solidFill>
            <a:schemeClr val="tx2">
              <a:lumMod val="75000"/>
            </a:schemeClr>
          </a:solidFill>
          <a:ln w="0" cap="flat">
            <a:noFill/>
            <a:prstDash val="solid"/>
            <a:miter/>
          </a:ln>
        </p:spPr>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Supply impacts</a:t>
            </a:r>
          </a:p>
        </p:txBody>
      </p:sp>
      <p:sp>
        <p:nvSpPr>
          <p:cNvPr id="168" name="Graphic 3">
            <a:extLst>
              <a:ext uri="{FF2B5EF4-FFF2-40B4-BE49-F238E27FC236}">
                <a16:creationId xmlns:a16="http://schemas.microsoft.com/office/drawing/2014/main" id="{231046E0-0898-FAE6-19A4-05698F4F0645}"/>
              </a:ext>
            </a:extLst>
          </p:cNvPr>
          <p:cNvSpPr>
            <a:spLocks/>
          </p:cNvSpPr>
          <p:nvPr/>
        </p:nvSpPr>
        <p:spPr>
          <a:xfrm>
            <a:off x="7941353" y="1413565"/>
            <a:ext cx="2254295" cy="388587"/>
          </a:xfrm>
          <a:prstGeom prst="roundRect">
            <a:avLst>
              <a:gd name="adj" fmla="val 6274"/>
            </a:avLst>
          </a:prstGeom>
          <a:solidFill>
            <a:schemeClr val="accent3">
              <a:lumMod val="50000"/>
            </a:schemeClr>
          </a:solidFill>
          <a:ln w="0" cap="flat">
            <a:noFill/>
            <a:prstDash val="solid"/>
            <a:miter/>
          </a:ln>
        </p:spPr>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Price impacts</a:t>
            </a:r>
          </a:p>
        </p:txBody>
      </p:sp>
      <p:sp>
        <p:nvSpPr>
          <p:cNvPr id="169" name="Arrow: Left-Right 168">
            <a:extLst>
              <a:ext uri="{FF2B5EF4-FFF2-40B4-BE49-F238E27FC236}">
                <a16:creationId xmlns:a16="http://schemas.microsoft.com/office/drawing/2014/main" id="{86757376-2271-9B82-27CC-ED801AA32287}"/>
              </a:ext>
            </a:extLst>
          </p:cNvPr>
          <p:cNvSpPr/>
          <p:nvPr/>
        </p:nvSpPr>
        <p:spPr>
          <a:xfrm>
            <a:off x="3216667" y="2164736"/>
            <a:ext cx="197753" cy="121445"/>
          </a:xfrm>
          <a:prstGeom prst="leftRightArrow">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170" name="Group 169">
            <a:extLst>
              <a:ext uri="{FF2B5EF4-FFF2-40B4-BE49-F238E27FC236}">
                <a16:creationId xmlns:a16="http://schemas.microsoft.com/office/drawing/2014/main" id="{EF28B6BB-647F-295A-8D2C-41394A3EFA62}"/>
              </a:ext>
            </a:extLst>
          </p:cNvPr>
          <p:cNvGrpSpPr/>
          <p:nvPr/>
        </p:nvGrpSpPr>
        <p:grpSpPr>
          <a:xfrm>
            <a:off x="3204072" y="2918966"/>
            <a:ext cx="222944" cy="215541"/>
            <a:chOff x="4153794" y="3265496"/>
            <a:chExt cx="222944" cy="219806"/>
          </a:xfrm>
        </p:grpSpPr>
        <p:sp>
          <p:nvSpPr>
            <p:cNvPr id="171" name="Oval 170">
              <a:extLst>
                <a:ext uri="{FF2B5EF4-FFF2-40B4-BE49-F238E27FC236}">
                  <a16:creationId xmlns:a16="http://schemas.microsoft.com/office/drawing/2014/main" id="{A3973331-3356-EA84-1F18-1EB7E0C4F080}"/>
                </a:ext>
              </a:extLst>
            </p:cNvPr>
            <p:cNvSpPr/>
            <p:nvPr/>
          </p:nvSpPr>
          <p:spPr>
            <a:xfrm>
              <a:off x="4153794" y="3265496"/>
              <a:ext cx="222944" cy="219806"/>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96" name="Arrow: Left-Right 195">
              <a:extLst>
                <a:ext uri="{FF2B5EF4-FFF2-40B4-BE49-F238E27FC236}">
                  <a16:creationId xmlns:a16="http://schemas.microsoft.com/office/drawing/2014/main" id="{8C166B1D-B1A1-78BF-4017-61CFF1703E8E}"/>
                </a:ext>
              </a:extLst>
            </p:cNvPr>
            <p:cNvSpPr/>
            <p:nvPr/>
          </p:nvSpPr>
          <p:spPr>
            <a:xfrm>
              <a:off x="4166389" y="3322565"/>
              <a:ext cx="197753" cy="123848"/>
            </a:xfrm>
            <a:prstGeom prst="leftRightArrow">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197" name="Arrow: Left-Right 196">
            <a:extLst>
              <a:ext uri="{FF2B5EF4-FFF2-40B4-BE49-F238E27FC236}">
                <a16:creationId xmlns:a16="http://schemas.microsoft.com/office/drawing/2014/main" id="{F1E75241-848C-E7E4-EA89-ECB6DDF1F0B7}"/>
              </a:ext>
            </a:extLst>
          </p:cNvPr>
          <p:cNvSpPr/>
          <p:nvPr/>
        </p:nvSpPr>
        <p:spPr>
          <a:xfrm>
            <a:off x="3216667" y="3832502"/>
            <a:ext cx="197753" cy="121445"/>
          </a:xfrm>
          <a:prstGeom prst="leftRightArrow">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198" name="Arrow: Left-Right 197">
            <a:extLst>
              <a:ext uri="{FF2B5EF4-FFF2-40B4-BE49-F238E27FC236}">
                <a16:creationId xmlns:a16="http://schemas.microsoft.com/office/drawing/2014/main" id="{CCC39E0D-71CE-6EE1-264C-895947E04CA1}"/>
              </a:ext>
            </a:extLst>
          </p:cNvPr>
          <p:cNvSpPr/>
          <p:nvPr/>
        </p:nvSpPr>
        <p:spPr>
          <a:xfrm>
            <a:off x="3216667" y="5597168"/>
            <a:ext cx="197753" cy="121445"/>
          </a:xfrm>
          <a:prstGeom prst="leftRightArrow">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199" name="Group 198">
            <a:extLst>
              <a:ext uri="{FF2B5EF4-FFF2-40B4-BE49-F238E27FC236}">
                <a16:creationId xmlns:a16="http://schemas.microsoft.com/office/drawing/2014/main" id="{547ED04D-6E8D-1D76-E63C-546804246360}"/>
              </a:ext>
            </a:extLst>
          </p:cNvPr>
          <p:cNvGrpSpPr/>
          <p:nvPr/>
        </p:nvGrpSpPr>
        <p:grpSpPr>
          <a:xfrm>
            <a:off x="7973187" y="5550659"/>
            <a:ext cx="222944" cy="215541"/>
            <a:chOff x="6619892" y="5949267"/>
            <a:chExt cx="222944" cy="219806"/>
          </a:xfrm>
        </p:grpSpPr>
        <p:sp>
          <p:nvSpPr>
            <p:cNvPr id="200" name="Oval 199">
              <a:extLst>
                <a:ext uri="{FF2B5EF4-FFF2-40B4-BE49-F238E27FC236}">
                  <a16:creationId xmlns:a16="http://schemas.microsoft.com/office/drawing/2014/main" id="{625B75CD-ED7C-2EF6-6DBA-E2A89BB740B2}"/>
                </a:ext>
              </a:extLst>
            </p:cNvPr>
            <p:cNvSpPr/>
            <p:nvPr/>
          </p:nvSpPr>
          <p:spPr>
            <a:xfrm rot="10800000">
              <a:off x="6619892" y="5949267"/>
              <a:ext cx="222944" cy="219806"/>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201" name="Arrow: Down 200">
              <a:extLst>
                <a:ext uri="{FF2B5EF4-FFF2-40B4-BE49-F238E27FC236}">
                  <a16:creationId xmlns:a16="http://schemas.microsoft.com/office/drawing/2014/main" id="{AEF732A8-70AA-D915-F69C-85FA32749AE7}"/>
                </a:ext>
              </a:extLst>
            </p:cNvPr>
            <p:cNvSpPr/>
            <p:nvPr/>
          </p:nvSpPr>
          <p:spPr>
            <a:xfrm>
              <a:off x="6655396" y="5993308"/>
              <a:ext cx="151937" cy="131726"/>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02" name="Group 201">
            <a:extLst>
              <a:ext uri="{FF2B5EF4-FFF2-40B4-BE49-F238E27FC236}">
                <a16:creationId xmlns:a16="http://schemas.microsoft.com/office/drawing/2014/main" id="{07BA90EB-C8A8-DD41-B40C-A323852B1C0B}"/>
              </a:ext>
            </a:extLst>
          </p:cNvPr>
          <p:cNvGrpSpPr/>
          <p:nvPr/>
        </p:nvGrpSpPr>
        <p:grpSpPr>
          <a:xfrm rot="10800000">
            <a:off x="7973187" y="4719212"/>
            <a:ext cx="222944" cy="215541"/>
            <a:chOff x="6619892" y="5949267"/>
            <a:chExt cx="222944" cy="219806"/>
          </a:xfrm>
        </p:grpSpPr>
        <p:sp>
          <p:nvSpPr>
            <p:cNvPr id="203" name="Oval 202">
              <a:extLst>
                <a:ext uri="{FF2B5EF4-FFF2-40B4-BE49-F238E27FC236}">
                  <a16:creationId xmlns:a16="http://schemas.microsoft.com/office/drawing/2014/main" id="{E80A5D94-DCB4-C7F6-9C2F-5CEF8C50CF5C}"/>
                </a:ext>
              </a:extLst>
            </p:cNvPr>
            <p:cNvSpPr/>
            <p:nvPr/>
          </p:nvSpPr>
          <p:spPr>
            <a:xfrm rot="10800000">
              <a:off x="6619892" y="5949267"/>
              <a:ext cx="222944" cy="219806"/>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204" name="Arrow: Down 203">
              <a:extLst>
                <a:ext uri="{FF2B5EF4-FFF2-40B4-BE49-F238E27FC236}">
                  <a16:creationId xmlns:a16="http://schemas.microsoft.com/office/drawing/2014/main" id="{DD29F257-E90C-0810-A034-B0DECE5292B3}"/>
                </a:ext>
              </a:extLst>
            </p:cNvPr>
            <p:cNvSpPr/>
            <p:nvPr/>
          </p:nvSpPr>
          <p:spPr>
            <a:xfrm>
              <a:off x="6655396" y="5993308"/>
              <a:ext cx="151937" cy="131726"/>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05" name="Group 204">
            <a:extLst>
              <a:ext uri="{FF2B5EF4-FFF2-40B4-BE49-F238E27FC236}">
                <a16:creationId xmlns:a16="http://schemas.microsoft.com/office/drawing/2014/main" id="{15E37AF1-F759-82F3-BC6E-B6C9BC330230}"/>
              </a:ext>
            </a:extLst>
          </p:cNvPr>
          <p:cNvGrpSpPr/>
          <p:nvPr/>
        </p:nvGrpSpPr>
        <p:grpSpPr>
          <a:xfrm>
            <a:off x="7973187" y="3789549"/>
            <a:ext cx="222944" cy="215541"/>
            <a:chOff x="6619892" y="5949267"/>
            <a:chExt cx="222944" cy="219806"/>
          </a:xfrm>
        </p:grpSpPr>
        <p:sp>
          <p:nvSpPr>
            <p:cNvPr id="206" name="Oval 205">
              <a:extLst>
                <a:ext uri="{FF2B5EF4-FFF2-40B4-BE49-F238E27FC236}">
                  <a16:creationId xmlns:a16="http://schemas.microsoft.com/office/drawing/2014/main" id="{91F47003-B2A8-B1E4-9824-1A681C20588A}"/>
                </a:ext>
              </a:extLst>
            </p:cNvPr>
            <p:cNvSpPr/>
            <p:nvPr/>
          </p:nvSpPr>
          <p:spPr>
            <a:xfrm rot="10800000">
              <a:off x="6619892" y="5949267"/>
              <a:ext cx="222944" cy="219806"/>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207" name="Arrow: Down 206">
              <a:extLst>
                <a:ext uri="{FF2B5EF4-FFF2-40B4-BE49-F238E27FC236}">
                  <a16:creationId xmlns:a16="http://schemas.microsoft.com/office/drawing/2014/main" id="{DCE04AA9-8ABD-1634-D670-2216B96408D3}"/>
                </a:ext>
              </a:extLst>
            </p:cNvPr>
            <p:cNvSpPr/>
            <p:nvPr/>
          </p:nvSpPr>
          <p:spPr>
            <a:xfrm>
              <a:off x="6655396" y="5993308"/>
              <a:ext cx="151937" cy="131726"/>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08" name="Group 207">
            <a:extLst>
              <a:ext uri="{FF2B5EF4-FFF2-40B4-BE49-F238E27FC236}">
                <a16:creationId xmlns:a16="http://schemas.microsoft.com/office/drawing/2014/main" id="{BFC59249-99AF-14B0-E146-3617074C8169}"/>
              </a:ext>
            </a:extLst>
          </p:cNvPr>
          <p:cNvGrpSpPr/>
          <p:nvPr/>
        </p:nvGrpSpPr>
        <p:grpSpPr>
          <a:xfrm>
            <a:off x="7973187" y="2918966"/>
            <a:ext cx="222944" cy="215541"/>
            <a:chOff x="6619892" y="5949267"/>
            <a:chExt cx="222944" cy="219806"/>
          </a:xfrm>
        </p:grpSpPr>
        <p:sp>
          <p:nvSpPr>
            <p:cNvPr id="209" name="Oval 208">
              <a:extLst>
                <a:ext uri="{FF2B5EF4-FFF2-40B4-BE49-F238E27FC236}">
                  <a16:creationId xmlns:a16="http://schemas.microsoft.com/office/drawing/2014/main" id="{92DD795B-FDB3-FAEA-DCD5-8DFE1B60F926}"/>
                </a:ext>
              </a:extLst>
            </p:cNvPr>
            <p:cNvSpPr/>
            <p:nvPr/>
          </p:nvSpPr>
          <p:spPr>
            <a:xfrm rot="10800000">
              <a:off x="6619892" y="5949267"/>
              <a:ext cx="222944" cy="219806"/>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210" name="Arrow: Down 209">
              <a:extLst>
                <a:ext uri="{FF2B5EF4-FFF2-40B4-BE49-F238E27FC236}">
                  <a16:creationId xmlns:a16="http://schemas.microsoft.com/office/drawing/2014/main" id="{C5F0737D-2CDB-2AFA-B6A4-52E074E56E6F}"/>
                </a:ext>
              </a:extLst>
            </p:cNvPr>
            <p:cNvSpPr/>
            <p:nvPr/>
          </p:nvSpPr>
          <p:spPr>
            <a:xfrm>
              <a:off x="6655396" y="5993308"/>
              <a:ext cx="151937" cy="131726"/>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11" name="Group 210">
            <a:extLst>
              <a:ext uri="{FF2B5EF4-FFF2-40B4-BE49-F238E27FC236}">
                <a16:creationId xmlns:a16="http://schemas.microsoft.com/office/drawing/2014/main" id="{8E3C97B5-D969-306D-2285-A9130C8216F7}"/>
              </a:ext>
            </a:extLst>
          </p:cNvPr>
          <p:cNvGrpSpPr/>
          <p:nvPr/>
        </p:nvGrpSpPr>
        <p:grpSpPr>
          <a:xfrm>
            <a:off x="7973187" y="2119164"/>
            <a:ext cx="222944" cy="215541"/>
            <a:chOff x="6619892" y="5949267"/>
            <a:chExt cx="222944" cy="219806"/>
          </a:xfrm>
        </p:grpSpPr>
        <p:sp>
          <p:nvSpPr>
            <p:cNvPr id="212" name="Oval 211">
              <a:extLst>
                <a:ext uri="{FF2B5EF4-FFF2-40B4-BE49-F238E27FC236}">
                  <a16:creationId xmlns:a16="http://schemas.microsoft.com/office/drawing/2014/main" id="{DA511E02-5D98-65DA-B726-70281D511337}"/>
                </a:ext>
              </a:extLst>
            </p:cNvPr>
            <p:cNvSpPr/>
            <p:nvPr/>
          </p:nvSpPr>
          <p:spPr>
            <a:xfrm rot="10800000">
              <a:off x="6619892" y="5949267"/>
              <a:ext cx="222944" cy="219806"/>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sp>
          <p:nvSpPr>
            <p:cNvPr id="213" name="Arrow: Down 212">
              <a:extLst>
                <a:ext uri="{FF2B5EF4-FFF2-40B4-BE49-F238E27FC236}">
                  <a16:creationId xmlns:a16="http://schemas.microsoft.com/office/drawing/2014/main" id="{C4A6B798-0502-CD4A-0217-AA04E8B894DA}"/>
                </a:ext>
              </a:extLst>
            </p:cNvPr>
            <p:cNvSpPr/>
            <p:nvPr/>
          </p:nvSpPr>
          <p:spPr>
            <a:xfrm>
              <a:off x="6655396" y="5993308"/>
              <a:ext cx="151937" cy="131726"/>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182880" tIns="2743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0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214" name="Oval 213">
            <a:extLst>
              <a:ext uri="{FF2B5EF4-FFF2-40B4-BE49-F238E27FC236}">
                <a16:creationId xmlns:a16="http://schemas.microsoft.com/office/drawing/2014/main" id="{7EE5F7F3-B226-E2BE-6105-A5B16C96D4DE}"/>
              </a:ext>
            </a:extLst>
          </p:cNvPr>
          <p:cNvSpPr/>
          <p:nvPr/>
        </p:nvSpPr>
        <p:spPr>
          <a:xfrm>
            <a:off x="5594984" y="6398544"/>
            <a:ext cx="165653" cy="160152"/>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215" name="Group 214">
            <a:extLst>
              <a:ext uri="{FF2B5EF4-FFF2-40B4-BE49-F238E27FC236}">
                <a16:creationId xmlns:a16="http://schemas.microsoft.com/office/drawing/2014/main" id="{60A648C8-B187-6B6E-F4DD-76AB4D7B1678}"/>
              </a:ext>
            </a:extLst>
          </p:cNvPr>
          <p:cNvGrpSpPr/>
          <p:nvPr/>
        </p:nvGrpSpPr>
        <p:grpSpPr>
          <a:xfrm>
            <a:off x="6902283" y="6398544"/>
            <a:ext cx="165653" cy="160152"/>
            <a:chOff x="4153794" y="3265496"/>
            <a:chExt cx="222944" cy="219806"/>
          </a:xfrm>
        </p:grpSpPr>
        <p:sp>
          <p:nvSpPr>
            <p:cNvPr id="217" name="Oval 216">
              <a:extLst>
                <a:ext uri="{FF2B5EF4-FFF2-40B4-BE49-F238E27FC236}">
                  <a16:creationId xmlns:a16="http://schemas.microsoft.com/office/drawing/2014/main" id="{00EDB309-6AF3-4447-D7D9-C4CF5B5F1129}"/>
                </a:ext>
              </a:extLst>
            </p:cNvPr>
            <p:cNvSpPr/>
            <p:nvPr/>
          </p:nvSpPr>
          <p:spPr>
            <a:xfrm>
              <a:off x="4153794" y="3265496"/>
              <a:ext cx="222944" cy="219806"/>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18" name="Arrow: Left-Right 217">
              <a:extLst>
                <a:ext uri="{FF2B5EF4-FFF2-40B4-BE49-F238E27FC236}">
                  <a16:creationId xmlns:a16="http://schemas.microsoft.com/office/drawing/2014/main" id="{626B5DBC-CCF1-DB20-208F-76930E412DF7}"/>
                </a:ext>
              </a:extLst>
            </p:cNvPr>
            <p:cNvSpPr/>
            <p:nvPr/>
          </p:nvSpPr>
          <p:spPr>
            <a:xfrm>
              <a:off x="4166389" y="3322565"/>
              <a:ext cx="197753" cy="123848"/>
            </a:xfrm>
            <a:prstGeom prst="leftRightArrow">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219" name="Oval 218">
            <a:extLst>
              <a:ext uri="{FF2B5EF4-FFF2-40B4-BE49-F238E27FC236}">
                <a16:creationId xmlns:a16="http://schemas.microsoft.com/office/drawing/2014/main" id="{B079284D-354C-BCC0-F429-40CD2DC5F8F6}"/>
              </a:ext>
            </a:extLst>
          </p:cNvPr>
          <p:cNvSpPr/>
          <p:nvPr/>
        </p:nvSpPr>
        <p:spPr>
          <a:xfrm>
            <a:off x="6261734" y="6398544"/>
            <a:ext cx="165653" cy="160152"/>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20" name="TextBox 219">
            <a:extLst>
              <a:ext uri="{FF2B5EF4-FFF2-40B4-BE49-F238E27FC236}">
                <a16:creationId xmlns:a16="http://schemas.microsoft.com/office/drawing/2014/main" id="{D88E0085-8230-3AFE-85F5-C300034CC25C}"/>
              </a:ext>
            </a:extLst>
          </p:cNvPr>
          <p:cNvSpPr txBox="1"/>
          <p:nvPr/>
        </p:nvSpPr>
        <p:spPr>
          <a:xfrm>
            <a:off x="6352738" y="6380909"/>
            <a:ext cx="426244" cy="1962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Negat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impact</a:t>
            </a:r>
          </a:p>
        </p:txBody>
      </p:sp>
      <p:grpSp>
        <p:nvGrpSpPr>
          <p:cNvPr id="221" name="Group 220">
            <a:extLst>
              <a:ext uri="{FF2B5EF4-FFF2-40B4-BE49-F238E27FC236}">
                <a16:creationId xmlns:a16="http://schemas.microsoft.com/office/drawing/2014/main" id="{84465C54-EEA6-ABF7-6547-5CA48FF012C3}"/>
              </a:ext>
            </a:extLst>
          </p:cNvPr>
          <p:cNvGrpSpPr/>
          <p:nvPr/>
        </p:nvGrpSpPr>
        <p:grpSpPr>
          <a:xfrm>
            <a:off x="6281966" y="6440230"/>
            <a:ext cx="117950" cy="88316"/>
            <a:chOff x="4753187" y="6393365"/>
            <a:chExt cx="117950" cy="88316"/>
          </a:xfrm>
        </p:grpSpPr>
        <p:sp>
          <p:nvSpPr>
            <p:cNvPr id="222" name="Arrow: Down 221">
              <a:extLst>
                <a:ext uri="{FF2B5EF4-FFF2-40B4-BE49-F238E27FC236}">
                  <a16:creationId xmlns:a16="http://schemas.microsoft.com/office/drawing/2014/main" id="{93583F97-8E54-4776-B632-6CAD57C32ABA}"/>
                </a:ext>
              </a:extLst>
            </p:cNvPr>
            <p:cNvSpPr/>
            <p:nvPr/>
          </p:nvSpPr>
          <p:spPr>
            <a:xfrm>
              <a:off x="4753187" y="6422804"/>
              <a:ext cx="69254" cy="58877"/>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23" name="Arrow: Down 222">
              <a:extLst>
                <a:ext uri="{FF2B5EF4-FFF2-40B4-BE49-F238E27FC236}">
                  <a16:creationId xmlns:a16="http://schemas.microsoft.com/office/drawing/2014/main" id="{6E25520D-9D34-7016-D8F6-34FC9737FA34}"/>
                </a:ext>
              </a:extLst>
            </p:cNvPr>
            <p:cNvSpPr/>
            <p:nvPr/>
          </p:nvSpPr>
          <p:spPr>
            <a:xfrm rot="10800000">
              <a:off x="4801883" y="6393365"/>
              <a:ext cx="69254" cy="58877"/>
            </a:xfrm>
            <a:prstGeom prst="downArrow">
              <a:avLst/>
            </a:prstGeom>
            <a:solidFill>
              <a:srgbClr val="C0000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224" name="TextBox 223">
            <a:extLst>
              <a:ext uri="{FF2B5EF4-FFF2-40B4-BE49-F238E27FC236}">
                <a16:creationId xmlns:a16="http://schemas.microsoft.com/office/drawing/2014/main" id="{FBAF26E2-252D-805C-6D8D-BA79C0E54FC1}"/>
              </a:ext>
            </a:extLst>
          </p:cNvPr>
          <p:cNvSpPr txBox="1"/>
          <p:nvPr/>
        </p:nvSpPr>
        <p:spPr>
          <a:xfrm>
            <a:off x="7045674" y="6380909"/>
            <a:ext cx="426244" cy="1962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Neutr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impact</a:t>
            </a:r>
          </a:p>
        </p:txBody>
      </p:sp>
      <p:sp>
        <p:nvSpPr>
          <p:cNvPr id="225" name="TextBox 224">
            <a:extLst>
              <a:ext uri="{FF2B5EF4-FFF2-40B4-BE49-F238E27FC236}">
                <a16:creationId xmlns:a16="http://schemas.microsoft.com/office/drawing/2014/main" id="{D71B67E1-613B-FF8B-C551-83F7277A9C04}"/>
              </a:ext>
            </a:extLst>
          </p:cNvPr>
          <p:cNvSpPr txBox="1"/>
          <p:nvPr/>
        </p:nvSpPr>
        <p:spPr>
          <a:xfrm>
            <a:off x="5731232" y="6380909"/>
            <a:ext cx="426244" cy="1962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Posit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impact</a:t>
            </a:r>
          </a:p>
        </p:txBody>
      </p:sp>
      <p:grpSp>
        <p:nvGrpSpPr>
          <p:cNvPr id="226" name="Group 225">
            <a:extLst>
              <a:ext uri="{FF2B5EF4-FFF2-40B4-BE49-F238E27FC236}">
                <a16:creationId xmlns:a16="http://schemas.microsoft.com/office/drawing/2014/main" id="{3DDAD183-3243-FAAE-073D-82CC79EFBE87}"/>
              </a:ext>
            </a:extLst>
          </p:cNvPr>
          <p:cNvGrpSpPr/>
          <p:nvPr/>
        </p:nvGrpSpPr>
        <p:grpSpPr>
          <a:xfrm>
            <a:off x="5620128" y="6440230"/>
            <a:ext cx="117950" cy="88316"/>
            <a:chOff x="4753187" y="6393365"/>
            <a:chExt cx="117950" cy="88316"/>
          </a:xfrm>
          <a:solidFill>
            <a:srgbClr val="00B050"/>
          </a:solidFill>
        </p:grpSpPr>
        <p:sp>
          <p:nvSpPr>
            <p:cNvPr id="227" name="Arrow: Down 226">
              <a:extLst>
                <a:ext uri="{FF2B5EF4-FFF2-40B4-BE49-F238E27FC236}">
                  <a16:creationId xmlns:a16="http://schemas.microsoft.com/office/drawing/2014/main" id="{E201CBC4-A9C5-42DE-A117-E6B1EA525E1C}"/>
                </a:ext>
              </a:extLst>
            </p:cNvPr>
            <p:cNvSpPr/>
            <p:nvPr/>
          </p:nvSpPr>
          <p:spPr>
            <a:xfrm>
              <a:off x="4753187" y="6422804"/>
              <a:ext cx="69254" cy="58877"/>
            </a:xfrm>
            <a:prstGeom prst="downArrow">
              <a:avLst/>
            </a:prstGeom>
            <a:grp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28" name="Arrow: Down 227">
              <a:extLst>
                <a:ext uri="{FF2B5EF4-FFF2-40B4-BE49-F238E27FC236}">
                  <a16:creationId xmlns:a16="http://schemas.microsoft.com/office/drawing/2014/main" id="{E4C821B4-B918-A1B3-9CF6-21980EBF23C0}"/>
                </a:ext>
              </a:extLst>
            </p:cNvPr>
            <p:cNvSpPr/>
            <p:nvPr/>
          </p:nvSpPr>
          <p:spPr>
            <a:xfrm rot="10800000">
              <a:off x="4801883" y="6393365"/>
              <a:ext cx="69254" cy="58877"/>
            </a:xfrm>
            <a:prstGeom prst="downArrow">
              <a:avLst/>
            </a:prstGeom>
            <a:grp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229" name="Graphic 3">
            <a:extLst>
              <a:ext uri="{FF2B5EF4-FFF2-40B4-BE49-F238E27FC236}">
                <a16:creationId xmlns:a16="http://schemas.microsoft.com/office/drawing/2014/main" id="{641F55B7-7208-592C-5A2B-581A01F3318C}"/>
              </a:ext>
            </a:extLst>
          </p:cNvPr>
          <p:cNvSpPr>
            <a:spLocks/>
          </p:cNvSpPr>
          <p:nvPr/>
        </p:nvSpPr>
        <p:spPr>
          <a:xfrm>
            <a:off x="10283687" y="1827419"/>
            <a:ext cx="720035" cy="778841"/>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91440" tIns="0" rIns="9144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800" b="1" i="0" u="none" strike="noStrike" kern="1200" cap="none" spc="0" normalizeH="0" baseline="0" noProof="0" dirty="0">
                <a:solidFill>
                  <a:schemeClr val="bg1"/>
                </a:solidFill>
                <a:effectLst/>
                <a:uLnTx/>
                <a:uFillTx/>
                <a:latin typeface="Trebuchet MS"/>
                <a:ea typeface="+mn-ea"/>
                <a:cs typeface="+mn-cs"/>
              </a:rPr>
              <a:t>Details</a:t>
            </a:r>
            <a:endParaRPr kumimoji="0" lang="en-US" sz="800" b="0" i="1" u="none" strike="noStrike" kern="1200" cap="none" spc="0" normalizeH="0" baseline="0" noProof="0" dirty="0">
              <a:solidFill>
                <a:schemeClr val="bg1"/>
              </a:solidFill>
              <a:effectLst/>
              <a:uLnTx/>
              <a:uFillTx/>
              <a:latin typeface="Trebuchet MS"/>
              <a:ea typeface="+mn-ea"/>
              <a:cs typeface="+mn-cs"/>
            </a:endParaRPr>
          </a:p>
        </p:txBody>
      </p:sp>
      <p:sp>
        <p:nvSpPr>
          <p:cNvPr id="230" name="Graphic 3">
            <a:extLst>
              <a:ext uri="{FF2B5EF4-FFF2-40B4-BE49-F238E27FC236}">
                <a16:creationId xmlns:a16="http://schemas.microsoft.com/office/drawing/2014/main" id="{D4A89745-A6C3-ACCC-C3B8-894DB0E9E576}"/>
              </a:ext>
            </a:extLst>
          </p:cNvPr>
          <p:cNvSpPr>
            <a:spLocks/>
          </p:cNvSpPr>
          <p:nvPr/>
        </p:nvSpPr>
        <p:spPr>
          <a:xfrm>
            <a:off x="11065565" y="1827419"/>
            <a:ext cx="720035" cy="778841"/>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91440" tIns="0" rIns="91440" rtlCol="0" anchor="ctr"/>
          <a:lstStyle/>
          <a:p>
            <a:pPr marL="0" marR="0" lvl="0" indent="0" algn="ctr" defTabSz="914400" eaLnBrk="1" fontAlgn="auto" latinLnBrk="0" hangingPunct="1">
              <a:lnSpc>
                <a:spcPct val="100000"/>
              </a:lnSpc>
              <a:spcBef>
                <a:spcPts val="0"/>
              </a:spcBef>
              <a:spcAft>
                <a:spcPts val="200"/>
              </a:spcAft>
              <a:buClr>
                <a:srgbClr val="006C67"/>
              </a:buClr>
              <a:buSzTx/>
              <a:buFontTx/>
              <a:buNone/>
              <a:tabLst/>
              <a:defRPr/>
            </a:pPr>
            <a:r>
              <a:rPr kumimoji="0" lang="en-US" sz="800" b="1" i="0" u="none" strike="noStrike" kern="1200" cap="none" spc="0" normalizeH="0" baseline="0" noProof="0" dirty="0" err="1">
                <a:solidFill>
                  <a:schemeClr val="bg1"/>
                </a:solidFill>
                <a:effectLst/>
                <a:uLnTx/>
                <a:uFillTx/>
                <a:latin typeface="Trebuchet MS"/>
                <a:ea typeface="+mn-ea"/>
                <a:cs typeface="+mn-cs"/>
              </a:rPr>
              <a:t>Assumpti-ons</a:t>
            </a:r>
            <a:endParaRPr kumimoji="0" lang="en-US" sz="800" b="0" i="1" u="none" strike="noStrike" kern="1200" cap="none" spc="0" normalizeH="0" baseline="0" noProof="0" dirty="0">
              <a:solidFill>
                <a:schemeClr val="bg1"/>
              </a:solidFill>
              <a:effectLst/>
              <a:uLnTx/>
              <a:uFillTx/>
              <a:latin typeface="Trebuchet MS"/>
              <a:ea typeface="+mn-ea"/>
              <a:cs typeface="+mn-cs"/>
            </a:endParaRPr>
          </a:p>
        </p:txBody>
      </p:sp>
      <p:sp>
        <p:nvSpPr>
          <p:cNvPr id="231" name="Graphic 3">
            <a:extLst>
              <a:ext uri="{FF2B5EF4-FFF2-40B4-BE49-F238E27FC236}">
                <a16:creationId xmlns:a16="http://schemas.microsoft.com/office/drawing/2014/main" id="{A8A67BCC-E9C0-D2B5-8076-4A0D3A654660}"/>
              </a:ext>
            </a:extLst>
          </p:cNvPr>
          <p:cNvSpPr>
            <a:spLocks/>
          </p:cNvSpPr>
          <p:nvPr/>
        </p:nvSpPr>
        <p:spPr>
          <a:xfrm>
            <a:off x="10283687" y="2671140"/>
            <a:ext cx="720035" cy="778841"/>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91440" tIns="0" rIns="9144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800" b="1" i="0" u="none" strike="noStrike" kern="1200" cap="none" spc="0" normalizeH="0" baseline="0" noProof="0" dirty="0">
                <a:solidFill>
                  <a:schemeClr val="bg1"/>
                </a:solidFill>
                <a:effectLst/>
                <a:uLnTx/>
                <a:uFillTx/>
                <a:latin typeface="Trebuchet MS"/>
                <a:ea typeface="+mn-ea"/>
                <a:cs typeface="+mn-cs"/>
              </a:rPr>
              <a:t>Details</a:t>
            </a:r>
            <a:endParaRPr kumimoji="0" lang="en-US" sz="800" b="0" i="1" u="none" strike="noStrike" kern="1200" cap="none" spc="0" normalizeH="0" baseline="0" noProof="0" dirty="0">
              <a:solidFill>
                <a:schemeClr val="bg1"/>
              </a:solidFill>
              <a:effectLst/>
              <a:uLnTx/>
              <a:uFillTx/>
              <a:latin typeface="Trebuchet MS"/>
              <a:ea typeface="+mn-ea"/>
              <a:cs typeface="+mn-cs"/>
            </a:endParaRPr>
          </a:p>
        </p:txBody>
      </p:sp>
      <p:sp>
        <p:nvSpPr>
          <p:cNvPr id="232" name="Graphic 3">
            <a:extLst>
              <a:ext uri="{FF2B5EF4-FFF2-40B4-BE49-F238E27FC236}">
                <a16:creationId xmlns:a16="http://schemas.microsoft.com/office/drawing/2014/main" id="{C52D8EE3-FF2F-499F-F3D6-5181AC6A7279}"/>
              </a:ext>
            </a:extLst>
          </p:cNvPr>
          <p:cNvSpPr>
            <a:spLocks/>
          </p:cNvSpPr>
          <p:nvPr/>
        </p:nvSpPr>
        <p:spPr>
          <a:xfrm>
            <a:off x="11065565" y="2671140"/>
            <a:ext cx="720035" cy="778841"/>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91440" tIns="0" rIns="91440" rtlCol="0" anchor="ctr"/>
          <a:lstStyle/>
          <a:p>
            <a:pPr marL="0" marR="0" lvl="0" indent="0" algn="ctr" defTabSz="914400" eaLnBrk="1" fontAlgn="auto" latinLnBrk="0" hangingPunct="1">
              <a:lnSpc>
                <a:spcPct val="100000"/>
              </a:lnSpc>
              <a:spcBef>
                <a:spcPts val="0"/>
              </a:spcBef>
              <a:spcAft>
                <a:spcPts val="200"/>
              </a:spcAft>
              <a:buClr>
                <a:srgbClr val="006C67"/>
              </a:buClr>
              <a:buSzTx/>
              <a:buFontTx/>
              <a:buNone/>
              <a:tabLst/>
              <a:defRPr/>
            </a:pPr>
            <a:r>
              <a:rPr kumimoji="0" lang="en-US" sz="800" b="1" i="0" u="none" strike="noStrike" kern="1200" cap="none" spc="0" normalizeH="0" baseline="0" noProof="0" dirty="0" err="1">
                <a:solidFill>
                  <a:schemeClr val="bg1"/>
                </a:solidFill>
                <a:effectLst/>
                <a:uLnTx/>
                <a:uFillTx/>
                <a:latin typeface="Trebuchet MS"/>
                <a:ea typeface="+mn-ea"/>
                <a:cs typeface="+mn-cs"/>
              </a:rPr>
              <a:t>Assumpti-ons</a:t>
            </a:r>
            <a:endParaRPr kumimoji="0" lang="en-US" sz="800" b="0" i="1" u="none" strike="noStrike" kern="1200" cap="none" spc="0" normalizeH="0" baseline="0" noProof="0" dirty="0">
              <a:solidFill>
                <a:schemeClr val="bg1"/>
              </a:solidFill>
              <a:effectLst/>
              <a:uLnTx/>
              <a:uFillTx/>
              <a:latin typeface="Trebuchet MS"/>
              <a:ea typeface="+mn-ea"/>
              <a:cs typeface="+mn-cs"/>
            </a:endParaRPr>
          </a:p>
        </p:txBody>
      </p:sp>
      <p:sp>
        <p:nvSpPr>
          <p:cNvPr id="247" name="Graphic 3">
            <a:extLst>
              <a:ext uri="{FF2B5EF4-FFF2-40B4-BE49-F238E27FC236}">
                <a16:creationId xmlns:a16="http://schemas.microsoft.com/office/drawing/2014/main" id="{DA1994AB-5534-26FE-8B41-0F81BE5B2987}"/>
              </a:ext>
            </a:extLst>
          </p:cNvPr>
          <p:cNvSpPr>
            <a:spLocks/>
          </p:cNvSpPr>
          <p:nvPr/>
        </p:nvSpPr>
        <p:spPr>
          <a:xfrm>
            <a:off x="10283687" y="3519279"/>
            <a:ext cx="720035" cy="778841"/>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91440" tIns="0" rIns="91440" rtlCol="0" anchor="ctr"/>
          <a:lstStyle/>
          <a:p>
            <a:pPr marL="0" marR="0" lvl="0" indent="0" algn="ctr" defTabSz="914400" eaLnBrk="1" fontAlgn="auto" latinLnBrk="0" hangingPunct="1">
              <a:lnSpc>
                <a:spcPct val="100000"/>
              </a:lnSpc>
              <a:spcBef>
                <a:spcPts val="0"/>
              </a:spcBef>
              <a:spcAft>
                <a:spcPts val="200"/>
              </a:spcAft>
              <a:buClr>
                <a:srgbClr val="006C67"/>
              </a:buClr>
              <a:buSzTx/>
              <a:buFontTx/>
              <a:buNone/>
              <a:tabLst/>
              <a:defRPr/>
            </a:pPr>
            <a:r>
              <a:rPr kumimoji="0" lang="en-US" sz="800" b="1" i="0" u="none" strike="noStrike" kern="1200" cap="none" spc="0" normalizeH="0" baseline="0" noProof="0" dirty="0">
                <a:solidFill>
                  <a:schemeClr val="bg1"/>
                </a:solidFill>
                <a:effectLst/>
                <a:uLnTx/>
                <a:uFillTx/>
                <a:latin typeface="Trebuchet MS"/>
                <a:ea typeface="+mn-ea"/>
                <a:cs typeface="+mn-cs"/>
              </a:rPr>
              <a:t>Details</a:t>
            </a:r>
            <a:endParaRPr kumimoji="0" lang="en-US" sz="800" b="0" i="1" u="none" strike="noStrike" kern="1200" cap="none" spc="0" normalizeH="0" baseline="0" noProof="0" dirty="0">
              <a:solidFill>
                <a:schemeClr val="bg1"/>
              </a:solidFill>
              <a:effectLst/>
              <a:uLnTx/>
              <a:uFillTx/>
              <a:latin typeface="Trebuchet MS"/>
              <a:ea typeface="+mn-ea"/>
              <a:cs typeface="+mn-cs"/>
            </a:endParaRPr>
          </a:p>
        </p:txBody>
      </p:sp>
      <p:sp>
        <p:nvSpPr>
          <p:cNvPr id="248" name="Graphic 3">
            <a:extLst>
              <a:ext uri="{FF2B5EF4-FFF2-40B4-BE49-F238E27FC236}">
                <a16:creationId xmlns:a16="http://schemas.microsoft.com/office/drawing/2014/main" id="{1372BB20-2A0C-8BCA-8CF7-CF3C3B51B6A4}"/>
              </a:ext>
            </a:extLst>
          </p:cNvPr>
          <p:cNvSpPr>
            <a:spLocks/>
          </p:cNvSpPr>
          <p:nvPr/>
        </p:nvSpPr>
        <p:spPr>
          <a:xfrm>
            <a:off x="11065565" y="3519279"/>
            <a:ext cx="720035" cy="778841"/>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91440" tIns="0" rIns="91440" rtlCol="0" anchor="ctr"/>
          <a:lstStyle/>
          <a:p>
            <a:pPr marL="0" marR="0" lvl="0" indent="0" algn="ctr" defTabSz="914400" eaLnBrk="1" fontAlgn="auto" latinLnBrk="0" hangingPunct="1">
              <a:lnSpc>
                <a:spcPct val="100000"/>
              </a:lnSpc>
              <a:spcBef>
                <a:spcPts val="0"/>
              </a:spcBef>
              <a:spcAft>
                <a:spcPts val="200"/>
              </a:spcAft>
              <a:buClr>
                <a:srgbClr val="006C67"/>
              </a:buClr>
              <a:buSzTx/>
              <a:buFontTx/>
              <a:buNone/>
              <a:tabLst/>
              <a:defRPr/>
            </a:pPr>
            <a:r>
              <a:rPr kumimoji="0" lang="en-US" sz="800" b="1" i="0" u="none" strike="noStrike" kern="1200" cap="none" spc="0" normalizeH="0" baseline="0" noProof="0" dirty="0" err="1">
                <a:solidFill>
                  <a:schemeClr val="bg1"/>
                </a:solidFill>
                <a:effectLst/>
                <a:uLnTx/>
                <a:uFillTx/>
                <a:latin typeface="Trebuchet MS"/>
                <a:ea typeface="+mn-ea"/>
                <a:cs typeface="+mn-cs"/>
              </a:rPr>
              <a:t>Assumpti-ons</a:t>
            </a:r>
            <a:endParaRPr kumimoji="0" lang="en-US" sz="800" b="0" i="1" u="none" strike="noStrike" kern="1200" cap="none" spc="0" normalizeH="0" baseline="0" noProof="0" dirty="0">
              <a:solidFill>
                <a:schemeClr val="bg1"/>
              </a:solidFill>
              <a:effectLst/>
              <a:uLnTx/>
              <a:uFillTx/>
              <a:latin typeface="Trebuchet MS"/>
              <a:ea typeface="+mn-ea"/>
              <a:cs typeface="+mn-cs"/>
            </a:endParaRPr>
          </a:p>
        </p:txBody>
      </p:sp>
      <p:sp>
        <p:nvSpPr>
          <p:cNvPr id="249" name="Graphic 3">
            <a:hlinkClick r:id="rId8" action="ppaction://hlinksldjump"/>
            <a:extLst>
              <a:ext uri="{FF2B5EF4-FFF2-40B4-BE49-F238E27FC236}">
                <a16:creationId xmlns:a16="http://schemas.microsoft.com/office/drawing/2014/main" id="{3D0E8C06-32DF-8C9F-6985-70532B168898}"/>
              </a:ext>
            </a:extLst>
          </p:cNvPr>
          <p:cNvSpPr>
            <a:spLocks/>
          </p:cNvSpPr>
          <p:nvPr/>
        </p:nvSpPr>
        <p:spPr>
          <a:xfrm>
            <a:off x="10283687" y="4420427"/>
            <a:ext cx="720035" cy="778841"/>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91440" tIns="0" rIns="91440" rtlCol="0" anchor="ctr"/>
          <a:lstStyle/>
          <a:p>
            <a:pPr marL="0" marR="0" lvl="0" indent="0" algn="ctr" defTabSz="914400" eaLnBrk="1" fontAlgn="auto" latinLnBrk="0" hangingPunct="1">
              <a:lnSpc>
                <a:spcPct val="100000"/>
              </a:lnSpc>
              <a:spcBef>
                <a:spcPts val="0"/>
              </a:spcBef>
              <a:spcAft>
                <a:spcPts val="200"/>
              </a:spcAft>
              <a:buClr>
                <a:srgbClr val="006C67"/>
              </a:buClr>
              <a:buSzTx/>
              <a:buFontTx/>
              <a:buNone/>
              <a:tabLst/>
              <a:defRPr/>
            </a:pPr>
            <a:r>
              <a:rPr kumimoji="0" lang="en-US" sz="800" b="1" i="0" u="none" strike="noStrike" kern="1200" cap="none" spc="0" normalizeH="0" baseline="0" noProof="0" dirty="0">
                <a:solidFill>
                  <a:schemeClr val="bg1"/>
                </a:solidFill>
                <a:effectLst/>
                <a:uLnTx/>
                <a:uFillTx/>
                <a:latin typeface="Trebuchet MS"/>
                <a:ea typeface="+mn-ea"/>
                <a:cs typeface="+mn-cs"/>
              </a:rPr>
              <a:t>Details</a:t>
            </a:r>
            <a:endParaRPr kumimoji="0" lang="en-US" sz="800" b="0" i="1" u="none" strike="noStrike" kern="1200" cap="none" spc="0" normalizeH="0" baseline="0" noProof="0" dirty="0">
              <a:solidFill>
                <a:schemeClr val="bg1"/>
              </a:solidFill>
              <a:effectLst/>
              <a:uLnTx/>
              <a:uFillTx/>
              <a:latin typeface="Trebuchet MS"/>
              <a:ea typeface="+mn-ea"/>
              <a:cs typeface="+mn-cs"/>
            </a:endParaRPr>
          </a:p>
        </p:txBody>
      </p:sp>
      <p:sp>
        <p:nvSpPr>
          <p:cNvPr id="250" name="Graphic 3">
            <a:hlinkClick r:id="rId9" action="ppaction://hlinksldjump"/>
            <a:extLst>
              <a:ext uri="{FF2B5EF4-FFF2-40B4-BE49-F238E27FC236}">
                <a16:creationId xmlns:a16="http://schemas.microsoft.com/office/drawing/2014/main" id="{5BC8C70F-7714-F600-43E0-EF8139E0DBC9}"/>
              </a:ext>
            </a:extLst>
          </p:cNvPr>
          <p:cNvSpPr>
            <a:spLocks/>
          </p:cNvSpPr>
          <p:nvPr/>
        </p:nvSpPr>
        <p:spPr>
          <a:xfrm>
            <a:off x="11065565" y="4420427"/>
            <a:ext cx="720035" cy="778841"/>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91440" tIns="0" rIns="91440" rtlCol="0" anchor="ctr"/>
          <a:lstStyle/>
          <a:p>
            <a:pPr marL="0" marR="0" lvl="0" indent="0" algn="ctr" defTabSz="914400" eaLnBrk="1" fontAlgn="auto" latinLnBrk="0" hangingPunct="1">
              <a:lnSpc>
                <a:spcPct val="100000"/>
              </a:lnSpc>
              <a:spcBef>
                <a:spcPts val="0"/>
              </a:spcBef>
              <a:spcAft>
                <a:spcPts val="200"/>
              </a:spcAft>
              <a:buClr>
                <a:srgbClr val="006C67"/>
              </a:buClr>
              <a:buSzTx/>
              <a:buFontTx/>
              <a:buNone/>
              <a:tabLst/>
              <a:defRPr/>
            </a:pPr>
            <a:r>
              <a:rPr kumimoji="0" lang="en-US" sz="800" b="1" i="0" u="none" strike="noStrike" kern="1200" cap="none" spc="0" normalizeH="0" baseline="0" noProof="0" dirty="0" err="1">
                <a:solidFill>
                  <a:schemeClr val="bg1"/>
                </a:solidFill>
                <a:effectLst/>
                <a:uLnTx/>
                <a:uFillTx/>
                <a:latin typeface="Trebuchet MS"/>
                <a:ea typeface="+mn-ea"/>
                <a:cs typeface="+mn-cs"/>
              </a:rPr>
              <a:t>Assumpti-ons</a:t>
            </a:r>
            <a:endParaRPr kumimoji="0" lang="en-US" sz="800" b="0" i="1" u="none" strike="noStrike" kern="1200" cap="none" spc="0" normalizeH="0" baseline="0" noProof="0" dirty="0">
              <a:solidFill>
                <a:schemeClr val="bg1"/>
              </a:solidFill>
              <a:effectLst/>
              <a:uLnTx/>
              <a:uFillTx/>
              <a:latin typeface="Trebuchet MS"/>
              <a:ea typeface="+mn-ea"/>
              <a:cs typeface="+mn-cs"/>
            </a:endParaRPr>
          </a:p>
        </p:txBody>
      </p:sp>
      <p:sp>
        <p:nvSpPr>
          <p:cNvPr id="251" name="Graphic 3">
            <a:extLst>
              <a:ext uri="{FF2B5EF4-FFF2-40B4-BE49-F238E27FC236}">
                <a16:creationId xmlns:a16="http://schemas.microsoft.com/office/drawing/2014/main" id="{D76B9705-97BC-D689-9A30-2E93487FC0B5}"/>
              </a:ext>
            </a:extLst>
          </p:cNvPr>
          <p:cNvSpPr>
            <a:spLocks/>
          </p:cNvSpPr>
          <p:nvPr/>
        </p:nvSpPr>
        <p:spPr>
          <a:xfrm>
            <a:off x="10283687" y="5299488"/>
            <a:ext cx="720035" cy="778841"/>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91440" tIns="0" rIns="91440" rtlCol="0" anchor="ctr"/>
          <a:lstStyle/>
          <a:p>
            <a:pPr marL="0" marR="0" lvl="0" indent="0" algn="ctr" defTabSz="914400" eaLnBrk="1" fontAlgn="auto" latinLnBrk="0" hangingPunct="1">
              <a:lnSpc>
                <a:spcPct val="100000"/>
              </a:lnSpc>
              <a:spcBef>
                <a:spcPts val="0"/>
              </a:spcBef>
              <a:spcAft>
                <a:spcPts val="200"/>
              </a:spcAft>
              <a:buClr>
                <a:srgbClr val="006C67"/>
              </a:buClr>
              <a:buSzTx/>
              <a:buFontTx/>
              <a:buNone/>
              <a:tabLst/>
              <a:defRPr/>
            </a:pPr>
            <a:r>
              <a:rPr kumimoji="0" lang="en-US" sz="800" b="1" i="0" u="none" strike="noStrike" kern="1200" cap="none" spc="0" normalizeH="0" baseline="0" noProof="0" dirty="0">
                <a:solidFill>
                  <a:schemeClr val="bg1"/>
                </a:solidFill>
                <a:effectLst/>
                <a:uLnTx/>
                <a:uFillTx/>
                <a:latin typeface="Trebuchet MS"/>
                <a:ea typeface="+mn-ea"/>
                <a:cs typeface="+mn-cs"/>
              </a:rPr>
              <a:t>Details</a:t>
            </a:r>
            <a:endParaRPr kumimoji="0" lang="en-US" sz="800" b="0" i="1" u="none" strike="noStrike" kern="1200" cap="none" spc="0" normalizeH="0" baseline="0" noProof="0" dirty="0">
              <a:solidFill>
                <a:schemeClr val="bg1"/>
              </a:solidFill>
              <a:effectLst/>
              <a:uLnTx/>
              <a:uFillTx/>
              <a:latin typeface="Trebuchet MS"/>
              <a:ea typeface="+mn-ea"/>
              <a:cs typeface="+mn-cs"/>
            </a:endParaRPr>
          </a:p>
        </p:txBody>
      </p:sp>
      <p:sp>
        <p:nvSpPr>
          <p:cNvPr id="252" name="Graphic 3">
            <a:extLst>
              <a:ext uri="{FF2B5EF4-FFF2-40B4-BE49-F238E27FC236}">
                <a16:creationId xmlns:a16="http://schemas.microsoft.com/office/drawing/2014/main" id="{5B39C885-B103-C29A-EE3C-471F3F14A7C0}"/>
              </a:ext>
            </a:extLst>
          </p:cNvPr>
          <p:cNvSpPr>
            <a:spLocks/>
          </p:cNvSpPr>
          <p:nvPr/>
        </p:nvSpPr>
        <p:spPr>
          <a:xfrm>
            <a:off x="11065565" y="5299488"/>
            <a:ext cx="720035" cy="778841"/>
          </a:xfrm>
          <a:prstGeom prst="rect">
            <a:avLst/>
          </a:prstGeom>
          <a:solidFill>
            <a:schemeClr val="tx1">
              <a:lumMod val="65000"/>
              <a:lumOff val="35000"/>
            </a:schemeClr>
          </a:solidFill>
          <a:ln w="0" cap="flat">
            <a:noFill/>
            <a:prstDash val="solid"/>
            <a:miter/>
          </a:ln>
          <a:scene3d>
            <a:camera prst="orthographicFront"/>
            <a:lightRig rig="threePt" dir="t"/>
          </a:scene3d>
          <a:sp3d>
            <a:bevelT prst="angle"/>
          </a:sp3d>
        </p:spPr>
        <p:txBody>
          <a:bodyPr lIns="91440" tIns="0" rIns="91440" rtlCol="0" anchor="ctr"/>
          <a:lstStyle/>
          <a:p>
            <a:pPr marL="0" marR="0" lvl="0" indent="0" algn="ctr" defTabSz="914400" eaLnBrk="1" fontAlgn="auto" latinLnBrk="0" hangingPunct="1">
              <a:lnSpc>
                <a:spcPct val="100000"/>
              </a:lnSpc>
              <a:spcBef>
                <a:spcPts val="0"/>
              </a:spcBef>
              <a:spcAft>
                <a:spcPts val="200"/>
              </a:spcAft>
              <a:buClr>
                <a:srgbClr val="006C67"/>
              </a:buClr>
              <a:buSzTx/>
              <a:buFontTx/>
              <a:buNone/>
              <a:tabLst/>
              <a:defRPr/>
            </a:pPr>
            <a:r>
              <a:rPr kumimoji="0" lang="en-US" sz="800" b="1" i="0" u="none" strike="noStrike" kern="1200" cap="none" spc="0" normalizeH="0" baseline="0" noProof="0" dirty="0" err="1">
                <a:solidFill>
                  <a:schemeClr val="bg1"/>
                </a:solidFill>
                <a:effectLst/>
                <a:uLnTx/>
                <a:uFillTx/>
                <a:latin typeface="Trebuchet MS"/>
                <a:ea typeface="+mn-ea"/>
                <a:cs typeface="+mn-cs"/>
              </a:rPr>
              <a:t>Assumpti-ons</a:t>
            </a:r>
            <a:endParaRPr kumimoji="0" lang="en-US" sz="800" b="0" i="1" u="none" strike="noStrike" kern="1200" cap="none" spc="0" normalizeH="0" baseline="0" noProof="0" dirty="0">
              <a:solidFill>
                <a:schemeClr val="bg1"/>
              </a:solidFill>
              <a:effectLst/>
              <a:uLnTx/>
              <a:uFillTx/>
              <a:latin typeface="Trebuchet MS"/>
              <a:ea typeface="+mn-ea"/>
              <a:cs typeface="+mn-cs"/>
            </a:endParaRPr>
          </a:p>
        </p:txBody>
      </p:sp>
      <p:sp>
        <p:nvSpPr>
          <p:cNvPr id="258" name="Graphic 3">
            <a:extLst>
              <a:ext uri="{FF2B5EF4-FFF2-40B4-BE49-F238E27FC236}">
                <a16:creationId xmlns:a16="http://schemas.microsoft.com/office/drawing/2014/main" id="{3AB8B696-9055-9BEA-D175-7A8A46B95FA4}"/>
              </a:ext>
            </a:extLst>
          </p:cNvPr>
          <p:cNvSpPr>
            <a:spLocks/>
          </p:cNvSpPr>
          <p:nvPr/>
        </p:nvSpPr>
        <p:spPr>
          <a:xfrm>
            <a:off x="207618" y="625944"/>
            <a:ext cx="4430644" cy="265277"/>
          </a:xfrm>
          <a:prstGeom prst="roundRect">
            <a:avLst>
              <a:gd name="adj" fmla="val 6274"/>
            </a:avLst>
          </a:prstGeom>
          <a:noFill/>
          <a:ln w="0" cap="flat">
            <a:noFill/>
            <a:prstDash val="solid"/>
            <a:miter/>
          </a:ln>
        </p:spPr>
        <p:txBody>
          <a:bodyPr l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2"/>
                </a:solidFill>
                <a:effectLst/>
                <a:uLnTx/>
                <a:uFillTx/>
                <a:latin typeface="Trebuchet MS"/>
                <a:ea typeface="+mn-ea"/>
                <a:cs typeface="Arial"/>
                <a:sym typeface="Arial"/>
              </a:rPr>
              <a:t>Expected impacts by policy lever, Riyadh, 2030 </a:t>
            </a:r>
          </a:p>
        </p:txBody>
      </p:sp>
      <p:sp>
        <p:nvSpPr>
          <p:cNvPr id="259" name="Graphic 3">
            <a:hlinkClick r:id="rId10" action="ppaction://hlinksldjump"/>
            <a:extLst>
              <a:ext uri="{FF2B5EF4-FFF2-40B4-BE49-F238E27FC236}">
                <a16:creationId xmlns:a16="http://schemas.microsoft.com/office/drawing/2014/main" id="{89EC3DB8-2B0D-2DBE-5A65-D661F7DB63D6}"/>
              </a:ext>
            </a:extLst>
          </p:cNvPr>
          <p:cNvSpPr>
            <a:spLocks/>
          </p:cNvSpPr>
          <p:nvPr/>
        </p:nvSpPr>
        <p:spPr>
          <a:xfrm>
            <a:off x="10283687" y="1420241"/>
            <a:ext cx="1501913" cy="364385"/>
          </a:xfrm>
          <a:prstGeom prst="rect">
            <a:avLst/>
          </a:prstGeom>
          <a:solidFill>
            <a:schemeClr val="tx2"/>
          </a:solidFill>
          <a:ln w="0" cap="flat">
            <a:noFill/>
            <a:prstDash val="solid"/>
            <a:miter/>
          </a:ln>
          <a:scene3d>
            <a:camera prst="orthographicFront"/>
            <a:lightRig rig="threePt" dir="t"/>
          </a:scene3d>
          <a:sp3d>
            <a:bevelT prst="angle"/>
          </a:sp3d>
        </p:spPr>
        <p:txBody>
          <a:bodyPr lIns="91440" tIns="0" rIns="91440" rtlCol="0" anchor="ctr"/>
          <a:lstStyle/>
          <a:p>
            <a:pPr marL="0" marR="0" lvl="0" indent="0" algn="ctr" defTabSz="914400" eaLnBrk="1" fontAlgn="auto" latinLnBrk="0" hangingPunct="1">
              <a:lnSpc>
                <a:spcPct val="100000"/>
              </a:lnSpc>
              <a:spcBef>
                <a:spcPts val="0"/>
              </a:spcBef>
              <a:spcAft>
                <a:spcPts val="200"/>
              </a:spcAft>
              <a:buClr>
                <a:srgbClr val="006C67"/>
              </a:buClr>
              <a:buSzTx/>
              <a:buFontTx/>
              <a:buNone/>
              <a:tabLst/>
              <a:defRPr/>
            </a:pPr>
            <a:r>
              <a:rPr lang="en-US" sz="1000" b="1" dirty="0">
                <a:solidFill>
                  <a:schemeClr val="bg1"/>
                </a:solidFill>
                <a:latin typeface="Trebuchet MS"/>
              </a:rPr>
              <a:t>Extended indicator impacts</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260" name="Rectangle 259">
            <a:extLst>
              <a:ext uri="{FF2B5EF4-FFF2-40B4-BE49-F238E27FC236}">
                <a16:creationId xmlns:a16="http://schemas.microsoft.com/office/drawing/2014/main" id="{D259C7A0-59BD-70CC-56B7-DD8F2D76D95F}"/>
              </a:ext>
            </a:extLst>
          </p:cNvPr>
          <p:cNvSpPr/>
          <p:nvPr/>
        </p:nvSpPr>
        <p:spPr>
          <a:xfrm>
            <a:off x="0" y="0"/>
            <a:ext cx="12192000" cy="494748"/>
          </a:xfrm>
          <a:prstGeom prst="rect">
            <a:avLst/>
          </a:prstGeom>
          <a:gradFill>
            <a:gsLst>
              <a:gs pos="6322">
                <a:schemeClr val="accent2"/>
              </a:gs>
              <a:gs pos="62000">
                <a:schemeClr val="bg2">
                  <a:lumMod val="50000"/>
                  <a:alpha val="57000"/>
                </a:schemeClr>
              </a:gs>
              <a:gs pos="100000">
                <a:schemeClr val="bg1">
                  <a:alpha val="0"/>
                </a:schemeClr>
              </a:gs>
            </a:gsLst>
            <a:lin ang="0" scaled="1"/>
          </a:gra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274320" tIns="91440" rIns="182880" bIns="91440" numCol="1" spcCol="0" rtlCol="0" fromWordArt="0" anchor="ctr" anchorCtr="0" forceAA="0" compatLnSpc="1">
            <a:prstTxWarp prst="textNoShape">
              <a:avLst/>
            </a:prstTxWarp>
            <a:noAutofit/>
          </a:bodyPr>
          <a:lstStyle/>
          <a:p>
            <a:pPr algn="l">
              <a:buClr>
                <a:srgbClr val="006C67"/>
              </a:buClr>
            </a:pPr>
            <a:r>
              <a:rPr lang="en-GB" sz="1400" b="1" dirty="0">
                <a:solidFill>
                  <a:schemeClr val="bg1"/>
                </a:solidFill>
              </a:rPr>
              <a:t>                 </a:t>
            </a:r>
            <a:r>
              <a:rPr lang="en-GB" sz="1400" b="1" dirty="0" err="1">
                <a:solidFill>
                  <a:schemeClr val="bg1"/>
                </a:solidFill>
              </a:rPr>
              <a:t>MoMAH</a:t>
            </a:r>
            <a:r>
              <a:rPr lang="en-GB" sz="1400" b="1" dirty="0">
                <a:solidFill>
                  <a:schemeClr val="bg1"/>
                </a:solidFill>
              </a:rPr>
              <a:t> - Decision Support System</a:t>
            </a:r>
          </a:p>
        </p:txBody>
      </p:sp>
      <p:pic>
        <p:nvPicPr>
          <p:cNvPr id="261" name="Graphic 260">
            <a:hlinkClick r:id="rId11" action="ppaction://hlinksldjump"/>
            <a:extLst>
              <a:ext uri="{FF2B5EF4-FFF2-40B4-BE49-F238E27FC236}">
                <a16:creationId xmlns:a16="http://schemas.microsoft.com/office/drawing/2014/main" id="{2EA21F9D-F6BC-D938-FDF9-10025558929D}"/>
              </a:ext>
            </a:extLst>
          </p:cNvPr>
          <p:cNvPicPr>
            <a:picLocks noChangeAspect="1"/>
          </p:cNvPicPr>
          <p:nvPr>
            <p:custDataLst>
              <p:tags r:id="rId2"/>
            </p:custDataLst>
          </p:nvPr>
        </p:nvPicPr>
        <p:blipFill>
          <a:blip r:embed="rId12">
            <a:extLst>
              <a:ext uri="{96DAC541-7B7A-43D3-8B79-37D633B846F1}">
                <asvg:svgBlip xmlns:asvg="http://schemas.microsoft.com/office/drawing/2016/SVG/main" r:embed="rId13"/>
              </a:ext>
            </a:extLst>
          </a:blip>
          <a:stretch>
            <a:fillRect/>
          </a:stretch>
        </p:blipFill>
        <p:spPr>
          <a:xfrm>
            <a:off x="99121" y="53075"/>
            <a:ext cx="389863" cy="389863"/>
          </a:xfrm>
          <a:prstGeom prst="rect">
            <a:avLst/>
          </a:prstGeom>
        </p:spPr>
      </p:pic>
      <p:pic>
        <p:nvPicPr>
          <p:cNvPr id="262" name="Graphic 261">
            <a:hlinkClick r:id="rId11" action="ppaction://hlinksldjump"/>
            <a:extLst>
              <a:ext uri="{FF2B5EF4-FFF2-40B4-BE49-F238E27FC236}">
                <a16:creationId xmlns:a16="http://schemas.microsoft.com/office/drawing/2014/main" id="{9F941020-EF24-AA10-D033-C07A97612042}"/>
              </a:ext>
            </a:extLst>
          </p:cNvPr>
          <p:cNvPicPr>
            <a:picLocks noChangeAspect="1"/>
          </p:cNvPicPr>
          <p:nvPr>
            <p:custDataLst>
              <p:tags r:id="rId3"/>
            </p:custDataLst>
          </p:nvPr>
        </p:nvPicPr>
        <p:blipFill>
          <a:blip r:embed="rId14">
            <a:extLst>
              <a:ext uri="{96DAC541-7B7A-43D3-8B79-37D633B846F1}">
                <asvg:svgBlip xmlns:asvg="http://schemas.microsoft.com/office/drawing/2016/SVG/main" r:embed="rId15"/>
              </a:ext>
            </a:extLst>
          </a:blip>
          <a:stretch>
            <a:fillRect/>
          </a:stretch>
        </p:blipFill>
        <p:spPr>
          <a:xfrm>
            <a:off x="583217" y="38405"/>
            <a:ext cx="426129" cy="426129"/>
          </a:xfrm>
          <a:prstGeom prst="rect">
            <a:avLst/>
          </a:prstGeom>
        </p:spPr>
      </p:pic>
    </p:spTree>
    <p:extLst>
      <p:ext uri="{BB962C8B-B14F-4D97-AF65-F5344CB8AC3E}">
        <p14:creationId xmlns:p14="http://schemas.microsoft.com/office/powerpoint/2010/main" val="35293979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30F13-2CE2-158C-D74D-E3D5D8E5604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4030DF7-4541-81D3-5EA7-AAE0EDC1AB58}"/>
              </a:ext>
            </a:extLst>
          </p:cNvPr>
          <p:cNvGraphicFramePr>
            <a:graphicFrameLocks noChangeAspect="1"/>
          </p:cNvGraphicFramePr>
          <p:nvPr>
            <p:custDataLst>
              <p:tags r:id="rId1"/>
            </p:custDataLst>
            <p:extLst>
              <p:ext uri="{D42A27DB-BD31-4B8C-83A1-F6EECF244321}">
                <p14:modId xmlns:p14="http://schemas.microsoft.com/office/powerpoint/2010/main" val="108218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3" name="think-cell data - do not delete" hidden="1">
                        <a:extLst>
                          <a:ext uri="{FF2B5EF4-FFF2-40B4-BE49-F238E27FC236}">
                            <a16:creationId xmlns:a16="http://schemas.microsoft.com/office/drawing/2014/main" id="{D2178178-886B-BF18-C6A7-5BA98F2DA3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Graphic 3">
            <a:extLst>
              <a:ext uri="{FF2B5EF4-FFF2-40B4-BE49-F238E27FC236}">
                <a16:creationId xmlns:a16="http://schemas.microsoft.com/office/drawing/2014/main" id="{73B61546-2F9C-2954-9EFF-26CE3F7D5390}"/>
              </a:ext>
            </a:extLst>
          </p:cNvPr>
          <p:cNvSpPr/>
          <p:nvPr/>
        </p:nvSpPr>
        <p:spPr>
          <a:xfrm>
            <a:off x="1438637" y="1725372"/>
            <a:ext cx="895809" cy="713232"/>
          </a:xfrm>
          <a:prstGeom prst="roundRect">
            <a:avLst>
              <a:gd name="adj" fmla="val 6274"/>
            </a:avLst>
          </a:prstGeom>
          <a:solidFill>
            <a:schemeClr val="accent2"/>
          </a:solidFill>
          <a:ln w="0" cap="flat">
            <a:noFill/>
            <a:prstDash val="solid"/>
            <a:miter/>
          </a:ln>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Supply of land for develop-ment</a:t>
            </a:r>
          </a:p>
        </p:txBody>
      </p:sp>
      <p:sp>
        <p:nvSpPr>
          <p:cNvPr id="4" name="Graphic 3">
            <a:extLst>
              <a:ext uri="{FF2B5EF4-FFF2-40B4-BE49-F238E27FC236}">
                <a16:creationId xmlns:a16="http://schemas.microsoft.com/office/drawing/2014/main" id="{64318D23-27CC-FB00-CBE3-088216F524CC}"/>
              </a:ext>
            </a:extLst>
          </p:cNvPr>
          <p:cNvSpPr/>
          <p:nvPr/>
        </p:nvSpPr>
        <p:spPr>
          <a:xfrm>
            <a:off x="2371900" y="1725372"/>
            <a:ext cx="895809" cy="713232"/>
          </a:xfrm>
          <a:prstGeom prst="roundRect">
            <a:avLst>
              <a:gd name="adj" fmla="val 6274"/>
            </a:avLst>
          </a:prstGeom>
          <a:solidFill>
            <a:schemeClr val="accent2"/>
          </a:solidFill>
          <a:ln w="0" cap="flat">
            <a:noFill/>
            <a:prstDash val="solid"/>
            <a:miter/>
          </a:ln>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Land price index </a:t>
            </a:r>
          </a:p>
        </p:txBody>
      </p:sp>
      <p:sp>
        <p:nvSpPr>
          <p:cNvPr id="5" name="Graphic 3">
            <a:extLst>
              <a:ext uri="{FF2B5EF4-FFF2-40B4-BE49-F238E27FC236}">
                <a16:creationId xmlns:a16="http://schemas.microsoft.com/office/drawing/2014/main" id="{25E61BC5-F1CF-8251-B588-343F3784406E}"/>
              </a:ext>
            </a:extLst>
          </p:cNvPr>
          <p:cNvSpPr/>
          <p:nvPr/>
        </p:nvSpPr>
        <p:spPr>
          <a:xfrm>
            <a:off x="3305163" y="1725372"/>
            <a:ext cx="895809" cy="713232"/>
          </a:xfrm>
          <a:prstGeom prst="roundRect">
            <a:avLst>
              <a:gd name="adj" fmla="val 6274"/>
            </a:avLst>
          </a:prstGeom>
          <a:solidFill>
            <a:schemeClr val="accent1">
              <a:lumMod val="90000"/>
              <a:lumOff val="10000"/>
            </a:schemeClr>
          </a:solidFill>
          <a:ln w="0" cap="flat">
            <a:noFill/>
            <a:prstDash val="solid"/>
            <a:miter/>
          </a:ln>
        </p:spPr>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Housing completions </a:t>
            </a:r>
          </a:p>
        </p:txBody>
      </p:sp>
      <p:sp>
        <p:nvSpPr>
          <p:cNvPr id="6" name="Graphic 3">
            <a:extLst>
              <a:ext uri="{FF2B5EF4-FFF2-40B4-BE49-F238E27FC236}">
                <a16:creationId xmlns:a16="http://schemas.microsoft.com/office/drawing/2014/main" id="{FC5E5E6C-5E2E-8082-A984-2C09F9A4B721}"/>
              </a:ext>
            </a:extLst>
          </p:cNvPr>
          <p:cNvSpPr/>
          <p:nvPr/>
        </p:nvSpPr>
        <p:spPr>
          <a:xfrm>
            <a:off x="4238426" y="1725372"/>
            <a:ext cx="895809" cy="713232"/>
          </a:xfrm>
          <a:prstGeom prst="roundRect">
            <a:avLst>
              <a:gd name="adj" fmla="val 6274"/>
            </a:avLst>
          </a:prstGeom>
          <a:solidFill>
            <a:schemeClr val="accent1">
              <a:lumMod val="90000"/>
              <a:lumOff val="10000"/>
            </a:schemeClr>
          </a:solidFill>
          <a:ln w="0" cap="flat">
            <a:noFill/>
            <a:prstDash val="solid"/>
            <a:miter/>
          </a:ln>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Vacancy rate </a:t>
            </a:r>
          </a:p>
        </p:txBody>
      </p:sp>
      <p:sp>
        <p:nvSpPr>
          <p:cNvPr id="7" name="Graphic 3">
            <a:extLst>
              <a:ext uri="{FF2B5EF4-FFF2-40B4-BE49-F238E27FC236}">
                <a16:creationId xmlns:a16="http://schemas.microsoft.com/office/drawing/2014/main" id="{B9782C9E-E21B-7267-E5F0-E45DCCE8F26A}"/>
              </a:ext>
            </a:extLst>
          </p:cNvPr>
          <p:cNvSpPr/>
          <p:nvPr/>
        </p:nvSpPr>
        <p:spPr>
          <a:xfrm>
            <a:off x="5171689" y="1725372"/>
            <a:ext cx="895809" cy="713232"/>
          </a:xfrm>
          <a:prstGeom prst="roundRect">
            <a:avLst>
              <a:gd name="adj" fmla="val 6274"/>
            </a:avLst>
          </a:prstGeom>
          <a:solidFill>
            <a:schemeClr val="accent1">
              <a:lumMod val="90000"/>
              <a:lumOff val="10000"/>
            </a:schemeClr>
          </a:solidFill>
          <a:ln w="0" cap="flat">
            <a:noFill/>
            <a:prstDash val="solid"/>
            <a:miter/>
          </a:ln>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Purchase price index </a:t>
            </a:r>
          </a:p>
        </p:txBody>
      </p:sp>
      <p:sp>
        <p:nvSpPr>
          <p:cNvPr id="8" name="Graphic 3">
            <a:extLst>
              <a:ext uri="{FF2B5EF4-FFF2-40B4-BE49-F238E27FC236}">
                <a16:creationId xmlns:a16="http://schemas.microsoft.com/office/drawing/2014/main" id="{79E7384E-0EF1-A8F8-7465-520139F3BC3B}"/>
              </a:ext>
            </a:extLst>
          </p:cNvPr>
          <p:cNvSpPr/>
          <p:nvPr/>
        </p:nvSpPr>
        <p:spPr>
          <a:xfrm>
            <a:off x="6104952" y="1725372"/>
            <a:ext cx="895809" cy="713232"/>
          </a:xfrm>
          <a:prstGeom prst="roundRect">
            <a:avLst>
              <a:gd name="adj" fmla="val 6274"/>
            </a:avLst>
          </a:prstGeom>
          <a:solidFill>
            <a:schemeClr val="accent1">
              <a:lumMod val="90000"/>
              <a:lumOff val="10000"/>
            </a:schemeClr>
          </a:solidFill>
          <a:ln w="0" cap="flat">
            <a:noFill/>
            <a:prstDash val="solid"/>
            <a:miter/>
          </a:ln>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Rent price index </a:t>
            </a:r>
          </a:p>
        </p:txBody>
      </p:sp>
      <p:sp>
        <p:nvSpPr>
          <p:cNvPr id="9" name="Graphic 3">
            <a:extLst>
              <a:ext uri="{FF2B5EF4-FFF2-40B4-BE49-F238E27FC236}">
                <a16:creationId xmlns:a16="http://schemas.microsoft.com/office/drawing/2014/main" id="{120AF21B-1F10-70BC-11C9-91737D559C95}"/>
              </a:ext>
            </a:extLst>
          </p:cNvPr>
          <p:cNvSpPr/>
          <p:nvPr/>
        </p:nvSpPr>
        <p:spPr>
          <a:xfrm>
            <a:off x="7038215" y="1725372"/>
            <a:ext cx="895809" cy="713232"/>
          </a:xfrm>
          <a:prstGeom prst="roundRect">
            <a:avLst>
              <a:gd name="adj" fmla="val 6274"/>
            </a:avLst>
          </a:prstGeom>
          <a:solidFill>
            <a:schemeClr val="tx2">
              <a:lumMod val="75000"/>
            </a:schemeClr>
          </a:solidFill>
          <a:ln w="0" cap="flat">
            <a:noFill/>
            <a:prstDash val="solid"/>
            <a:miter/>
          </a:ln>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Purchase to Income Ratio</a:t>
            </a:r>
          </a:p>
        </p:txBody>
      </p:sp>
      <p:sp>
        <p:nvSpPr>
          <p:cNvPr id="10" name="Graphic 3">
            <a:extLst>
              <a:ext uri="{FF2B5EF4-FFF2-40B4-BE49-F238E27FC236}">
                <a16:creationId xmlns:a16="http://schemas.microsoft.com/office/drawing/2014/main" id="{A644C3FA-59A5-4FBD-ACEF-785B565F0FC7}"/>
              </a:ext>
            </a:extLst>
          </p:cNvPr>
          <p:cNvSpPr/>
          <p:nvPr/>
        </p:nvSpPr>
        <p:spPr>
          <a:xfrm>
            <a:off x="7971478" y="1725372"/>
            <a:ext cx="895809" cy="713232"/>
          </a:xfrm>
          <a:prstGeom prst="roundRect">
            <a:avLst>
              <a:gd name="adj" fmla="val 6274"/>
            </a:avLst>
          </a:prstGeom>
          <a:solidFill>
            <a:schemeClr val="tx2">
              <a:lumMod val="75000"/>
            </a:schemeClr>
          </a:solidFill>
          <a:ln w="0" cap="flat">
            <a:noFill/>
            <a:prstDash val="solid"/>
            <a:miter/>
          </a:ln>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Rent to Income Ratio</a:t>
            </a:r>
          </a:p>
        </p:txBody>
      </p:sp>
      <p:sp>
        <p:nvSpPr>
          <p:cNvPr id="11" name="Graphic 3">
            <a:extLst>
              <a:ext uri="{FF2B5EF4-FFF2-40B4-BE49-F238E27FC236}">
                <a16:creationId xmlns:a16="http://schemas.microsoft.com/office/drawing/2014/main" id="{0E78A519-A325-7138-2B8C-93F8D400512F}"/>
              </a:ext>
            </a:extLst>
          </p:cNvPr>
          <p:cNvSpPr/>
          <p:nvPr/>
        </p:nvSpPr>
        <p:spPr>
          <a:xfrm>
            <a:off x="8904741" y="1721138"/>
            <a:ext cx="895809" cy="713232"/>
          </a:xfrm>
          <a:prstGeom prst="roundRect">
            <a:avLst>
              <a:gd name="adj" fmla="val 6274"/>
            </a:avLst>
          </a:prstGeom>
          <a:solidFill>
            <a:schemeClr val="accent3">
              <a:lumMod val="50000"/>
            </a:schemeClr>
          </a:solidFill>
          <a:ln w="0" cap="flat">
            <a:noFill/>
            <a:prstDash val="solid"/>
            <a:miter/>
          </a:ln>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Saudi ownership rate</a:t>
            </a:r>
          </a:p>
        </p:txBody>
      </p:sp>
      <p:sp>
        <p:nvSpPr>
          <p:cNvPr id="12" name="Graphic 3">
            <a:extLst>
              <a:ext uri="{FF2B5EF4-FFF2-40B4-BE49-F238E27FC236}">
                <a16:creationId xmlns:a16="http://schemas.microsoft.com/office/drawing/2014/main" id="{26B83C45-D019-C52E-27C1-8F96A40DFDC3}"/>
              </a:ext>
            </a:extLst>
          </p:cNvPr>
          <p:cNvSpPr/>
          <p:nvPr/>
        </p:nvSpPr>
        <p:spPr>
          <a:xfrm>
            <a:off x="9838004" y="1725372"/>
            <a:ext cx="895809" cy="713232"/>
          </a:xfrm>
          <a:prstGeom prst="roundRect">
            <a:avLst>
              <a:gd name="adj" fmla="val 6274"/>
            </a:avLst>
          </a:prstGeom>
          <a:solidFill>
            <a:schemeClr val="accent3">
              <a:lumMod val="50000"/>
            </a:schemeClr>
          </a:solidFill>
          <a:ln w="0" cap="flat">
            <a:noFill/>
            <a:prstDash val="solid"/>
            <a:miter/>
          </a:ln>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Foreign investment</a:t>
            </a:r>
          </a:p>
        </p:txBody>
      </p:sp>
      <p:sp>
        <p:nvSpPr>
          <p:cNvPr id="13" name="Graphic 3">
            <a:extLst>
              <a:ext uri="{FF2B5EF4-FFF2-40B4-BE49-F238E27FC236}">
                <a16:creationId xmlns:a16="http://schemas.microsoft.com/office/drawing/2014/main" id="{FFA97307-7F91-8DA1-320D-D85C1E4E2130}"/>
              </a:ext>
            </a:extLst>
          </p:cNvPr>
          <p:cNvSpPr/>
          <p:nvPr/>
        </p:nvSpPr>
        <p:spPr>
          <a:xfrm>
            <a:off x="10771262" y="1721138"/>
            <a:ext cx="895809" cy="713232"/>
          </a:xfrm>
          <a:prstGeom prst="roundRect">
            <a:avLst>
              <a:gd name="adj" fmla="val 6274"/>
            </a:avLst>
          </a:prstGeom>
          <a:solidFill>
            <a:schemeClr val="accent3">
              <a:lumMod val="50000"/>
            </a:schemeClr>
          </a:solidFill>
          <a:ln w="0" cap="flat">
            <a:noFill/>
            <a:prstDash val="solid"/>
            <a:miter/>
          </a:ln>
        </p:spPr>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Fiscal / macro outcomes</a:t>
            </a:r>
          </a:p>
        </p:txBody>
      </p:sp>
      <p:sp>
        <p:nvSpPr>
          <p:cNvPr id="14" name="Graphic 3">
            <a:extLst>
              <a:ext uri="{FF2B5EF4-FFF2-40B4-BE49-F238E27FC236}">
                <a16:creationId xmlns:a16="http://schemas.microsoft.com/office/drawing/2014/main" id="{3EC3780D-3DE6-4311-4D3A-51827B5B95A0}"/>
              </a:ext>
            </a:extLst>
          </p:cNvPr>
          <p:cNvSpPr/>
          <p:nvPr/>
        </p:nvSpPr>
        <p:spPr>
          <a:xfrm>
            <a:off x="97238" y="2486262"/>
            <a:ext cx="1295529" cy="677393"/>
          </a:xfrm>
          <a:prstGeom prst="roundRect">
            <a:avLst>
              <a:gd name="adj" fmla="val 6274"/>
            </a:avLst>
          </a:prstGeom>
          <a:solidFill>
            <a:schemeClr val="accent1"/>
          </a:solidFill>
          <a:ln w="0" cap="flat">
            <a:noFill/>
            <a:prstDash val="solid"/>
            <a:miter/>
          </a:ln>
        </p:spPr>
        <p:txBody>
          <a:bodyPr lIns="182880" tIns="0" rIns="18288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Trebuchet MS"/>
                <a:ea typeface="+mn-ea"/>
                <a:cs typeface="Arial"/>
                <a:sym typeface="Arial"/>
              </a:rPr>
              <a:t>White Land Fee</a:t>
            </a:r>
          </a:p>
        </p:txBody>
      </p:sp>
      <p:sp>
        <p:nvSpPr>
          <p:cNvPr id="15" name="Graphic 3">
            <a:extLst>
              <a:ext uri="{FF2B5EF4-FFF2-40B4-BE49-F238E27FC236}">
                <a16:creationId xmlns:a16="http://schemas.microsoft.com/office/drawing/2014/main" id="{BE3A48C2-41FC-AC16-E1D1-47FFF296A644}"/>
              </a:ext>
            </a:extLst>
          </p:cNvPr>
          <p:cNvSpPr/>
          <p:nvPr/>
        </p:nvSpPr>
        <p:spPr>
          <a:xfrm>
            <a:off x="97238" y="3233854"/>
            <a:ext cx="1295529" cy="677393"/>
          </a:xfrm>
          <a:prstGeom prst="roundRect">
            <a:avLst>
              <a:gd name="adj" fmla="val 6274"/>
            </a:avLst>
          </a:prstGeom>
          <a:solidFill>
            <a:schemeClr val="accent1"/>
          </a:solidFill>
          <a:ln w="0" cap="flat">
            <a:noFill/>
            <a:prstDash val="solid"/>
            <a:miter/>
          </a:ln>
        </p:spPr>
        <p:txBody>
          <a:bodyPr lIns="182880" tIns="0" rIns="18288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Trebuchet MS"/>
                <a:ea typeface="+mn-ea"/>
                <a:cs typeface="Arial"/>
                <a:sym typeface="Arial"/>
              </a:rPr>
              <a:t>Vacant Real Estate Tax </a:t>
            </a:r>
          </a:p>
        </p:txBody>
      </p:sp>
      <p:sp>
        <p:nvSpPr>
          <p:cNvPr id="16" name="Graphic 3">
            <a:extLst>
              <a:ext uri="{FF2B5EF4-FFF2-40B4-BE49-F238E27FC236}">
                <a16:creationId xmlns:a16="http://schemas.microsoft.com/office/drawing/2014/main" id="{9F9C4D84-7956-FC65-574C-87FB4A980566}"/>
              </a:ext>
            </a:extLst>
          </p:cNvPr>
          <p:cNvSpPr/>
          <p:nvPr/>
        </p:nvSpPr>
        <p:spPr>
          <a:xfrm>
            <a:off x="97238" y="4729037"/>
            <a:ext cx="1295529" cy="677393"/>
          </a:xfrm>
          <a:prstGeom prst="roundRect">
            <a:avLst>
              <a:gd name="adj" fmla="val 6274"/>
            </a:avLst>
          </a:prstGeom>
          <a:solidFill>
            <a:schemeClr val="accent1"/>
          </a:solidFill>
          <a:ln w="0" cap="flat">
            <a:noFill/>
            <a:prstDash val="solid"/>
            <a:miter/>
          </a:ln>
        </p:spPr>
        <p:txBody>
          <a:bodyPr lIns="182880" tIns="0" rIns="18288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Trebuchet MS"/>
                <a:ea typeface="+mn-ea"/>
                <a:cs typeface="Arial"/>
                <a:sym typeface="Arial"/>
              </a:rPr>
              <a:t>Foreign Ownership Reform</a:t>
            </a:r>
          </a:p>
        </p:txBody>
      </p:sp>
      <p:sp>
        <p:nvSpPr>
          <p:cNvPr id="17" name="Graphic 3">
            <a:extLst>
              <a:ext uri="{FF2B5EF4-FFF2-40B4-BE49-F238E27FC236}">
                <a16:creationId xmlns:a16="http://schemas.microsoft.com/office/drawing/2014/main" id="{E3C40C36-8F21-4D35-A9E4-6CFD8268EE12}"/>
              </a:ext>
            </a:extLst>
          </p:cNvPr>
          <p:cNvSpPr/>
          <p:nvPr/>
        </p:nvSpPr>
        <p:spPr>
          <a:xfrm>
            <a:off x="97238" y="5476628"/>
            <a:ext cx="1295529" cy="677393"/>
          </a:xfrm>
          <a:prstGeom prst="roundRect">
            <a:avLst>
              <a:gd name="adj" fmla="val 6274"/>
            </a:avLst>
          </a:prstGeom>
          <a:solidFill>
            <a:schemeClr val="accent1"/>
          </a:solidFill>
          <a:ln w="0" cap="flat">
            <a:noFill/>
            <a:prstDash val="solid"/>
            <a:miter/>
          </a:ln>
        </p:spPr>
        <p:txBody>
          <a:bodyPr lIns="182880" tIns="0" rIns="18288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Trebuchet MS"/>
                <a:ea typeface="+mn-ea"/>
                <a:cs typeface="Arial"/>
                <a:sym typeface="Arial"/>
              </a:rPr>
              <a:t>Rent caps &amp; landlord-tenant f</a:t>
            </a:r>
            <a:r>
              <a:rPr kumimoji="0" lang="en-GB" sz="1100" b="1" i="0" u="none" strike="noStrike" kern="0" cap="none" spc="0" normalizeH="0" baseline="0" noProof="0" err="1">
                <a:ln>
                  <a:noFill/>
                </a:ln>
                <a:solidFill>
                  <a:prstClr val="white"/>
                </a:solidFill>
                <a:effectLst/>
                <a:uLnTx/>
                <a:uFillTx/>
                <a:latin typeface="Trebuchet MS"/>
                <a:ea typeface="+mn-ea"/>
                <a:cs typeface="Arial"/>
                <a:sym typeface="Arial"/>
              </a:rPr>
              <a:t>ramework</a:t>
            </a:r>
            <a:r>
              <a:rPr kumimoji="0" lang="en-GB" sz="1100" b="1" i="0" u="none" strike="noStrike" kern="0" cap="none" spc="0" normalizeH="0" baseline="0" noProof="0">
                <a:ln>
                  <a:noFill/>
                </a:ln>
                <a:solidFill>
                  <a:prstClr val="white"/>
                </a:solidFill>
                <a:effectLst/>
                <a:uLnTx/>
                <a:uFillTx/>
                <a:latin typeface="Trebuchet MS"/>
                <a:ea typeface="+mn-ea"/>
                <a:cs typeface="Arial"/>
                <a:sym typeface="Arial"/>
              </a:rPr>
              <a:t> </a:t>
            </a:r>
          </a:p>
        </p:txBody>
      </p:sp>
      <p:sp>
        <p:nvSpPr>
          <p:cNvPr id="18" name="Graphic 3">
            <a:extLst>
              <a:ext uri="{FF2B5EF4-FFF2-40B4-BE49-F238E27FC236}">
                <a16:creationId xmlns:a16="http://schemas.microsoft.com/office/drawing/2014/main" id="{350F8FED-B87F-CCDF-8119-D5D4430BDE86}"/>
              </a:ext>
            </a:extLst>
          </p:cNvPr>
          <p:cNvSpPr/>
          <p:nvPr/>
        </p:nvSpPr>
        <p:spPr>
          <a:xfrm>
            <a:off x="97238" y="3981445"/>
            <a:ext cx="1295529" cy="677393"/>
          </a:xfrm>
          <a:prstGeom prst="roundRect">
            <a:avLst>
              <a:gd name="adj" fmla="val 6274"/>
            </a:avLst>
          </a:prstGeom>
          <a:solidFill>
            <a:schemeClr val="accent1"/>
          </a:solidFill>
          <a:ln w="0" cap="flat">
            <a:noFill/>
            <a:prstDash val="solid"/>
            <a:miter/>
          </a:ln>
        </p:spPr>
        <p:txBody>
          <a:bodyPr lIns="182880" tIns="0" rIns="18288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Trebuchet MS"/>
                <a:ea typeface="+mn-ea"/>
                <a:cs typeface="Arial"/>
                <a:sym typeface="Arial"/>
              </a:rPr>
              <a:t>Lifting land-transaction and planning restrictions</a:t>
            </a:r>
          </a:p>
        </p:txBody>
      </p:sp>
      <p:sp>
        <p:nvSpPr>
          <p:cNvPr id="19" name="Graphic 3">
            <a:extLst>
              <a:ext uri="{FF2B5EF4-FFF2-40B4-BE49-F238E27FC236}">
                <a16:creationId xmlns:a16="http://schemas.microsoft.com/office/drawing/2014/main" id="{BA4B3513-781E-9A59-17E7-BD85FD125574}"/>
              </a:ext>
            </a:extLst>
          </p:cNvPr>
          <p:cNvSpPr/>
          <p:nvPr/>
        </p:nvSpPr>
        <p:spPr>
          <a:xfrm>
            <a:off x="1438637" y="1373999"/>
            <a:ext cx="1825263" cy="306635"/>
          </a:xfrm>
          <a:prstGeom prst="roundRect">
            <a:avLst>
              <a:gd name="adj" fmla="val 6274"/>
            </a:avLst>
          </a:prstGeom>
          <a:solidFill>
            <a:schemeClr val="accent2"/>
          </a:solidFill>
          <a:ln w="0" cap="flat">
            <a:noFill/>
            <a:prstDash val="solid"/>
            <a:miter/>
          </a:ln>
        </p:spPr>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Land</a:t>
            </a:r>
          </a:p>
        </p:txBody>
      </p:sp>
      <p:sp>
        <p:nvSpPr>
          <p:cNvPr id="20" name="Graphic 3">
            <a:extLst>
              <a:ext uri="{FF2B5EF4-FFF2-40B4-BE49-F238E27FC236}">
                <a16:creationId xmlns:a16="http://schemas.microsoft.com/office/drawing/2014/main" id="{E147028C-5078-33F5-E576-662C0ABE7D15}"/>
              </a:ext>
            </a:extLst>
          </p:cNvPr>
          <p:cNvSpPr/>
          <p:nvPr/>
        </p:nvSpPr>
        <p:spPr>
          <a:xfrm>
            <a:off x="3305163" y="1373999"/>
            <a:ext cx="3692538" cy="306635"/>
          </a:xfrm>
          <a:prstGeom prst="roundRect">
            <a:avLst>
              <a:gd name="adj" fmla="val 6274"/>
            </a:avLst>
          </a:prstGeom>
          <a:solidFill>
            <a:schemeClr val="accent1">
              <a:lumMod val="90000"/>
              <a:lumOff val="10000"/>
            </a:schemeClr>
          </a:solidFill>
          <a:ln w="0" cap="flat">
            <a:noFill/>
            <a:prstDash val="solid"/>
            <a:miter/>
          </a:ln>
        </p:spPr>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Built property</a:t>
            </a:r>
          </a:p>
        </p:txBody>
      </p:sp>
      <p:sp>
        <p:nvSpPr>
          <p:cNvPr id="21" name="Graphic 3">
            <a:extLst>
              <a:ext uri="{FF2B5EF4-FFF2-40B4-BE49-F238E27FC236}">
                <a16:creationId xmlns:a16="http://schemas.microsoft.com/office/drawing/2014/main" id="{C9ABFCEB-9798-8BB9-2628-4F448A8E6CEA}"/>
              </a:ext>
            </a:extLst>
          </p:cNvPr>
          <p:cNvSpPr/>
          <p:nvPr/>
        </p:nvSpPr>
        <p:spPr>
          <a:xfrm>
            <a:off x="7038216" y="1373999"/>
            <a:ext cx="1817918" cy="306635"/>
          </a:xfrm>
          <a:prstGeom prst="roundRect">
            <a:avLst>
              <a:gd name="adj" fmla="val 6274"/>
            </a:avLst>
          </a:prstGeom>
          <a:solidFill>
            <a:schemeClr val="tx2">
              <a:lumMod val="75000"/>
            </a:schemeClr>
          </a:solidFill>
          <a:ln w="0" cap="flat">
            <a:noFill/>
            <a:prstDash val="solid"/>
            <a:miter/>
          </a:ln>
        </p:spPr>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Affordability</a:t>
            </a:r>
          </a:p>
        </p:txBody>
      </p:sp>
      <p:sp>
        <p:nvSpPr>
          <p:cNvPr id="22" name="Graphic 3">
            <a:extLst>
              <a:ext uri="{FF2B5EF4-FFF2-40B4-BE49-F238E27FC236}">
                <a16:creationId xmlns:a16="http://schemas.microsoft.com/office/drawing/2014/main" id="{D65F9828-8345-14B9-F91A-ECFA08224E30}"/>
              </a:ext>
            </a:extLst>
          </p:cNvPr>
          <p:cNvSpPr/>
          <p:nvPr/>
        </p:nvSpPr>
        <p:spPr>
          <a:xfrm>
            <a:off x="8896648" y="1373999"/>
            <a:ext cx="2761951" cy="306635"/>
          </a:xfrm>
          <a:prstGeom prst="roundRect">
            <a:avLst>
              <a:gd name="adj" fmla="val 6274"/>
            </a:avLst>
          </a:prstGeom>
          <a:solidFill>
            <a:schemeClr val="accent3">
              <a:lumMod val="50000"/>
            </a:schemeClr>
          </a:solidFill>
          <a:ln w="0" cap="flat">
            <a:noFill/>
            <a:prstDash val="solid"/>
            <a:miter/>
          </a:ln>
        </p:spPr>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Trebuchet MS"/>
                <a:ea typeface="+mn-ea"/>
                <a:cs typeface="Arial"/>
                <a:sym typeface="Arial"/>
              </a:rPr>
              <a:t>Macro &amp; fiscal</a:t>
            </a:r>
          </a:p>
        </p:txBody>
      </p:sp>
      <p:sp>
        <p:nvSpPr>
          <p:cNvPr id="23" name="Graphic 3">
            <a:extLst>
              <a:ext uri="{FF2B5EF4-FFF2-40B4-BE49-F238E27FC236}">
                <a16:creationId xmlns:a16="http://schemas.microsoft.com/office/drawing/2014/main" id="{A11D8BDD-0AD9-208F-3442-CE389330CA69}"/>
              </a:ext>
            </a:extLst>
          </p:cNvPr>
          <p:cNvSpPr/>
          <p:nvPr/>
        </p:nvSpPr>
        <p:spPr>
          <a:xfrm>
            <a:off x="1438637" y="2486999"/>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24" name="Graphic 3">
            <a:extLst>
              <a:ext uri="{FF2B5EF4-FFF2-40B4-BE49-F238E27FC236}">
                <a16:creationId xmlns:a16="http://schemas.microsoft.com/office/drawing/2014/main" id="{B913685F-3603-BD07-2B7C-CABA7261393E}"/>
              </a:ext>
            </a:extLst>
          </p:cNvPr>
          <p:cNvSpPr/>
          <p:nvPr/>
        </p:nvSpPr>
        <p:spPr>
          <a:xfrm>
            <a:off x="2371900" y="2486999"/>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Pressure eases over time</a:t>
            </a:r>
          </a:p>
        </p:txBody>
      </p:sp>
      <p:sp>
        <p:nvSpPr>
          <p:cNvPr id="25" name="Graphic 3">
            <a:extLst>
              <a:ext uri="{FF2B5EF4-FFF2-40B4-BE49-F238E27FC236}">
                <a16:creationId xmlns:a16="http://schemas.microsoft.com/office/drawing/2014/main" id="{02441DD4-25F7-E16B-BDD9-E4FE5C6EBC23}"/>
              </a:ext>
            </a:extLst>
          </p:cNvPr>
          <p:cNvSpPr/>
          <p:nvPr/>
        </p:nvSpPr>
        <p:spPr>
          <a:xfrm>
            <a:off x="3305163" y="2486999"/>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after a lag</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26" name="Graphic 3">
            <a:extLst>
              <a:ext uri="{FF2B5EF4-FFF2-40B4-BE49-F238E27FC236}">
                <a16:creationId xmlns:a16="http://schemas.microsoft.com/office/drawing/2014/main" id="{097BF19C-F2D0-A1E0-3CFD-D4C9F28296BF}"/>
              </a:ext>
            </a:extLst>
          </p:cNvPr>
          <p:cNvSpPr/>
          <p:nvPr/>
        </p:nvSpPr>
        <p:spPr>
          <a:xfrm>
            <a:off x="4238426" y="2486999"/>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Tightness eases over time</a:t>
            </a:r>
          </a:p>
        </p:txBody>
      </p:sp>
      <p:sp>
        <p:nvSpPr>
          <p:cNvPr id="27" name="Graphic 3">
            <a:extLst>
              <a:ext uri="{FF2B5EF4-FFF2-40B4-BE49-F238E27FC236}">
                <a16:creationId xmlns:a16="http://schemas.microsoft.com/office/drawing/2014/main" id="{3D3AB598-399F-8DA7-CFB9-5B06CB350ADC}"/>
              </a:ext>
            </a:extLst>
          </p:cNvPr>
          <p:cNvSpPr/>
          <p:nvPr/>
        </p:nvSpPr>
        <p:spPr>
          <a:xfrm>
            <a:off x="5171689" y="2486999"/>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Pressure eases gradually</a:t>
            </a:r>
          </a:p>
        </p:txBody>
      </p:sp>
      <p:sp>
        <p:nvSpPr>
          <p:cNvPr id="28" name="Graphic 3">
            <a:extLst>
              <a:ext uri="{FF2B5EF4-FFF2-40B4-BE49-F238E27FC236}">
                <a16:creationId xmlns:a16="http://schemas.microsoft.com/office/drawing/2014/main" id="{D7ED6675-EB88-16CB-575C-71279A3C5C6B}"/>
              </a:ext>
            </a:extLst>
          </p:cNvPr>
          <p:cNvSpPr/>
          <p:nvPr/>
        </p:nvSpPr>
        <p:spPr>
          <a:xfrm>
            <a:off x="6104952" y="2486999"/>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Pressure eases gradually</a:t>
            </a:r>
          </a:p>
        </p:txBody>
      </p:sp>
      <p:sp>
        <p:nvSpPr>
          <p:cNvPr id="29" name="Graphic 3">
            <a:extLst>
              <a:ext uri="{FF2B5EF4-FFF2-40B4-BE49-F238E27FC236}">
                <a16:creationId xmlns:a16="http://schemas.microsoft.com/office/drawing/2014/main" id="{BC60CFEC-C015-2761-80D2-7C5587453BF8}"/>
              </a:ext>
            </a:extLst>
          </p:cNvPr>
          <p:cNvSpPr/>
          <p:nvPr/>
        </p:nvSpPr>
        <p:spPr>
          <a:xfrm>
            <a:off x="7038215" y="2486999"/>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gradually</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30" name="Graphic 3">
            <a:extLst>
              <a:ext uri="{FF2B5EF4-FFF2-40B4-BE49-F238E27FC236}">
                <a16:creationId xmlns:a16="http://schemas.microsoft.com/office/drawing/2014/main" id="{33F3CD53-5E67-6310-4E6E-86B7173FA18C}"/>
              </a:ext>
            </a:extLst>
          </p:cNvPr>
          <p:cNvSpPr/>
          <p:nvPr/>
        </p:nvSpPr>
        <p:spPr>
          <a:xfrm>
            <a:off x="7971478" y="2486999"/>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gradually</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31" name="Graphic 3">
            <a:extLst>
              <a:ext uri="{FF2B5EF4-FFF2-40B4-BE49-F238E27FC236}">
                <a16:creationId xmlns:a16="http://schemas.microsoft.com/office/drawing/2014/main" id="{CFBB1CB8-7ACB-7C8B-5C7E-54D53920A657}"/>
              </a:ext>
            </a:extLst>
          </p:cNvPr>
          <p:cNvSpPr/>
          <p:nvPr/>
        </p:nvSpPr>
        <p:spPr>
          <a:xfrm>
            <a:off x="8904741" y="2482765"/>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gradually</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32" name="Graphic 3">
            <a:extLst>
              <a:ext uri="{FF2B5EF4-FFF2-40B4-BE49-F238E27FC236}">
                <a16:creationId xmlns:a16="http://schemas.microsoft.com/office/drawing/2014/main" id="{9DF0DE63-9D80-AECD-B5C8-14B91ECE93AA}"/>
              </a:ext>
            </a:extLst>
          </p:cNvPr>
          <p:cNvSpPr/>
          <p:nvPr/>
        </p:nvSpPr>
        <p:spPr>
          <a:xfrm>
            <a:off x="9838004" y="2486999"/>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No / limited impact</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33" name="Graphic 3">
            <a:extLst>
              <a:ext uri="{FF2B5EF4-FFF2-40B4-BE49-F238E27FC236}">
                <a16:creationId xmlns:a16="http://schemas.microsoft.com/office/drawing/2014/main" id="{671362BD-7A81-BCD2-AC11-314784B948B2}"/>
              </a:ext>
            </a:extLst>
          </p:cNvPr>
          <p:cNvSpPr/>
          <p:nvPr/>
        </p:nvSpPr>
        <p:spPr>
          <a:xfrm>
            <a:off x="10771262" y="2482765"/>
            <a:ext cx="895809" cy="676656"/>
          </a:xfrm>
          <a:prstGeom prst="roundRect">
            <a:avLst>
              <a:gd name="adj" fmla="val 6274"/>
            </a:avLst>
          </a:prstGeom>
          <a:solidFill>
            <a:srgbClr val="FFFFFF"/>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73152" tIns="36576" rIns="73152"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800" b="0" i="0" u="none" strike="noStrike" kern="1200" cap="none" spc="0" normalizeH="0" baseline="0" noProof="0">
                <a:ln>
                  <a:noFill/>
                </a:ln>
                <a:solidFill>
                  <a:srgbClr val="000000"/>
                </a:solidFill>
                <a:effectLst/>
                <a:uLnTx/>
                <a:uFillTx/>
                <a:latin typeface="Trebuchet MS"/>
                <a:ea typeface="+mn-ea"/>
                <a:cs typeface="+mn-cs"/>
                <a:sym typeface="Arial"/>
              </a:rPr>
              <a:t>Tax revenue rise, gradual baseline return</a:t>
            </a:r>
          </a:p>
        </p:txBody>
      </p:sp>
      <p:sp>
        <p:nvSpPr>
          <p:cNvPr id="34" name="Graphic 3">
            <a:extLst>
              <a:ext uri="{FF2B5EF4-FFF2-40B4-BE49-F238E27FC236}">
                <a16:creationId xmlns:a16="http://schemas.microsoft.com/office/drawing/2014/main" id="{98F9C632-1ED7-A212-207C-C89588245E58}"/>
              </a:ext>
            </a:extLst>
          </p:cNvPr>
          <p:cNvSpPr/>
          <p:nvPr/>
        </p:nvSpPr>
        <p:spPr>
          <a:xfrm>
            <a:off x="1438637" y="3234591"/>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No / limited impact</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35" name="Graphic 3">
            <a:extLst>
              <a:ext uri="{FF2B5EF4-FFF2-40B4-BE49-F238E27FC236}">
                <a16:creationId xmlns:a16="http://schemas.microsoft.com/office/drawing/2014/main" id="{E8CFB112-FA5A-F4A9-770F-8F4D3B23561A}"/>
              </a:ext>
            </a:extLst>
          </p:cNvPr>
          <p:cNvSpPr/>
          <p:nvPr/>
        </p:nvSpPr>
        <p:spPr>
          <a:xfrm>
            <a:off x="2371900" y="3234591"/>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Limited impact</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36" name="Graphic 3">
            <a:extLst>
              <a:ext uri="{FF2B5EF4-FFF2-40B4-BE49-F238E27FC236}">
                <a16:creationId xmlns:a16="http://schemas.microsoft.com/office/drawing/2014/main" id="{181EC2FF-64D2-0ABC-5649-999EC156BC1E}"/>
              </a:ext>
            </a:extLst>
          </p:cNvPr>
          <p:cNvSpPr/>
          <p:nvPr/>
        </p:nvSpPr>
        <p:spPr>
          <a:xfrm>
            <a:off x="3305163" y="3234591"/>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No / limited impact</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37" name="Graphic 3">
            <a:extLst>
              <a:ext uri="{FF2B5EF4-FFF2-40B4-BE49-F238E27FC236}">
                <a16:creationId xmlns:a16="http://schemas.microsoft.com/office/drawing/2014/main" id="{062D8BEB-C63D-88D2-9A4E-8C0A9862EA57}"/>
              </a:ext>
            </a:extLst>
          </p:cNvPr>
          <p:cNvSpPr/>
          <p:nvPr/>
        </p:nvSpPr>
        <p:spPr>
          <a:xfrm>
            <a:off x="4238426" y="3234591"/>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Decreases over time</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38" name="Graphic 3">
            <a:extLst>
              <a:ext uri="{FF2B5EF4-FFF2-40B4-BE49-F238E27FC236}">
                <a16:creationId xmlns:a16="http://schemas.microsoft.com/office/drawing/2014/main" id="{FF4CA00C-BC95-D4F9-3DFB-9FF54F7FFC9E}"/>
              </a:ext>
            </a:extLst>
          </p:cNvPr>
          <p:cNvSpPr/>
          <p:nvPr/>
        </p:nvSpPr>
        <p:spPr>
          <a:xfrm>
            <a:off x="5171689" y="3234591"/>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Pressure eases gradually</a:t>
            </a:r>
          </a:p>
        </p:txBody>
      </p:sp>
      <p:sp>
        <p:nvSpPr>
          <p:cNvPr id="39" name="Graphic 3">
            <a:extLst>
              <a:ext uri="{FF2B5EF4-FFF2-40B4-BE49-F238E27FC236}">
                <a16:creationId xmlns:a16="http://schemas.microsoft.com/office/drawing/2014/main" id="{96904DE4-342A-101D-022A-B88F33D99554}"/>
              </a:ext>
            </a:extLst>
          </p:cNvPr>
          <p:cNvSpPr/>
          <p:nvPr/>
        </p:nvSpPr>
        <p:spPr>
          <a:xfrm>
            <a:off x="6104952" y="3234591"/>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Pressure eases over time</a:t>
            </a:r>
          </a:p>
        </p:txBody>
      </p:sp>
      <p:sp>
        <p:nvSpPr>
          <p:cNvPr id="40" name="Graphic 3">
            <a:extLst>
              <a:ext uri="{FF2B5EF4-FFF2-40B4-BE49-F238E27FC236}">
                <a16:creationId xmlns:a16="http://schemas.microsoft.com/office/drawing/2014/main" id="{630EABB7-2F96-B6D7-E026-72507EE199F3}"/>
              </a:ext>
            </a:extLst>
          </p:cNvPr>
          <p:cNvSpPr/>
          <p:nvPr/>
        </p:nvSpPr>
        <p:spPr>
          <a:xfrm>
            <a:off x="7038215" y="3234591"/>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gradually</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41" name="Graphic 3">
            <a:extLst>
              <a:ext uri="{FF2B5EF4-FFF2-40B4-BE49-F238E27FC236}">
                <a16:creationId xmlns:a16="http://schemas.microsoft.com/office/drawing/2014/main" id="{CA19F56C-6CD0-F1B4-88E7-AACF9CC4C3EB}"/>
              </a:ext>
            </a:extLst>
          </p:cNvPr>
          <p:cNvSpPr/>
          <p:nvPr/>
        </p:nvSpPr>
        <p:spPr>
          <a:xfrm>
            <a:off x="7971478" y="3234591"/>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gradually</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42" name="Graphic 3">
            <a:extLst>
              <a:ext uri="{FF2B5EF4-FFF2-40B4-BE49-F238E27FC236}">
                <a16:creationId xmlns:a16="http://schemas.microsoft.com/office/drawing/2014/main" id="{664B2BA0-6082-4EE8-449F-3A6F7BEE4303}"/>
              </a:ext>
            </a:extLst>
          </p:cNvPr>
          <p:cNvSpPr/>
          <p:nvPr/>
        </p:nvSpPr>
        <p:spPr>
          <a:xfrm>
            <a:off x="8904741" y="3230357"/>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gradually</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43" name="Graphic 3">
            <a:extLst>
              <a:ext uri="{FF2B5EF4-FFF2-40B4-BE49-F238E27FC236}">
                <a16:creationId xmlns:a16="http://schemas.microsoft.com/office/drawing/2014/main" id="{BB121160-26B7-748A-525E-58F23C396549}"/>
              </a:ext>
            </a:extLst>
          </p:cNvPr>
          <p:cNvSpPr/>
          <p:nvPr/>
        </p:nvSpPr>
        <p:spPr>
          <a:xfrm>
            <a:off x="9838004" y="3234591"/>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No / limited impact</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44" name="Graphic 3">
            <a:extLst>
              <a:ext uri="{FF2B5EF4-FFF2-40B4-BE49-F238E27FC236}">
                <a16:creationId xmlns:a16="http://schemas.microsoft.com/office/drawing/2014/main" id="{2E43C052-B928-DC67-D226-7E8B04B1EBB7}"/>
              </a:ext>
            </a:extLst>
          </p:cNvPr>
          <p:cNvSpPr/>
          <p:nvPr/>
        </p:nvSpPr>
        <p:spPr>
          <a:xfrm>
            <a:off x="10771262" y="3230357"/>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73152" tIns="36576" rIns="73152"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800" b="0" i="0" u="none" strike="noStrike" kern="1200" cap="none" spc="0" normalizeH="0" baseline="0" noProof="0">
                <a:ln>
                  <a:noFill/>
                </a:ln>
                <a:solidFill>
                  <a:srgbClr val="000000"/>
                </a:solidFill>
                <a:effectLst/>
                <a:uLnTx/>
                <a:uFillTx/>
                <a:latin typeface="Trebuchet MS"/>
                <a:ea typeface="+mn-ea"/>
                <a:cs typeface="+mn-cs"/>
                <a:sym typeface="Arial"/>
              </a:rPr>
              <a:t>Tax revenue rise, gradual baseline return</a:t>
            </a:r>
          </a:p>
        </p:txBody>
      </p:sp>
      <p:sp>
        <p:nvSpPr>
          <p:cNvPr id="45" name="Graphic 3">
            <a:extLst>
              <a:ext uri="{FF2B5EF4-FFF2-40B4-BE49-F238E27FC236}">
                <a16:creationId xmlns:a16="http://schemas.microsoft.com/office/drawing/2014/main" id="{C668D2E6-25CF-D10D-C9B6-06E5FF3AD243}"/>
              </a:ext>
            </a:extLst>
          </p:cNvPr>
          <p:cNvSpPr/>
          <p:nvPr/>
        </p:nvSpPr>
        <p:spPr>
          <a:xfrm>
            <a:off x="1438637" y="3982182"/>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initially</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46" name="Graphic 3">
            <a:extLst>
              <a:ext uri="{FF2B5EF4-FFF2-40B4-BE49-F238E27FC236}">
                <a16:creationId xmlns:a16="http://schemas.microsoft.com/office/drawing/2014/main" id="{90E3796B-D711-2227-1C47-1E4CDAE2D583}"/>
              </a:ext>
            </a:extLst>
          </p:cNvPr>
          <p:cNvSpPr/>
          <p:nvPr/>
        </p:nvSpPr>
        <p:spPr>
          <a:xfrm>
            <a:off x="2371900" y="3982182"/>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Uplift in corridors – eases overall</a:t>
            </a:r>
          </a:p>
        </p:txBody>
      </p:sp>
      <p:sp>
        <p:nvSpPr>
          <p:cNvPr id="47" name="Graphic 3">
            <a:extLst>
              <a:ext uri="{FF2B5EF4-FFF2-40B4-BE49-F238E27FC236}">
                <a16:creationId xmlns:a16="http://schemas.microsoft.com/office/drawing/2014/main" id="{1F9FA55E-3099-5A0A-42E2-012772640CD4}"/>
              </a:ext>
            </a:extLst>
          </p:cNvPr>
          <p:cNvSpPr/>
          <p:nvPr/>
        </p:nvSpPr>
        <p:spPr>
          <a:xfrm>
            <a:off x="3305163" y="3982182"/>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after a lag</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48" name="Graphic 3">
            <a:extLst>
              <a:ext uri="{FF2B5EF4-FFF2-40B4-BE49-F238E27FC236}">
                <a16:creationId xmlns:a16="http://schemas.microsoft.com/office/drawing/2014/main" id="{07FAE024-05E0-A0A8-9AFE-05359D3DDFB4}"/>
              </a:ext>
            </a:extLst>
          </p:cNvPr>
          <p:cNvSpPr/>
          <p:nvPr/>
        </p:nvSpPr>
        <p:spPr>
          <a:xfrm>
            <a:off x="4238426" y="3982182"/>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Tightness eases over time</a:t>
            </a:r>
          </a:p>
        </p:txBody>
      </p:sp>
      <p:sp>
        <p:nvSpPr>
          <p:cNvPr id="49" name="Graphic 3">
            <a:extLst>
              <a:ext uri="{FF2B5EF4-FFF2-40B4-BE49-F238E27FC236}">
                <a16:creationId xmlns:a16="http://schemas.microsoft.com/office/drawing/2014/main" id="{EF931088-D150-4514-0058-4EAEA74CF76D}"/>
              </a:ext>
            </a:extLst>
          </p:cNvPr>
          <p:cNvSpPr/>
          <p:nvPr/>
        </p:nvSpPr>
        <p:spPr>
          <a:xfrm>
            <a:off x="5171689" y="3982182"/>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Pressure eases gradually</a:t>
            </a:r>
          </a:p>
        </p:txBody>
      </p:sp>
      <p:sp>
        <p:nvSpPr>
          <p:cNvPr id="50" name="Graphic 3">
            <a:extLst>
              <a:ext uri="{FF2B5EF4-FFF2-40B4-BE49-F238E27FC236}">
                <a16:creationId xmlns:a16="http://schemas.microsoft.com/office/drawing/2014/main" id="{E6BEAB85-F750-C293-4C26-D9106F6F1725}"/>
              </a:ext>
            </a:extLst>
          </p:cNvPr>
          <p:cNvSpPr/>
          <p:nvPr/>
        </p:nvSpPr>
        <p:spPr>
          <a:xfrm>
            <a:off x="6104952" y="3982182"/>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Pressure eases over time</a:t>
            </a:r>
          </a:p>
        </p:txBody>
      </p:sp>
      <p:sp>
        <p:nvSpPr>
          <p:cNvPr id="51" name="Graphic 3">
            <a:extLst>
              <a:ext uri="{FF2B5EF4-FFF2-40B4-BE49-F238E27FC236}">
                <a16:creationId xmlns:a16="http://schemas.microsoft.com/office/drawing/2014/main" id="{D038D3A6-6A09-4C68-79EE-1634F0888190}"/>
              </a:ext>
            </a:extLst>
          </p:cNvPr>
          <p:cNvSpPr/>
          <p:nvPr/>
        </p:nvSpPr>
        <p:spPr>
          <a:xfrm>
            <a:off x="7038215" y="3982182"/>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gradually</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52" name="Graphic 3">
            <a:extLst>
              <a:ext uri="{FF2B5EF4-FFF2-40B4-BE49-F238E27FC236}">
                <a16:creationId xmlns:a16="http://schemas.microsoft.com/office/drawing/2014/main" id="{C9EB2214-86A9-0BA1-788D-C34712B1CD11}"/>
              </a:ext>
            </a:extLst>
          </p:cNvPr>
          <p:cNvSpPr/>
          <p:nvPr/>
        </p:nvSpPr>
        <p:spPr>
          <a:xfrm>
            <a:off x="7971478" y="3982182"/>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gradually</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53" name="Graphic 3">
            <a:extLst>
              <a:ext uri="{FF2B5EF4-FFF2-40B4-BE49-F238E27FC236}">
                <a16:creationId xmlns:a16="http://schemas.microsoft.com/office/drawing/2014/main" id="{54736A74-A92E-450A-1C28-89E10F56849F}"/>
              </a:ext>
            </a:extLst>
          </p:cNvPr>
          <p:cNvSpPr/>
          <p:nvPr/>
        </p:nvSpPr>
        <p:spPr>
          <a:xfrm>
            <a:off x="8904741" y="3977948"/>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gradually</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54" name="Graphic 3">
            <a:extLst>
              <a:ext uri="{FF2B5EF4-FFF2-40B4-BE49-F238E27FC236}">
                <a16:creationId xmlns:a16="http://schemas.microsoft.com/office/drawing/2014/main" id="{4B50A46C-19AD-4000-83F0-081960719242}"/>
              </a:ext>
            </a:extLst>
          </p:cNvPr>
          <p:cNvSpPr/>
          <p:nvPr/>
        </p:nvSpPr>
        <p:spPr>
          <a:xfrm>
            <a:off x="9838004" y="3982182"/>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ncreases gradually</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55" name="Graphic 3">
            <a:extLst>
              <a:ext uri="{FF2B5EF4-FFF2-40B4-BE49-F238E27FC236}">
                <a16:creationId xmlns:a16="http://schemas.microsoft.com/office/drawing/2014/main" id="{324BDB89-6770-5950-DAE8-24D682BD0CB9}"/>
              </a:ext>
            </a:extLst>
          </p:cNvPr>
          <p:cNvSpPr/>
          <p:nvPr/>
        </p:nvSpPr>
        <p:spPr>
          <a:xfrm>
            <a:off x="10771262" y="3977948"/>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Mixed</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56" name="Graphic 3">
            <a:extLst>
              <a:ext uri="{FF2B5EF4-FFF2-40B4-BE49-F238E27FC236}">
                <a16:creationId xmlns:a16="http://schemas.microsoft.com/office/drawing/2014/main" id="{BF3C4D06-5C11-AEE4-A968-04FA8BE24ED7}"/>
              </a:ext>
            </a:extLst>
          </p:cNvPr>
          <p:cNvSpPr/>
          <p:nvPr/>
        </p:nvSpPr>
        <p:spPr>
          <a:xfrm>
            <a:off x="1438637" y="4729774"/>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No / limited impact</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57" name="Graphic 3">
            <a:extLst>
              <a:ext uri="{FF2B5EF4-FFF2-40B4-BE49-F238E27FC236}">
                <a16:creationId xmlns:a16="http://schemas.microsoft.com/office/drawing/2014/main" id="{364FA199-F8A0-2CE9-8AFB-0BA00D09DA72}"/>
              </a:ext>
            </a:extLst>
          </p:cNvPr>
          <p:cNvSpPr/>
          <p:nvPr/>
        </p:nvSpPr>
        <p:spPr>
          <a:xfrm>
            <a:off x="2371900" y="4729774"/>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Near-term pressure</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58" name="Graphic 3">
            <a:extLst>
              <a:ext uri="{FF2B5EF4-FFF2-40B4-BE49-F238E27FC236}">
                <a16:creationId xmlns:a16="http://schemas.microsoft.com/office/drawing/2014/main" id="{95CD0695-BB33-90A8-7E7A-CD1616A8EA7D}"/>
              </a:ext>
            </a:extLst>
          </p:cNvPr>
          <p:cNvSpPr/>
          <p:nvPr/>
        </p:nvSpPr>
        <p:spPr>
          <a:xfrm>
            <a:off x="3305163" y="4729774"/>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after a lag</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59" name="Graphic 3">
            <a:extLst>
              <a:ext uri="{FF2B5EF4-FFF2-40B4-BE49-F238E27FC236}">
                <a16:creationId xmlns:a16="http://schemas.microsoft.com/office/drawing/2014/main" id="{4DD23F59-4E55-B6B8-B32C-8856DDAA6E5D}"/>
              </a:ext>
            </a:extLst>
          </p:cNvPr>
          <p:cNvSpPr/>
          <p:nvPr/>
        </p:nvSpPr>
        <p:spPr>
          <a:xfrm>
            <a:off x="4238426" y="4729774"/>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Higher risk in prime segments</a:t>
            </a:r>
          </a:p>
        </p:txBody>
      </p:sp>
      <p:sp>
        <p:nvSpPr>
          <p:cNvPr id="60" name="Graphic 3">
            <a:extLst>
              <a:ext uri="{FF2B5EF4-FFF2-40B4-BE49-F238E27FC236}">
                <a16:creationId xmlns:a16="http://schemas.microsoft.com/office/drawing/2014/main" id="{9D040BA1-ABA2-9BC0-3FCD-9F453B909631}"/>
              </a:ext>
            </a:extLst>
          </p:cNvPr>
          <p:cNvSpPr/>
          <p:nvPr/>
        </p:nvSpPr>
        <p:spPr>
          <a:xfrm>
            <a:off x="5171689" y="4729774"/>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Near-term pressure</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61" name="Graphic 3">
            <a:extLst>
              <a:ext uri="{FF2B5EF4-FFF2-40B4-BE49-F238E27FC236}">
                <a16:creationId xmlns:a16="http://schemas.microsoft.com/office/drawing/2014/main" id="{A941D98B-EDE9-2C8B-C19E-78C97421EC5D}"/>
              </a:ext>
            </a:extLst>
          </p:cNvPr>
          <p:cNvSpPr/>
          <p:nvPr/>
        </p:nvSpPr>
        <p:spPr>
          <a:xfrm>
            <a:off x="6104952" y="4729774"/>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Pressure if supply lags</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62" name="Graphic 3">
            <a:extLst>
              <a:ext uri="{FF2B5EF4-FFF2-40B4-BE49-F238E27FC236}">
                <a16:creationId xmlns:a16="http://schemas.microsoft.com/office/drawing/2014/main" id="{C6A28003-808C-15AC-2C1C-5BB0514077CA}"/>
              </a:ext>
            </a:extLst>
          </p:cNvPr>
          <p:cNvSpPr/>
          <p:nvPr/>
        </p:nvSpPr>
        <p:spPr>
          <a:xfrm>
            <a:off x="7038215" y="4729774"/>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Worsens near-term</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63" name="Graphic 3">
            <a:extLst>
              <a:ext uri="{FF2B5EF4-FFF2-40B4-BE49-F238E27FC236}">
                <a16:creationId xmlns:a16="http://schemas.microsoft.com/office/drawing/2014/main" id="{29577A5A-8048-FAEA-9F0E-F224986E24D5}"/>
              </a:ext>
            </a:extLst>
          </p:cNvPr>
          <p:cNvSpPr/>
          <p:nvPr/>
        </p:nvSpPr>
        <p:spPr>
          <a:xfrm>
            <a:off x="7971478" y="4729774"/>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Pressure if supply lags</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64" name="Graphic 3">
            <a:extLst>
              <a:ext uri="{FF2B5EF4-FFF2-40B4-BE49-F238E27FC236}">
                <a16:creationId xmlns:a16="http://schemas.microsoft.com/office/drawing/2014/main" id="{4D91D4CD-08EF-5F79-27DB-89B9FB082A06}"/>
              </a:ext>
            </a:extLst>
          </p:cNvPr>
          <p:cNvSpPr/>
          <p:nvPr/>
        </p:nvSpPr>
        <p:spPr>
          <a:xfrm>
            <a:off x="8904741" y="4725540"/>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Mixed</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65" name="Graphic 3">
            <a:extLst>
              <a:ext uri="{FF2B5EF4-FFF2-40B4-BE49-F238E27FC236}">
                <a16:creationId xmlns:a16="http://schemas.microsoft.com/office/drawing/2014/main" id="{E741BABC-E36D-FEEF-1AF1-C17A6B97D0BB}"/>
              </a:ext>
            </a:extLst>
          </p:cNvPr>
          <p:cNvSpPr/>
          <p:nvPr/>
        </p:nvSpPr>
        <p:spPr>
          <a:xfrm>
            <a:off x="9838004" y="4729774"/>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FDI rises</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66" name="Graphic 3">
            <a:extLst>
              <a:ext uri="{FF2B5EF4-FFF2-40B4-BE49-F238E27FC236}">
                <a16:creationId xmlns:a16="http://schemas.microsoft.com/office/drawing/2014/main" id="{7E209918-1BF2-0476-39CD-692C92A07F53}"/>
              </a:ext>
            </a:extLst>
          </p:cNvPr>
          <p:cNvSpPr/>
          <p:nvPr/>
        </p:nvSpPr>
        <p:spPr>
          <a:xfrm>
            <a:off x="10771262" y="4725540"/>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Tax revenues  may rise</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67" name="Graphic 3">
            <a:extLst>
              <a:ext uri="{FF2B5EF4-FFF2-40B4-BE49-F238E27FC236}">
                <a16:creationId xmlns:a16="http://schemas.microsoft.com/office/drawing/2014/main" id="{2B80F369-A987-1985-4407-B8EDFF90F31E}"/>
              </a:ext>
            </a:extLst>
          </p:cNvPr>
          <p:cNvSpPr/>
          <p:nvPr/>
        </p:nvSpPr>
        <p:spPr>
          <a:xfrm>
            <a:off x="1438637" y="5477365"/>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No / limited impact</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68" name="Graphic 3">
            <a:extLst>
              <a:ext uri="{FF2B5EF4-FFF2-40B4-BE49-F238E27FC236}">
                <a16:creationId xmlns:a16="http://schemas.microsoft.com/office/drawing/2014/main" id="{80D068A3-6241-4827-519C-DA4542B7F3DF}"/>
              </a:ext>
            </a:extLst>
          </p:cNvPr>
          <p:cNvSpPr/>
          <p:nvPr/>
        </p:nvSpPr>
        <p:spPr>
          <a:xfrm>
            <a:off x="2371900" y="5477365"/>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No / limited impact</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69" name="Graphic 3">
            <a:extLst>
              <a:ext uri="{FF2B5EF4-FFF2-40B4-BE49-F238E27FC236}">
                <a16:creationId xmlns:a16="http://schemas.microsoft.com/office/drawing/2014/main" id="{EDB74687-C538-6AEA-8A60-63A36A5B06A1}"/>
              </a:ext>
            </a:extLst>
          </p:cNvPr>
          <p:cNvSpPr/>
          <p:nvPr/>
        </p:nvSpPr>
        <p:spPr>
          <a:xfrm>
            <a:off x="3305163" y="5477365"/>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May slow over time</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70" name="Graphic 3">
            <a:extLst>
              <a:ext uri="{FF2B5EF4-FFF2-40B4-BE49-F238E27FC236}">
                <a16:creationId xmlns:a16="http://schemas.microsoft.com/office/drawing/2014/main" id="{DB6D077F-913E-D28E-55CA-E348476F6BA1}"/>
              </a:ext>
            </a:extLst>
          </p:cNvPr>
          <p:cNvSpPr/>
          <p:nvPr/>
        </p:nvSpPr>
        <p:spPr>
          <a:xfrm>
            <a:off x="4238426" y="5477365"/>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Mixed</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71" name="Graphic 3">
            <a:extLst>
              <a:ext uri="{FF2B5EF4-FFF2-40B4-BE49-F238E27FC236}">
                <a16:creationId xmlns:a16="http://schemas.microsoft.com/office/drawing/2014/main" id="{55240A1E-A5EA-60CF-6611-3C1BE5A22872}"/>
              </a:ext>
            </a:extLst>
          </p:cNvPr>
          <p:cNvSpPr/>
          <p:nvPr/>
        </p:nvSpPr>
        <p:spPr>
          <a:xfrm>
            <a:off x="5171689" y="5477365"/>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No / limited impact</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72" name="Graphic 3">
            <a:extLst>
              <a:ext uri="{FF2B5EF4-FFF2-40B4-BE49-F238E27FC236}">
                <a16:creationId xmlns:a16="http://schemas.microsoft.com/office/drawing/2014/main" id="{F19AE4A4-5009-F36C-52D9-1682C331FFD0}"/>
              </a:ext>
            </a:extLst>
          </p:cNvPr>
          <p:cNvSpPr/>
          <p:nvPr/>
        </p:nvSpPr>
        <p:spPr>
          <a:xfrm>
            <a:off x="6104952" y="5477365"/>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Growth moderates for renewals</a:t>
            </a:r>
          </a:p>
        </p:txBody>
      </p:sp>
      <p:sp>
        <p:nvSpPr>
          <p:cNvPr id="73" name="Graphic 3">
            <a:extLst>
              <a:ext uri="{FF2B5EF4-FFF2-40B4-BE49-F238E27FC236}">
                <a16:creationId xmlns:a16="http://schemas.microsoft.com/office/drawing/2014/main" id="{88C48A18-9836-2578-63CA-330E80890A05}"/>
              </a:ext>
            </a:extLst>
          </p:cNvPr>
          <p:cNvSpPr/>
          <p:nvPr/>
        </p:nvSpPr>
        <p:spPr>
          <a:xfrm>
            <a:off x="7038215" y="5477365"/>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Mixed</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74" name="Graphic 3">
            <a:extLst>
              <a:ext uri="{FF2B5EF4-FFF2-40B4-BE49-F238E27FC236}">
                <a16:creationId xmlns:a16="http://schemas.microsoft.com/office/drawing/2014/main" id="{0C2DDA3D-A9AB-0D2B-E0D3-E510B9FDE01A}"/>
              </a:ext>
            </a:extLst>
          </p:cNvPr>
          <p:cNvSpPr/>
          <p:nvPr/>
        </p:nvSpPr>
        <p:spPr>
          <a:xfrm>
            <a:off x="7971478" y="5477365"/>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Improves for renewals</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75" name="Graphic 3">
            <a:extLst>
              <a:ext uri="{FF2B5EF4-FFF2-40B4-BE49-F238E27FC236}">
                <a16:creationId xmlns:a16="http://schemas.microsoft.com/office/drawing/2014/main" id="{81059373-AABD-AAAB-F158-C43D9E97A35E}"/>
              </a:ext>
            </a:extLst>
          </p:cNvPr>
          <p:cNvSpPr/>
          <p:nvPr/>
        </p:nvSpPr>
        <p:spPr>
          <a:xfrm>
            <a:off x="8904741" y="5473131"/>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Mixed</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76" name="Graphic 3">
            <a:extLst>
              <a:ext uri="{FF2B5EF4-FFF2-40B4-BE49-F238E27FC236}">
                <a16:creationId xmlns:a16="http://schemas.microsoft.com/office/drawing/2014/main" id="{3293722B-6233-BA30-B5FA-18975AE257BE}"/>
              </a:ext>
            </a:extLst>
          </p:cNvPr>
          <p:cNvSpPr/>
          <p:nvPr/>
        </p:nvSpPr>
        <p:spPr>
          <a:xfrm>
            <a:off x="9838004" y="5477365"/>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May deter rental investors</a:t>
            </a:r>
          </a:p>
        </p:txBody>
      </p:sp>
      <p:sp>
        <p:nvSpPr>
          <p:cNvPr id="77" name="Graphic 3">
            <a:extLst>
              <a:ext uri="{FF2B5EF4-FFF2-40B4-BE49-F238E27FC236}">
                <a16:creationId xmlns:a16="http://schemas.microsoft.com/office/drawing/2014/main" id="{CB1E90FB-82BF-1EF6-9CE2-4150451DDAE1}"/>
              </a:ext>
            </a:extLst>
          </p:cNvPr>
          <p:cNvSpPr/>
          <p:nvPr/>
        </p:nvSpPr>
        <p:spPr>
          <a:xfrm>
            <a:off x="10771262" y="5473131"/>
            <a:ext cx="895809" cy="676656"/>
          </a:xfrm>
          <a:prstGeom prst="roundRect">
            <a:avLst>
              <a:gd name="adj" fmla="val 6274"/>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36576" rIns="9144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r>
              <a:rPr kumimoji="0" lang="en-US" sz="900" b="0" i="0" u="none" strike="noStrike" kern="1200" cap="none" spc="0" normalizeH="0" baseline="0" noProof="0">
                <a:ln>
                  <a:noFill/>
                </a:ln>
                <a:solidFill>
                  <a:srgbClr val="000000"/>
                </a:solidFill>
                <a:effectLst/>
                <a:uLnTx/>
                <a:uFillTx/>
                <a:latin typeface="Trebuchet MS"/>
                <a:ea typeface="+mn-ea"/>
                <a:cs typeface="+mn-cs"/>
                <a:sym typeface="Arial"/>
              </a:rPr>
              <a:t>Mixed</a:t>
            </a:r>
          </a:p>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US" sz="900" b="0" i="0" u="none" strike="noStrike" kern="1200" cap="none" spc="0" normalizeH="0" baseline="0" noProof="0">
              <a:ln>
                <a:noFill/>
              </a:ln>
              <a:solidFill>
                <a:srgbClr val="000000"/>
              </a:solidFill>
              <a:effectLst/>
              <a:uLnTx/>
              <a:uFillTx/>
              <a:latin typeface="Trebuchet MS"/>
              <a:ea typeface="+mn-ea"/>
              <a:cs typeface="+mn-cs"/>
              <a:sym typeface="Arial"/>
            </a:endParaRPr>
          </a:p>
        </p:txBody>
      </p:sp>
      <p:sp>
        <p:nvSpPr>
          <p:cNvPr id="78" name="TextBox 77">
            <a:extLst>
              <a:ext uri="{FF2B5EF4-FFF2-40B4-BE49-F238E27FC236}">
                <a16:creationId xmlns:a16="http://schemas.microsoft.com/office/drawing/2014/main" id="{B8D4AB7C-0C2F-2CB6-FE60-F15516953AB3}"/>
              </a:ext>
            </a:extLst>
          </p:cNvPr>
          <p:cNvSpPr txBox="1"/>
          <p:nvPr/>
        </p:nvSpPr>
        <p:spPr>
          <a:xfrm>
            <a:off x="273262" y="1714174"/>
            <a:ext cx="1183244"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Trebuchet MS"/>
                <a:ea typeface="+mn-ea"/>
                <a:cs typeface="+mn-cs"/>
              </a:rPr>
              <a:t>Indicator impact by policy:</a:t>
            </a:r>
          </a:p>
        </p:txBody>
      </p:sp>
      <p:sp>
        <p:nvSpPr>
          <p:cNvPr id="79" name="Minus Sign 78">
            <a:extLst>
              <a:ext uri="{FF2B5EF4-FFF2-40B4-BE49-F238E27FC236}">
                <a16:creationId xmlns:a16="http://schemas.microsoft.com/office/drawing/2014/main" id="{FD97DE2D-2F5A-81C5-1CB3-037196A44847}"/>
              </a:ext>
            </a:extLst>
          </p:cNvPr>
          <p:cNvSpPr/>
          <p:nvPr/>
        </p:nvSpPr>
        <p:spPr>
          <a:xfrm>
            <a:off x="2717748" y="4785628"/>
            <a:ext cx="204113" cy="201240"/>
          </a:xfrm>
          <a:prstGeom prst="mathMinus">
            <a:avLst/>
          </a:prstGeom>
          <a:solidFill>
            <a:srgbClr val="FFCC6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DIN Next LT Arabic"/>
              <a:ea typeface="+mn-ea"/>
              <a:cs typeface="+mn-cs"/>
            </a:endParaRPr>
          </a:p>
        </p:txBody>
      </p:sp>
      <p:grpSp>
        <p:nvGrpSpPr>
          <p:cNvPr id="80" name="Group 79">
            <a:extLst>
              <a:ext uri="{FF2B5EF4-FFF2-40B4-BE49-F238E27FC236}">
                <a16:creationId xmlns:a16="http://schemas.microsoft.com/office/drawing/2014/main" id="{DB520FB6-6B90-AFA9-95EB-51510C539CD6}"/>
              </a:ext>
            </a:extLst>
          </p:cNvPr>
          <p:cNvGrpSpPr/>
          <p:nvPr/>
        </p:nvGrpSpPr>
        <p:grpSpPr>
          <a:xfrm>
            <a:off x="3061646" y="6323798"/>
            <a:ext cx="8362003" cy="436393"/>
            <a:chOff x="3061647" y="6451148"/>
            <a:chExt cx="7751928" cy="309043"/>
          </a:xfrm>
        </p:grpSpPr>
        <p:sp>
          <p:nvSpPr>
            <p:cNvPr id="81" name="Rectangle: Rounded Corners 80">
              <a:extLst>
                <a:ext uri="{FF2B5EF4-FFF2-40B4-BE49-F238E27FC236}">
                  <a16:creationId xmlns:a16="http://schemas.microsoft.com/office/drawing/2014/main" id="{63A3FC76-9B29-C317-3860-C8D06BE18F4E}"/>
                </a:ext>
              </a:extLst>
            </p:cNvPr>
            <p:cNvSpPr/>
            <p:nvPr/>
          </p:nvSpPr>
          <p:spPr>
            <a:xfrm>
              <a:off x="3084997" y="6451148"/>
              <a:ext cx="7728578" cy="309043"/>
            </a:xfrm>
            <a:prstGeom prst="roundRect">
              <a:avLst/>
            </a:prstGeom>
            <a:solidFill>
              <a:schemeClr val="bg1">
                <a:lumMod val="85000"/>
              </a:schemeClr>
            </a:solidFill>
            <a:ln w="12700" cap="rnd" cmpd="sng" algn="ctr">
              <a:solidFill>
                <a:schemeClr val="bg1">
                  <a:lumMod val="85000"/>
                </a:schemeClr>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6C67"/>
                </a:buClr>
                <a:buSzTx/>
                <a:buFontTx/>
                <a:buNone/>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82" name="Rectangle: Rounded Corners 81">
              <a:extLst>
                <a:ext uri="{FF2B5EF4-FFF2-40B4-BE49-F238E27FC236}">
                  <a16:creationId xmlns:a16="http://schemas.microsoft.com/office/drawing/2014/main" id="{FCB0C999-E203-C5A1-C620-27FBB96B4AB1}"/>
                </a:ext>
              </a:extLst>
            </p:cNvPr>
            <p:cNvSpPr/>
            <p:nvPr/>
          </p:nvSpPr>
          <p:spPr>
            <a:xfrm>
              <a:off x="3537647" y="6498916"/>
              <a:ext cx="1478853" cy="211235"/>
            </a:xfrm>
            <a:prstGeom prst="roundRect">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Positive impact</a:t>
              </a:r>
            </a:p>
          </p:txBody>
        </p:sp>
        <p:sp>
          <p:nvSpPr>
            <p:cNvPr id="83" name="Rectangle: Rounded Corners 82">
              <a:extLst>
                <a:ext uri="{FF2B5EF4-FFF2-40B4-BE49-F238E27FC236}">
                  <a16:creationId xmlns:a16="http://schemas.microsoft.com/office/drawing/2014/main" id="{A104AB09-830E-DE01-315F-D0D9EEE79EBF}"/>
                </a:ext>
              </a:extLst>
            </p:cNvPr>
            <p:cNvSpPr/>
            <p:nvPr/>
          </p:nvSpPr>
          <p:spPr>
            <a:xfrm>
              <a:off x="5125898" y="6498916"/>
              <a:ext cx="2312464" cy="211235"/>
            </a:xfrm>
            <a:prstGeom prst="roundRect">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Positive impact (lag or short-term only)</a:t>
              </a:r>
            </a:p>
          </p:txBody>
        </p:sp>
        <p:sp>
          <p:nvSpPr>
            <p:cNvPr id="84" name="Rectangle: Rounded Corners 83">
              <a:extLst>
                <a:ext uri="{FF2B5EF4-FFF2-40B4-BE49-F238E27FC236}">
                  <a16:creationId xmlns:a16="http://schemas.microsoft.com/office/drawing/2014/main" id="{A9150A3B-7912-7EC5-71F2-A0D10FE0CFFA}"/>
                </a:ext>
              </a:extLst>
            </p:cNvPr>
            <p:cNvSpPr/>
            <p:nvPr/>
          </p:nvSpPr>
          <p:spPr>
            <a:xfrm>
              <a:off x="7522633" y="6498916"/>
              <a:ext cx="1498599" cy="211235"/>
            </a:xfrm>
            <a:prstGeom prst="roundRect">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Negative impact</a:t>
              </a:r>
            </a:p>
          </p:txBody>
        </p:sp>
        <p:sp>
          <p:nvSpPr>
            <p:cNvPr id="85" name="TextBox 84">
              <a:extLst>
                <a:ext uri="{FF2B5EF4-FFF2-40B4-BE49-F238E27FC236}">
                  <a16:creationId xmlns:a16="http://schemas.microsoft.com/office/drawing/2014/main" id="{8E999930-E112-2ABB-C08A-F4958ACC0B30}"/>
                </a:ext>
              </a:extLst>
            </p:cNvPr>
            <p:cNvSpPr txBox="1"/>
            <p:nvPr/>
          </p:nvSpPr>
          <p:spPr>
            <a:xfrm>
              <a:off x="3061647" y="6510989"/>
              <a:ext cx="791570" cy="1743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000" b="1" i="0" u="none" strike="noStrike" kern="0" cap="none" spc="0" normalizeH="0" baseline="0" noProof="0">
                  <a:ln>
                    <a:noFill/>
                  </a:ln>
                  <a:solidFill>
                    <a:srgbClr val="004C48"/>
                  </a:solidFill>
                  <a:effectLst/>
                  <a:uLnTx/>
                  <a:uFillTx/>
                  <a:latin typeface="Trebuchet MS"/>
                  <a:ea typeface="+mn-ea"/>
                  <a:cs typeface="Arial" panose="020B0604020202020204" pitchFamily="34" charset="0"/>
                  <a:sym typeface="Arial" panose="020B0604020202020204" pitchFamily="34" charset="0"/>
                </a:rPr>
                <a:t>Key:</a:t>
              </a:r>
            </a:p>
          </p:txBody>
        </p:sp>
        <p:sp>
          <p:nvSpPr>
            <p:cNvPr id="86" name="Rectangle: Rounded Corners 85">
              <a:extLst>
                <a:ext uri="{FF2B5EF4-FFF2-40B4-BE49-F238E27FC236}">
                  <a16:creationId xmlns:a16="http://schemas.microsoft.com/office/drawing/2014/main" id="{4D3060F9-8CDE-1040-FABE-0F4F051BAF20}"/>
                </a:ext>
              </a:extLst>
            </p:cNvPr>
            <p:cNvSpPr/>
            <p:nvPr/>
          </p:nvSpPr>
          <p:spPr>
            <a:xfrm>
              <a:off x="9097433" y="6498916"/>
              <a:ext cx="1621367" cy="211235"/>
            </a:xfrm>
            <a:prstGeom prst="roundRect">
              <a:avLst/>
            </a:prstGeom>
            <a:solidFill>
              <a:schemeClr val="bg1"/>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Neutral / no-impact</a:t>
              </a:r>
            </a:p>
          </p:txBody>
        </p:sp>
      </p:grpSp>
      <p:grpSp>
        <p:nvGrpSpPr>
          <p:cNvPr id="87" name="Group 86">
            <a:extLst>
              <a:ext uri="{FF2B5EF4-FFF2-40B4-BE49-F238E27FC236}">
                <a16:creationId xmlns:a16="http://schemas.microsoft.com/office/drawing/2014/main" id="{6403E911-8689-96E6-EF67-541DC3C9861E}"/>
              </a:ext>
            </a:extLst>
          </p:cNvPr>
          <p:cNvGrpSpPr>
            <a:grpSpLocks/>
          </p:cNvGrpSpPr>
          <p:nvPr/>
        </p:nvGrpSpPr>
        <p:grpSpPr>
          <a:xfrm>
            <a:off x="10183852" y="2537688"/>
            <a:ext cx="204113" cy="201240"/>
            <a:chOff x="1554539" y="4084156"/>
            <a:chExt cx="361868" cy="361868"/>
          </a:xfrm>
        </p:grpSpPr>
        <p:sp>
          <p:nvSpPr>
            <p:cNvPr id="88" name="Oval 87">
              <a:extLst>
                <a:ext uri="{FF2B5EF4-FFF2-40B4-BE49-F238E27FC236}">
                  <a16:creationId xmlns:a16="http://schemas.microsoft.com/office/drawing/2014/main" id="{BD957D5D-5B82-14EE-F807-4AD5FDC1C908}"/>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89" name="Arrow: Left-Right 88">
              <a:extLst>
                <a:ext uri="{FF2B5EF4-FFF2-40B4-BE49-F238E27FC236}">
                  <a16:creationId xmlns:a16="http://schemas.microsoft.com/office/drawing/2014/main" id="{78E67FF2-066B-7390-C76C-A2B1CE9803C3}"/>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90" name="Group 89">
            <a:extLst>
              <a:ext uri="{FF2B5EF4-FFF2-40B4-BE49-F238E27FC236}">
                <a16:creationId xmlns:a16="http://schemas.microsoft.com/office/drawing/2014/main" id="{E0AF4A35-F337-42FB-82AB-B14D9E6A098B}"/>
              </a:ext>
            </a:extLst>
          </p:cNvPr>
          <p:cNvGrpSpPr>
            <a:grpSpLocks/>
          </p:cNvGrpSpPr>
          <p:nvPr/>
        </p:nvGrpSpPr>
        <p:grpSpPr>
          <a:xfrm rot="10800000">
            <a:off x="4584274" y="4785174"/>
            <a:ext cx="204113" cy="201240"/>
            <a:chOff x="3239907" y="3725616"/>
            <a:chExt cx="361868" cy="307440"/>
          </a:xfrm>
        </p:grpSpPr>
        <p:sp>
          <p:nvSpPr>
            <p:cNvPr id="91" name="Oval 90">
              <a:extLst>
                <a:ext uri="{FF2B5EF4-FFF2-40B4-BE49-F238E27FC236}">
                  <a16:creationId xmlns:a16="http://schemas.microsoft.com/office/drawing/2014/main" id="{DEF40CE6-CD9C-6AA3-83B3-4B79ECB1F039}"/>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92" name="Arrow: Down 91">
              <a:extLst>
                <a:ext uri="{FF2B5EF4-FFF2-40B4-BE49-F238E27FC236}">
                  <a16:creationId xmlns:a16="http://schemas.microsoft.com/office/drawing/2014/main" id="{12BB04A9-E640-E3A9-0759-94BC799C383E}"/>
                </a:ext>
              </a:extLst>
            </p:cNvPr>
            <p:cNvSpPr/>
            <p:nvPr/>
          </p:nvSpPr>
          <p:spPr>
            <a:xfrm>
              <a:off x="3297534" y="3787216"/>
              <a:ext cx="246615" cy="184242"/>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93" name="Group 92">
            <a:extLst>
              <a:ext uri="{FF2B5EF4-FFF2-40B4-BE49-F238E27FC236}">
                <a16:creationId xmlns:a16="http://schemas.microsoft.com/office/drawing/2014/main" id="{53EBF9F5-CE16-98D5-1DEC-CDD1D3FC3977}"/>
              </a:ext>
            </a:extLst>
          </p:cNvPr>
          <p:cNvGrpSpPr>
            <a:grpSpLocks/>
          </p:cNvGrpSpPr>
          <p:nvPr/>
        </p:nvGrpSpPr>
        <p:grpSpPr>
          <a:xfrm>
            <a:off x="1784485" y="2537688"/>
            <a:ext cx="204113" cy="201240"/>
            <a:chOff x="3239907" y="3725616"/>
            <a:chExt cx="361868" cy="307440"/>
          </a:xfrm>
        </p:grpSpPr>
        <p:sp>
          <p:nvSpPr>
            <p:cNvPr id="94" name="Oval 93">
              <a:extLst>
                <a:ext uri="{FF2B5EF4-FFF2-40B4-BE49-F238E27FC236}">
                  <a16:creationId xmlns:a16="http://schemas.microsoft.com/office/drawing/2014/main" id="{37A0256D-1B30-20EE-F7CB-A8B4238F7051}"/>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95" name="Arrow: Down 94">
              <a:extLst>
                <a:ext uri="{FF2B5EF4-FFF2-40B4-BE49-F238E27FC236}">
                  <a16:creationId xmlns:a16="http://schemas.microsoft.com/office/drawing/2014/main" id="{736C304E-B530-8419-88EF-28185651FE69}"/>
                </a:ext>
              </a:extLst>
            </p:cNvPr>
            <p:cNvSpPr/>
            <p:nvPr/>
          </p:nvSpPr>
          <p:spPr>
            <a:xfrm rot="10800000">
              <a:off x="3297534" y="3787215"/>
              <a:ext cx="246614" cy="184243"/>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96" name="Oval 95">
            <a:extLst>
              <a:ext uri="{FF2B5EF4-FFF2-40B4-BE49-F238E27FC236}">
                <a16:creationId xmlns:a16="http://schemas.microsoft.com/office/drawing/2014/main" id="{24CA8529-D37E-518C-EA46-C60C59EE6930}"/>
              </a:ext>
            </a:extLst>
          </p:cNvPr>
          <p:cNvSpPr/>
          <p:nvPr/>
        </p:nvSpPr>
        <p:spPr>
          <a:xfrm>
            <a:off x="2717748" y="253768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97" name="Arrow: Down 96">
            <a:extLst>
              <a:ext uri="{FF2B5EF4-FFF2-40B4-BE49-F238E27FC236}">
                <a16:creationId xmlns:a16="http://schemas.microsoft.com/office/drawing/2014/main" id="{AF9FDA7D-87E4-4068-0D3E-19AAC4211337}"/>
              </a:ext>
            </a:extLst>
          </p:cNvPr>
          <p:cNvSpPr/>
          <p:nvPr/>
        </p:nvSpPr>
        <p:spPr>
          <a:xfrm>
            <a:off x="2750253" y="257800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98" name="Oval 97">
            <a:extLst>
              <a:ext uri="{FF2B5EF4-FFF2-40B4-BE49-F238E27FC236}">
                <a16:creationId xmlns:a16="http://schemas.microsoft.com/office/drawing/2014/main" id="{64889E80-C5D1-92B8-BBAA-0B416E62DF51}"/>
              </a:ext>
            </a:extLst>
          </p:cNvPr>
          <p:cNvSpPr/>
          <p:nvPr/>
        </p:nvSpPr>
        <p:spPr>
          <a:xfrm>
            <a:off x="3651011" y="253768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99" name="Arrow: Down 98">
            <a:extLst>
              <a:ext uri="{FF2B5EF4-FFF2-40B4-BE49-F238E27FC236}">
                <a16:creationId xmlns:a16="http://schemas.microsoft.com/office/drawing/2014/main" id="{0686CE1C-1365-407B-0518-70F8E0893D81}"/>
              </a:ext>
            </a:extLst>
          </p:cNvPr>
          <p:cNvSpPr/>
          <p:nvPr/>
        </p:nvSpPr>
        <p:spPr>
          <a:xfrm rot="10800000">
            <a:off x="3683516" y="257800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0" name="Oval 99">
            <a:extLst>
              <a:ext uri="{FF2B5EF4-FFF2-40B4-BE49-F238E27FC236}">
                <a16:creationId xmlns:a16="http://schemas.microsoft.com/office/drawing/2014/main" id="{94EFD6A4-A2AD-AB00-9900-FD227FB7E2D6}"/>
              </a:ext>
            </a:extLst>
          </p:cNvPr>
          <p:cNvSpPr/>
          <p:nvPr/>
        </p:nvSpPr>
        <p:spPr>
          <a:xfrm>
            <a:off x="4584274" y="253768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1" name="Arrow: Down 100">
            <a:extLst>
              <a:ext uri="{FF2B5EF4-FFF2-40B4-BE49-F238E27FC236}">
                <a16:creationId xmlns:a16="http://schemas.microsoft.com/office/drawing/2014/main" id="{0F717D3B-1C5A-1081-0BD1-70DF4DBEF759}"/>
              </a:ext>
            </a:extLst>
          </p:cNvPr>
          <p:cNvSpPr/>
          <p:nvPr/>
        </p:nvSpPr>
        <p:spPr>
          <a:xfrm>
            <a:off x="4616779" y="257800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2" name="Oval 101">
            <a:extLst>
              <a:ext uri="{FF2B5EF4-FFF2-40B4-BE49-F238E27FC236}">
                <a16:creationId xmlns:a16="http://schemas.microsoft.com/office/drawing/2014/main" id="{76D1FC05-4A2A-D0AF-BEE8-4670413F5D35}"/>
              </a:ext>
            </a:extLst>
          </p:cNvPr>
          <p:cNvSpPr/>
          <p:nvPr/>
        </p:nvSpPr>
        <p:spPr>
          <a:xfrm>
            <a:off x="5517537" y="253768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3" name="Arrow: Down 102">
            <a:extLst>
              <a:ext uri="{FF2B5EF4-FFF2-40B4-BE49-F238E27FC236}">
                <a16:creationId xmlns:a16="http://schemas.microsoft.com/office/drawing/2014/main" id="{CBEAB02A-B602-6964-1F2F-2B42BE9A5449}"/>
              </a:ext>
            </a:extLst>
          </p:cNvPr>
          <p:cNvSpPr/>
          <p:nvPr/>
        </p:nvSpPr>
        <p:spPr>
          <a:xfrm>
            <a:off x="5550042" y="257800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4" name="Oval 103">
            <a:extLst>
              <a:ext uri="{FF2B5EF4-FFF2-40B4-BE49-F238E27FC236}">
                <a16:creationId xmlns:a16="http://schemas.microsoft.com/office/drawing/2014/main" id="{DA86F761-DA90-354A-E359-A10E9C14A605}"/>
              </a:ext>
            </a:extLst>
          </p:cNvPr>
          <p:cNvSpPr/>
          <p:nvPr/>
        </p:nvSpPr>
        <p:spPr>
          <a:xfrm>
            <a:off x="6450800" y="253768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5" name="Arrow: Down 104">
            <a:extLst>
              <a:ext uri="{FF2B5EF4-FFF2-40B4-BE49-F238E27FC236}">
                <a16:creationId xmlns:a16="http://schemas.microsoft.com/office/drawing/2014/main" id="{D688EB3A-5333-149C-AD91-F10DE23B56D6}"/>
              </a:ext>
            </a:extLst>
          </p:cNvPr>
          <p:cNvSpPr/>
          <p:nvPr/>
        </p:nvSpPr>
        <p:spPr>
          <a:xfrm>
            <a:off x="6483305" y="257800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6" name="Oval 105">
            <a:extLst>
              <a:ext uri="{FF2B5EF4-FFF2-40B4-BE49-F238E27FC236}">
                <a16:creationId xmlns:a16="http://schemas.microsoft.com/office/drawing/2014/main" id="{33390AEA-985F-080F-21BA-6A6F757064B7}"/>
              </a:ext>
            </a:extLst>
          </p:cNvPr>
          <p:cNvSpPr/>
          <p:nvPr/>
        </p:nvSpPr>
        <p:spPr>
          <a:xfrm>
            <a:off x="7384063" y="253768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7" name="Arrow: Down 106">
            <a:extLst>
              <a:ext uri="{FF2B5EF4-FFF2-40B4-BE49-F238E27FC236}">
                <a16:creationId xmlns:a16="http://schemas.microsoft.com/office/drawing/2014/main" id="{35E2EE45-E97F-4E9F-1264-F24E0A85142B}"/>
              </a:ext>
            </a:extLst>
          </p:cNvPr>
          <p:cNvSpPr/>
          <p:nvPr/>
        </p:nvSpPr>
        <p:spPr>
          <a:xfrm>
            <a:off x="7416568" y="257800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108" name="Group 107">
            <a:extLst>
              <a:ext uri="{FF2B5EF4-FFF2-40B4-BE49-F238E27FC236}">
                <a16:creationId xmlns:a16="http://schemas.microsoft.com/office/drawing/2014/main" id="{D61855E5-6094-1451-9C09-4BB08CADF601}"/>
              </a:ext>
            </a:extLst>
          </p:cNvPr>
          <p:cNvGrpSpPr>
            <a:grpSpLocks/>
          </p:cNvGrpSpPr>
          <p:nvPr/>
        </p:nvGrpSpPr>
        <p:grpSpPr>
          <a:xfrm rot="10800000">
            <a:off x="8317326" y="2537688"/>
            <a:ext cx="204113" cy="201240"/>
            <a:chOff x="3239907" y="3725616"/>
            <a:chExt cx="361868" cy="307440"/>
          </a:xfrm>
        </p:grpSpPr>
        <p:sp>
          <p:nvSpPr>
            <p:cNvPr id="109" name="Oval 108">
              <a:extLst>
                <a:ext uri="{FF2B5EF4-FFF2-40B4-BE49-F238E27FC236}">
                  <a16:creationId xmlns:a16="http://schemas.microsoft.com/office/drawing/2014/main" id="{A3A29E8D-581A-58F8-B6AC-26B8D7F455C4}"/>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10" name="Arrow: Down 109">
              <a:extLst>
                <a:ext uri="{FF2B5EF4-FFF2-40B4-BE49-F238E27FC236}">
                  <a16:creationId xmlns:a16="http://schemas.microsoft.com/office/drawing/2014/main" id="{932441BB-D431-BDCE-9E34-4F959C7F84B8}"/>
                </a:ext>
              </a:extLst>
            </p:cNvPr>
            <p:cNvSpPr/>
            <p:nvPr/>
          </p:nvSpPr>
          <p:spPr>
            <a:xfrm rot="10800000">
              <a:off x="3297534" y="3787215"/>
              <a:ext cx="246614" cy="184243"/>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150" name="Oval 149">
            <a:extLst>
              <a:ext uri="{FF2B5EF4-FFF2-40B4-BE49-F238E27FC236}">
                <a16:creationId xmlns:a16="http://schemas.microsoft.com/office/drawing/2014/main" id="{5B86067A-0AF4-1392-34B9-B33B7B390517}"/>
              </a:ext>
            </a:extLst>
          </p:cNvPr>
          <p:cNvSpPr/>
          <p:nvPr/>
        </p:nvSpPr>
        <p:spPr>
          <a:xfrm>
            <a:off x="9250589" y="253768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51" name="Arrow: Down 150">
            <a:extLst>
              <a:ext uri="{FF2B5EF4-FFF2-40B4-BE49-F238E27FC236}">
                <a16:creationId xmlns:a16="http://schemas.microsoft.com/office/drawing/2014/main" id="{9CCD7638-42AB-CF7C-DEB2-49E15CD14830}"/>
              </a:ext>
            </a:extLst>
          </p:cNvPr>
          <p:cNvSpPr/>
          <p:nvPr/>
        </p:nvSpPr>
        <p:spPr>
          <a:xfrm rot="10800000">
            <a:off x="9283094" y="257800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152" name="Group 151">
            <a:extLst>
              <a:ext uri="{FF2B5EF4-FFF2-40B4-BE49-F238E27FC236}">
                <a16:creationId xmlns:a16="http://schemas.microsoft.com/office/drawing/2014/main" id="{0672AAE6-8687-EE06-26C5-4A37516DB63B}"/>
              </a:ext>
            </a:extLst>
          </p:cNvPr>
          <p:cNvGrpSpPr>
            <a:grpSpLocks/>
          </p:cNvGrpSpPr>
          <p:nvPr/>
        </p:nvGrpSpPr>
        <p:grpSpPr>
          <a:xfrm>
            <a:off x="11117109" y="2537688"/>
            <a:ext cx="204113" cy="201240"/>
            <a:chOff x="3239907" y="3725616"/>
            <a:chExt cx="361868" cy="307440"/>
          </a:xfrm>
        </p:grpSpPr>
        <p:sp>
          <p:nvSpPr>
            <p:cNvPr id="153" name="Oval 152">
              <a:extLst>
                <a:ext uri="{FF2B5EF4-FFF2-40B4-BE49-F238E27FC236}">
                  <a16:creationId xmlns:a16="http://schemas.microsoft.com/office/drawing/2014/main" id="{9CF78A50-BEBA-5831-C0A2-EDD54E11DBBA}"/>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54" name="Arrow: Down 153">
              <a:extLst>
                <a:ext uri="{FF2B5EF4-FFF2-40B4-BE49-F238E27FC236}">
                  <a16:creationId xmlns:a16="http://schemas.microsoft.com/office/drawing/2014/main" id="{72E126F5-235A-DCC5-CDF8-0F7A5D88408F}"/>
                </a:ext>
              </a:extLst>
            </p:cNvPr>
            <p:cNvSpPr/>
            <p:nvPr/>
          </p:nvSpPr>
          <p:spPr>
            <a:xfrm rot="10800000">
              <a:off x="3297534" y="3787215"/>
              <a:ext cx="246614" cy="184243"/>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155" name="Group 154">
            <a:extLst>
              <a:ext uri="{FF2B5EF4-FFF2-40B4-BE49-F238E27FC236}">
                <a16:creationId xmlns:a16="http://schemas.microsoft.com/office/drawing/2014/main" id="{D33A75D6-1A5C-973A-05C5-49B76D84EF88}"/>
              </a:ext>
            </a:extLst>
          </p:cNvPr>
          <p:cNvGrpSpPr>
            <a:grpSpLocks/>
          </p:cNvGrpSpPr>
          <p:nvPr/>
        </p:nvGrpSpPr>
        <p:grpSpPr>
          <a:xfrm>
            <a:off x="1784485" y="3277139"/>
            <a:ext cx="204113" cy="201240"/>
            <a:chOff x="1554539" y="4084156"/>
            <a:chExt cx="361868" cy="361868"/>
          </a:xfrm>
        </p:grpSpPr>
        <p:sp>
          <p:nvSpPr>
            <p:cNvPr id="156" name="Oval 155">
              <a:extLst>
                <a:ext uri="{FF2B5EF4-FFF2-40B4-BE49-F238E27FC236}">
                  <a16:creationId xmlns:a16="http://schemas.microsoft.com/office/drawing/2014/main" id="{C36E7358-6F33-6C33-4804-86D1CB62D1FC}"/>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157" name="Arrow: Left-Right 156">
              <a:extLst>
                <a:ext uri="{FF2B5EF4-FFF2-40B4-BE49-F238E27FC236}">
                  <a16:creationId xmlns:a16="http://schemas.microsoft.com/office/drawing/2014/main" id="{8623C406-EE14-3FDD-77C0-B9C7716497F4}"/>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160" name="Group 159">
            <a:extLst>
              <a:ext uri="{FF2B5EF4-FFF2-40B4-BE49-F238E27FC236}">
                <a16:creationId xmlns:a16="http://schemas.microsoft.com/office/drawing/2014/main" id="{DF014525-05B6-8ACA-FDB3-C9D808F2B3B4}"/>
              </a:ext>
            </a:extLst>
          </p:cNvPr>
          <p:cNvGrpSpPr>
            <a:grpSpLocks/>
          </p:cNvGrpSpPr>
          <p:nvPr/>
        </p:nvGrpSpPr>
        <p:grpSpPr>
          <a:xfrm>
            <a:off x="2717748" y="3277139"/>
            <a:ext cx="204113" cy="201240"/>
            <a:chOff x="1554539" y="4084156"/>
            <a:chExt cx="361868" cy="361868"/>
          </a:xfrm>
        </p:grpSpPr>
        <p:sp>
          <p:nvSpPr>
            <p:cNvPr id="161" name="Oval 160">
              <a:extLst>
                <a:ext uri="{FF2B5EF4-FFF2-40B4-BE49-F238E27FC236}">
                  <a16:creationId xmlns:a16="http://schemas.microsoft.com/office/drawing/2014/main" id="{D046E42E-25BE-82AD-A3C3-B40DE80B5A80}"/>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162" name="Arrow: Left-Right 161">
              <a:extLst>
                <a:ext uri="{FF2B5EF4-FFF2-40B4-BE49-F238E27FC236}">
                  <a16:creationId xmlns:a16="http://schemas.microsoft.com/office/drawing/2014/main" id="{F7497EFF-63AC-8803-4EE7-4D8E00DC0D9C}"/>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163" name="Group 162">
            <a:extLst>
              <a:ext uri="{FF2B5EF4-FFF2-40B4-BE49-F238E27FC236}">
                <a16:creationId xmlns:a16="http://schemas.microsoft.com/office/drawing/2014/main" id="{40224329-5B3B-5909-678F-487CAB94415D}"/>
              </a:ext>
            </a:extLst>
          </p:cNvPr>
          <p:cNvGrpSpPr>
            <a:grpSpLocks/>
          </p:cNvGrpSpPr>
          <p:nvPr/>
        </p:nvGrpSpPr>
        <p:grpSpPr>
          <a:xfrm>
            <a:off x="3651011" y="3277139"/>
            <a:ext cx="204113" cy="201240"/>
            <a:chOff x="1554539" y="4084156"/>
            <a:chExt cx="361868" cy="361868"/>
          </a:xfrm>
        </p:grpSpPr>
        <p:sp>
          <p:nvSpPr>
            <p:cNvPr id="164" name="Oval 163">
              <a:extLst>
                <a:ext uri="{FF2B5EF4-FFF2-40B4-BE49-F238E27FC236}">
                  <a16:creationId xmlns:a16="http://schemas.microsoft.com/office/drawing/2014/main" id="{9A68C5E6-8C5C-491F-3025-C635A03D1701}"/>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165" name="Arrow: Left-Right 164">
              <a:extLst>
                <a:ext uri="{FF2B5EF4-FFF2-40B4-BE49-F238E27FC236}">
                  <a16:creationId xmlns:a16="http://schemas.microsoft.com/office/drawing/2014/main" id="{158DCC83-BD85-235C-9ABF-906B96192B29}"/>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166" name="Group 165">
            <a:extLst>
              <a:ext uri="{FF2B5EF4-FFF2-40B4-BE49-F238E27FC236}">
                <a16:creationId xmlns:a16="http://schemas.microsoft.com/office/drawing/2014/main" id="{068422D8-1E2C-E63E-37F0-9425BA77A01A}"/>
              </a:ext>
            </a:extLst>
          </p:cNvPr>
          <p:cNvGrpSpPr>
            <a:grpSpLocks/>
          </p:cNvGrpSpPr>
          <p:nvPr/>
        </p:nvGrpSpPr>
        <p:grpSpPr>
          <a:xfrm>
            <a:off x="10183852" y="3275022"/>
            <a:ext cx="204113" cy="201240"/>
            <a:chOff x="1554539" y="4084156"/>
            <a:chExt cx="361868" cy="361868"/>
          </a:xfrm>
        </p:grpSpPr>
        <p:sp>
          <p:nvSpPr>
            <p:cNvPr id="172" name="Oval 171">
              <a:extLst>
                <a:ext uri="{FF2B5EF4-FFF2-40B4-BE49-F238E27FC236}">
                  <a16:creationId xmlns:a16="http://schemas.microsoft.com/office/drawing/2014/main" id="{25267B93-7A9D-9269-BF0A-10D108CDA5DD}"/>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173" name="Arrow: Left-Right 172">
              <a:extLst>
                <a:ext uri="{FF2B5EF4-FFF2-40B4-BE49-F238E27FC236}">
                  <a16:creationId xmlns:a16="http://schemas.microsoft.com/office/drawing/2014/main" id="{1099CD65-1A60-9706-7994-53A1D9260571}"/>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174" name="Oval 173">
            <a:extLst>
              <a:ext uri="{FF2B5EF4-FFF2-40B4-BE49-F238E27FC236}">
                <a16:creationId xmlns:a16="http://schemas.microsoft.com/office/drawing/2014/main" id="{7B734F11-6E09-A9C7-E7F6-35CD9247607E}"/>
              </a:ext>
            </a:extLst>
          </p:cNvPr>
          <p:cNvSpPr/>
          <p:nvPr/>
        </p:nvSpPr>
        <p:spPr>
          <a:xfrm>
            <a:off x="4584274"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75" name="Arrow: Down 174">
            <a:extLst>
              <a:ext uri="{FF2B5EF4-FFF2-40B4-BE49-F238E27FC236}">
                <a16:creationId xmlns:a16="http://schemas.microsoft.com/office/drawing/2014/main" id="{BA2EADDE-5153-075E-5B44-F34175A13AE4}"/>
              </a:ext>
            </a:extLst>
          </p:cNvPr>
          <p:cNvSpPr/>
          <p:nvPr/>
        </p:nvSpPr>
        <p:spPr>
          <a:xfrm>
            <a:off x="4616779" y="3315343"/>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76" name="Oval 175">
            <a:extLst>
              <a:ext uri="{FF2B5EF4-FFF2-40B4-BE49-F238E27FC236}">
                <a16:creationId xmlns:a16="http://schemas.microsoft.com/office/drawing/2014/main" id="{8EC9A78E-2A61-EBEC-5F77-AFA7FDA0D053}"/>
              </a:ext>
            </a:extLst>
          </p:cNvPr>
          <p:cNvSpPr/>
          <p:nvPr/>
        </p:nvSpPr>
        <p:spPr>
          <a:xfrm>
            <a:off x="5517537"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77" name="Arrow: Down 176">
            <a:extLst>
              <a:ext uri="{FF2B5EF4-FFF2-40B4-BE49-F238E27FC236}">
                <a16:creationId xmlns:a16="http://schemas.microsoft.com/office/drawing/2014/main" id="{5CA4701A-33C1-7A86-1089-71ACE7179CE2}"/>
              </a:ext>
            </a:extLst>
          </p:cNvPr>
          <p:cNvSpPr/>
          <p:nvPr/>
        </p:nvSpPr>
        <p:spPr>
          <a:xfrm>
            <a:off x="5550042" y="3315343"/>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78" name="Oval 177">
            <a:extLst>
              <a:ext uri="{FF2B5EF4-FFF2-40B4-BE49-F238E27FC236}">
                <a16:creationId xmlns:a16="http://schemas.microsoft.com/office/drawing/2014/main" id="{9F21B7C5-397E-CE21-CEE7-406134AF00C9}"/>
              </a:ext>
            </a:extLst>
          </p:cNvPr>
          <p:cNvSpPr/>
          <p:nvPr/>
        </p:nvSpPr>
        <p:spPr>
          <a:xfrm>
            <a:off x="6450800"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79" name="Arrow: Down 178">
            <a:extLst>
              <a:ext uri="{FF2B5EF4-FFF2-40B4-BE49-F238E27FC236}">
                <a16:creationId xmlns:a16="http://schemas.microsoft.com/office/drawing/2014/main" id="{458CEC3F-5CD7-C9B3-2D0C-885805D74FF5}"/>
              </a:ext>
            </a:extLst>
          </p:cNvPr>
          <p:cNvSpPr/>
          <p:nvPr/>
        </p:nvSpPr>
        <p:spPr>
          <a:xfrm>
            <a:off x="6483305" y="3315343"/>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80" name="Oval 179">
            <a:extLst>
              <a:ext uri="{FF2B5EF4-FFF2-40B4-BE49-F238E27FC236}">
                <a16:creationId xmlns:a16="http://schemas.microsoft.com/office/drawing/2014/main" id="{ECC67E12-928F-E92B-5773-F01634D63B98}"/>
              </a:ext>
            </a:extLst>
          </p:cNvPr>
          <p:cNvSpPr/>
          <p:nvPr/>
        </p:nvSpPr>
        <p:spPr>
          <a:xfrm>
            <a:off x="7384063"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81" name="Arrow: Down 180">
            <a:extLst>
              <a:ext uri="{FF2B5EF4-FFF2-40B4-BE49-F238E27FC236}">
                <a16:creationId xmlns:a16="http://schemas.microsoft.com/office/drawing/2014/main" id="{ACCE3B38-18D9-BABA-9E21-6A0275C29B8D}"/>
              </a:ext>
            </a:extLst>
          </p:cNvPr>
          <p:cNvSpPr/>
          <p:nvPr/>
        </p:nvSpPr>
        <p:spPr>
          <a:xfrm>
            <a:off x="7416568" y="3315343"/>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82" name="Oval 181">
            <a:extLst>
              <a:ext uri="{FF2B5EF4-FFF2-40B4-BE49-F238E27FC236}">
                <a16:creationId xmlns:a16="http://schemas.microsoft.com/office/drawing/2014/main" id="{A0C1A129-75FC-B12D-FCE7-30AD295FA965}"/>
              </a:ext>
            </a:extLst>
          </p:cNvPr>
          <p:cNvSpPr/>
          <p:nvPr/>
        </p:nvSpPr>
        <p:spPr>
          <a:xfrm>
            <a:off x="8317326"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83" name="Arrow: Down 182">
            <a:extLst>
              <a:ext uri="{FF2B5EF4-FFF2-40B4-BE49-F238E27FC236}">
                <a16:creationId xmlns:a16="http://schemas.microsoft.com/office/drawing/2014/main" id="{EF0BD9FC-2B6A-73A9-16B4-96FBA702F486}"/>
              </a:ext>
            </a:extLst>
          </p:cNvPr>
          <p:cNvSpPr/>
          <p:nvPr/>
        </p:nvSpPr>
        <p:spPr>
          <a:xfrm>
            <a:off x="8349831" y="3315343"/>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84" name="Oval 183">
            <a:extLst>
              <a:ext uri="{FF2B5EF4-FFF2-40B4-BE49-F238E27FC236}">
                <a16:creationId xmlns:a16="http://schemas.microsoft.com/office/drawing/2014/main" id="{CF5D6DA4-3BDF-04D4-C70F-A56F385A0F0C}"/>
              </a:ext>
            </a:extLst>
          </p:cNvPr>
          <p:cNvSpPr/>
          <p:nvPr/>
        </p:nvSpPr>
        <p:spPr>
          <a:xfrm>
            <a:off x="925058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85" name="Arrow: Down 184">
            <a:extLst>
              <a:ext uri="{FF2B5EF4-FFF2-40B4-BE49-F238E27FC236}">
                <a16:creationId xmlns:a16="http://schemas.microsoft.com/office/drawing/2014/main" id="{5A48AE38-15E3-3A65-B2CC-91431AED5EFD}"/>
              </a:ext>
            </a:extLst>
          </p:cNvPr>
          <p:cNvSpPr/>
          <p:nvPr/>
        </p:nvSpPr>
        <p:spPr>
          <a:xfrm rot="10800000">
            <a:off x="9283094" y="3315343"/>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186" name="Group 185">
            <a:extLst>
              <a:ext uri="{FF2B5EF4-FFF2-40B4-BE49-F238E27FC236}">
                <a16:creationId xmlns:a16="http://schemas.microsoft.com/office/drawing/2014/main" id="{024555DF-5AEA-69DA-7F02-37834F0716BF}"/>
              </a:ext>
            </a:extLst>
          </p:cNvPr>
          <p:cNvGrpSpPr/>
          <p:nvPr/>
        </p:nvGrpSpPr>
        <p:grpSpPr>
          <a:xfrm>
            <a:off x="11117109" y="3275022"/>
            <a:ext cx="204113" cy="201240"/>
            <a:chOff x="11117109" y="3275022"/>
            <a:chExt cx="204113" cy="201240"/>
          </a:xfrm>
        </p:grpSpPr>
        <p:sp>
          <p:nvSpPr>
            <p:cNvPr id="187" name="Oval 186">
              <a:extLst>
                <a:ext uri="{FF2B5EF4-FFF2-40B4-BE49-F238E27FC236}">
                  <a16:creationId xmlns:a16="http://schemas.microsoft.com/office/drawing/2014/main" id="{23AB0363-988D-091D-99FE-19E3AB11720C}"/>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88" name="Arrow: Down 187">
              <a:extLst>
                <a:ext uri="{FF2B5EF4-FFF2-40B4-BE49-F238E27FC236}">
                  <a16:creationId xmlns:a16="http://schemas.microsoft.com/office/drawing/2014/main" id="{3E89CD1C-BBEF-1ADB-5DD1-017E7EEC1F02}"/>
                </a:ext>
              </a:extLst>
            </p:cNvPr>
            <p:cNvSpPr/>
            <p:nvPr/>
          </p:nvSpPr>
          <p:spPr>
            <a:xfrm rot="10800000">
              <a:off x="11149614" y="3315343"/>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189" name="Group 188">
            <a:extLst>
              <a:ext uri="{FF2B5EF4-FFF2-40B4-BE49-F238E27FC236}">
                <a16:creationId xmlns:a16="http://schemas.microsoft.com/office/drawing/2014/main" id="{B19A3CAB-54E8-1E71-64D5-536A235C7D81}"/>
              </a:ext>
            </a:extLst>
          </p:cNvPr>
          <p:cNvGrpSpPr>
            <a:grpSpLocks/>
          </p:cNvGrpSpPr>
          <p:nvPr/>
        </p:nvGrpSpPr>
        <p:grpSpPr>
          <a:xfrm>
            <a:off x="11117109" y="4028558"/>
            <a:ext cx="204113" cy="201240"/>
            <a:chOff x="1554539" y="4084156"/>
            <a:chExt cx="361868" cy="361868"/>
          </a:xfrm>
        </p:grpSpPr>
        <p:sp>
          <p:nvSpPr>
            <p:cNvPr id="190" name="Oval 189">
              <a:extLst>
                <a:ext uri="{FF2B5EF4-FFF2-40B4-BE49-F238E27FC236}">
                  <a16:creationId xmlns:a16="http://schemas.microsoft.com/office/drawing/2014/main" id="{03BB9C91-CEC1-F339-3BED-1EC54BBDB101}"/>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191" name="Arrow: Left-Right 190">
              <a:extLst>
                <a:ext uri="{FF2B5EF4-FFF2-40B4-BE49-F238E27FC236}">
                  <a16:creationId xmlns:a16="http://schemas.microsoft.com/office/drawing/2014/main" id="{AB81B018-548E-E9DE-2A90-F4A03DCE6700}"/>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192" name="Oval 191">
            <a:extLst>
              <a:ext uri="{FF2B5EF4-FFF2-40B4-BE49-F238E27FC236}">
                <a16:creationId xmlns:a16="http://schemas.microsoft.com/office/drawing/2014/main" id="{11D2372A-A1BF-C7A6-C454-9EA6D0740F93}"/>
              </a:ext>
            </a:extLst>
          </p:cNvPr>
          <p:cNvSpPr/>
          <p:nvPr/>
        </p:nvSpPr>
        <p:spPr>
          <a:xfrm>
            <a:off x="1784485" y="402855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93" name="Arrow: Down 192">
            <a:extLst>
              <a:ext uri="{FF2B5EF4-FFF2-40B4-BE49-F238E27FC236}">
                <a16:creationId xmlns:a16="http://schemas.microsoft.com/office/drawing/2014/main" id="{75FF9977-C3B5-F4D5-1CAA-138D8C749E4A}"/>
              </a:ext>
            </a:extLst>
          </p:cNvPr>
          <p:cNvSpPr/>
          <p:nvPr/>
        </p:nvSpPr>
        <p:spPr>
          <a:xfrm rot="10800000">
            <a:off x="1816990" y="406887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94" name="Oval 193">
            <a:extLst>
              <a:ext uri="{FF2B5EF4-FFF2-40B4-BE49-F238E27FC236}">
                <a16:creationId xmlns:a16="http://schemas.microsoft.com/office/drawing/2014/main" id="{564B9F86-7B79-A649-BCDF-5A68E7BFB78A}"/>
              </a:ext>
            </a:extLst>
          </p:cNvPr>
          <p:cNvSpPr/>
          <p:nvPr/>
        </p:nvSpPr>
        <p:spPr>
          <a:xfrm>
            <a:off x="2717748" y="402855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95" name="Arrow: Down 194">
            <a:extLst>
              <a:ext uri="{FF2B5EF4-FFF2-40B4-BE49-F238E27FC236}">
                <a16:creationId xmlns:a16="http://schemas.microsoft.com/office/drawing/2014/main" id="{DCDBBB4E-9A2B-BE6A-1359-5115B58BAB1F}"/>
              </a:ext>
            </a:extLst>
          </p:cNvPr>
          <p:cNvSpPr/>
          <p:nvPr/>
        </p:nvSpPr>
        <p:spPr>
          <a:xfrm>
            <a:off x="2750253" y="406887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16" name="Oval 215">
            <a:extLst>
              <a:ext uri="{FF2B5EF4-FFF2-40B4-BE49-F238E27FC236}">
                <a16:creationId xmlns:a16="http://schemas.microsoft.com/office/drawing/2014/main" id="{9B0EAAFE-2298-F78A-987B-88A3A9C705C4}"/>
              </a:ext>
            </a:extLst>
          </p:cNvPr>
          <p:cNvSpPr/>
          <p:nvPr/>
        </p:nvSpPr>
        <p:spPr>
          <a:xfrm>
            <a:off x="3651011" y="402855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33" name="Arrow: Down 232">
            <a:extLst>
              <a:ext uri="{FF2B5EF4-FFF2-40B4-BE49-F238E27FC236}">
                <a16:creationId xmlns:a16="http://schemas.microsoft.com/office/drawing/2014/main" id="{93CA7262-BAF3-EC8D-5522-95FB42064925}"/>
              </a:ext>
            </a:extLst>
          </p:cNvPr>
          <p:cNvSpPr/>
          <p:nvPr/>
        </p:nvSpPr>
        <p:spPr>
          <a:xfrm rot="10800000">
            <a:off x="3683516" y="406887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34" name="Oval 233">
            <a:extLst>
              <a:ext uri="{FF2B5EF4-FFF2-40B4-BE49-F238E27FC236}">
                <a16:creationId xmlns:a16="http://schemas.microsoft.com/office/drawing/2014/main" id="{BF916E21-AD94-442E-C97F-973A69475C7A}"/>
              </a:ext>
            </a:extLst>
          </p:cNvPr>
          <p:cNvSpPr/>
          <p:nvPr/>
        </p:nvSpPr>
        <p:spPr>
          <a:xfrm>
            <a:off x="4584274" y="402855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35" name="Arrow: Down 234">
            <a:extLst>
              <a:ext uri="{FF2B5EF4-FFF2-40B4-BE49-F238E27FC236}">
                <a16:creationId xmlns:a16="http://schemas.microsoft.com/office/drawing/2014/main" id="{7E779D45-6059-E1D2-DCB2-D04D7F6A770C}"/>
              </a:ext>
            </a:extLst>
          </p:cNvPr>
          <p:cNvSpPr/>
          <p:nvPr/>
        </p:nvSpPr>
        <p:spPr>
          <a:xfrm>
            <a:off x="4616779" y="406887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36" name="Oval 235">
            <a:extLst>
              <a:ext uri="{FF2B5EF4-FFF2-40B4-BE49-F238E27FC236}">
                <a16:creationId xmlns:a16="http://schemas.microsoft.com/office/drawing/2014/main" id="{C56B0D47-5FE1-7C11-E61C-72146DCAFFE6}"/>
              </a:ext>
            </a:extLst>
          </p:cNvPr>
          <p:cNvSpPr/>
          <p:nvPr/>
        </p:nvSpPr>
        <p:spPr>
          <a:xfrm>
            <a:off x="5517537" y="402855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37" name="Arrow: Down 236">
            <a:extLst>
              <a:ext uri="{FF2B5EF4-FFF2-40B4-BE49-F238E27FC236}">
                <a16:creationId xmlns:a16="http://schemas.microsoft.com/office/drawing/2014/main" id="{4E9C24EF-0910-ACEB-D965-B44CE0A4AF58}"/>
              </a:ext>
            </a:extLst>
          </p:cNvPr>
          <p:cNvSpPr/>
          <p:nvPr/>
        </p:nvSpPr>
        <p:spPr>
          <a:xfrm>
            <a:off x="5550042" y="406887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38" name="Oval 237">
            <a:extLst>
              <a:ext uri="{FF2B5EF4-FFF2-40B4-BE49-F238E27FC236}">
                <a16:creationId xmlns:a16="http://schemas.microsoft.com/office/drawing/2014/main" id="{3BBD5440-FF30-C7E7-76BA-08FEE134265C}"/>
              </a:ext>
            </a:extLst>
          </p:cNvPr>
          <p:cNvSpPr/>
          <p:nvPr/>
        </p:nvSpPr>
        <p:spPr>
          <a:xfrm>
            <a:off x="6450800" y="402855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39" name="Arrow: Down 238">
            <a:extLst>
              <a:ext uri="{FF2B5EF4-FFF2-40B4-BE49-F238E27FC236}">
                <a16:creationId xmlns:a16="http://schemas.microsoft.com/office/drawing/2014/main" id="{BA701321-4FA0-999D-D0B8-4183001AAAAA}"/>
              </a:ext>
            </a:extLst>
          </p:cNvPr>
          <p:cNvSpPr/>
          <p:nvPr/>
        </p:nvSpPr>
        <p:spPr>
          <a:xfrm>
            <a:off x="6483305" y="406887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40" name="Oval 239">
            <a:extLst>
              <a:ext uri="{FF2B5EF4-FFF2-40B4-BE49-F238E27FC236}">
                <a16:creationId xmlns:a16="http://schemas.microsoft.com/office/drawing/2014/main" id="{69843DC5-2DA0-0F53-26D0-453D01A53C66}"/>
              </a:ext>
            </a:extLst>
          </p:cNvPr>
          <p:cNvSpPr/>
          <p:nvPr/>
        </p:nvSpPr>
        <p:spPr>
          <a:xfrm>
            <a:off x="7384063" y="402855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41" name="Arrow: Down 240">
            <a:extLst>
              <a:ext uri="{FF2B5EF4-FFF2-40B4-BE49-F238E27FC236}">
                <a16:creationId xmlns:a16="http://schemas.microsoft.com/office/drawing/2014/main" id="{9D116D7E-A444-5FE5-6B49-67417BF0E8A8}"/>
              </a:ext>
            </a:extLst>
          </p:cNvPr>
          <p:cNvSpPr/>
          <p:nvPr/>
        </p:nvSpPr>
        <p:spPr>
          <a:xfrm>
            <a:off x="7416568" y="406887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42" name="Oval 241">
            <a:extLst>
              <a:ext uri="{FF2B5EF4-FFF2-40B4-BE49-F238E27FC236}">
                <a16:creationId xmlns:a16="http://schemas.microsoft.com/office/drawing/2014/main" id="{85C760ED-EB34-FDA7-DF0F-F90B41801AFC}"/>
              </a:ext>
            </a:extLst>
          </p:cNvPr>
          <p:cNvSpPr/>
          <p:nvPr/>
        </p:nvSpPr>
        <p:spPr>
          <a:xfrm>
            <a:off x="8317326" y="402855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43" name="Arrow: Down 242">
            <a:extLst>
              <a:ext uri="{FF2B5EF4-FFF2-40B4-BE49-F238E27FC236}">
                <a16:creationId xmlns:a16="http://schemas.microsoft.com/office/drawing/2014/main" id="{9F738AA5-0E02-6130-DE61-709511EBB89D}"/>
              </a:ext>
            </a:extLst>
          </p:cNvPr>
          <p:cNvSpPr/>
          <p:nvPr/>
        </p:nvSpPr>
        <p:spPr>
          <a:xfrm>
            <a:off x="8349831" y="406887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44" name="Oval 243">
            <a:extLst>
              <a:ext uri="{FF2B5EF4-FFF2-40B4-BE49-F238E27FC236}">
                <a16:creationId xmlns:a16="http://schemas.microsoft.com/office/drawing/2014/main" id="{A050B5CE-3E1C-51FD-FDD8-D24629B747B1}"/>
              </a:ext>
            </a:extLst>
          </p:cNvPr>
          <p:cNvSpPr/>
          <p:nvPr/>
        </p:nvSpPr>
        <p:spPr>
          <a:xfrm>
            <a:off x="9250589" y="402855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45" name="Arrow: Down 244">
            <a:extLst>
              <a:ext uri="{FF2B5EF4-FFF2-40B4-BE49-F238E27FC236}">
                <a16:creationId xmlns:a16="http://schemas.microsoft.com/office/drawing/2014/main" id="{1EA027F0-F1E1-CB63-56A1-F1C3F5BC97BD}"/>
              </a:ext>
            </a:extLst>
          </p:cNvPr>
          <p:cNvSpPr/>
          <p:nvPr/>
        </p:nvSpPr>
        <p:spPr>
          <a:xfrm rot="10800000">
            <a:off x="9283094" y="406887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46" name="Oval 245">
            <a:extLst>
              <a:ext uri="{FF2B5EF4-FFF2-40B4-BE49-F238E27FC236}">
                <a16:creationId xmlns:a16="http://schemas.microsoft.com/office/drawing/2014/main" id="{5D9AD64D-466A-E851-67FB-A32F433B79BF}"/>
              </a:ext>
            </a:extLst>
          </p:cNvPr>
          <p:cNvSpPr/>
          <p:nvPr/>
        </p:nvSpPr>
        <p:spPr>
          <a:xfrm>
            <a:off x="10183852" y="4028558"/>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53" name="Arrow: Down 252">
            <a:extLst>
              <a:ext uri="{FF2B5EF4-FFF2-40B4-BE49-F238E27FC236}">
                <a16:creationId xmlns:a16="http://schemas.microsoft.com/office/drawing/2014/main" id="{2A0ECACE-DA51-162D-B3E0-42AC3BC9C49D}"/>
              </a:ext>
            </a:extLst>
          </p:cNvPr>
          <p:cNvSpPr/>
          <p:nvPr/>
        </p:nvSpPr>
        <p:spPr>
          <a:xfrm rot="10800000">
            <a:off x="10216357" y="4068879"/>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254" name="Group 253">
            <a:extLst>
              <a:ext uri="{FF2B5EF4-FFF2-40B4-BE49-F238E27FC236}">
                <a16:creationId xmlns:a16="http://schemas.microsoft.com/office/drawing/2014/main" id="{EBB89232-944F-0E6B-AB38-25887FFF0F81}"/>
              </a:ext>
            </a:extLst>
          </p:cNvPr>
          <p:cNvGrpSpPr>
            <a:grpSpLocks/>
          </p:cNvGrpSpPr>
          <p:nvPr/>
        </p:nvGrpSpPr>
        <p:grpSpPr>
          <a:xfrm>
            <a:off x="3651011" y="4785174"/>
            <a:ext cx="204113" cy="201240"/>
            <a:chOff x="3239907" y="3725616"/>
            <a:chExt cx="361868" cy="307440"/>
          </a:xfrm>
        </p:grpSpPr>
        <p:sp>
          <p:nvSpPr>
            <p:cNvPr id="255" name="Oval 254">
              <a:extLst>
                <a:ext uri="{FF2B5EF4-FFF2-40B4-BE49-F238E27FC236}">
                  <a16:creationId xmlns:a16="http://schemas.microsoft.com/office/drawing/2014/main" id="{F1FFD8EE-9DFF-8F96-81D5-9660D10907DA}"/>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56" name="Arrow: Down 255">
              <a:extLst>
                <a:ext uri="{FF2B5EF4-FFF2-40B4-BE49-F238E27FC236}">
                  <a16:creationId xmlns:a16="http://schemas.microsoft.com/office/drawing/2014/main" id="{954B896F-320D-D9DD-4243-37905F8E0F3A}"/>
                </a:ext>
              </a:extLst>
            </p:cNvPr>
            <p:cNvSpPr/>
            <p:nvPr/>
          </p:nvSpPr>
          <p:spPr>
            <a:xfrm rot="10800000">
              <a:off x="3297534" y="3787215"/>
              <a:ext cx="246614" cy="184243"/>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57" name="Group 256">
            <a:extLst>
              <a:ext uri="{FF2B5EF4-FFF2-40B4-BE49-F238E27FC236}">
                <a16:creationId xmlns:a16="http://schemas.microsoft.com/office/drawing/2014/main" id="{B4586C46-19F2-733F-BB7F-24E32AD46E9A}"/>
              </a:ext>
            </a:extLst>
          </p:cNvPr>
          <p:cNvGrpSpPr>
            <a:grpSpLocks/>
          </p:cNvGrpSpPr>
          <p:nvPr/>
        </p:nvGrpSpPr>
        <p:grpSpPr>
          <a:xfrm>
            <a:off x="1784485" y="4765296"/>
            <a:ext cx="204113" cy="201240"/>
            <a:chOff x="1554539" y="4084156"/>
            <a:chExt cx="361868" cy="361868"/>
          </a:xfrm>
        </p:grpSpPr>
        <p:sp>
          <p:nvSpPr>
            <p:cNvPr id="259" name="Oval 258">
              <a:extLst>
                <a:ext uri="{FF2B5EF4-FFF2-40B4-BE49-F238E27FC236}">
                  <a16:creationId xmlns:a16="http://schemas.microsoft.com/office/drawing/2014/main" id="{4BD0BFE9-211E-4C9D-DA97-897B1B9DB0F8}"/>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260" name="Arrow: Left-Right 259">
              <a:extLst>
                <a:ext uri="{FF2B5EF4-FFF2-40B4-BE49-F238E27FC236}">
                  <a16:creationId xmlns:a16="http://schemas.microsoft.com/office/drawing/2014/main" id="{0C2742A8-F029-08C5-1FD4-33B68F97D169}"/>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61" name="Group 260">
            <a:extLst>
              <a:ext uri="{FF2B5EF4-FFF2-40B4-BE49-F238E27FC236}">
                <a16:creationId xmlns:a16="http://schemas.microsoft.com/office/drawing/2014/main" id="{6CF47D60-60C7-A517-782A-259CF8BAFE12}"/>
              </a:ext>
            </a:extLst>
          </p:cNvPr>
          <p:cNvGrpSpPr>
            <a:grpSpLocks/>
          </p:cNvGrpSpPr>
          <p:nvPr/>
        </p:nvGrpSpPr>
        <p:grpSpPr>
          <a:xfrm>
            <a:off x="1784485" y="5517438"/>
            <a:ext cx="204113" cy="201240"/>
            <a:chOff x="1554539" y="4084156"/>
            <a:chExt cx="361868" cy="361868"/>
          </a:xfrm>
        </p:grpSpPr>
        <p:sp>
          <p:nvSpPr>
            <p:cNvPr id="262" name="Oval 261">
              <a:extLst>
                <a:ext uri="{FF2B5EF4-FFF2-40B4-BE49-F238E27FC236}">
                  <a16:creationId xmlns:a16="http://schemas.microsoft.com/office/drawing/2014/main" id="{4559D440-30EE-AD3E-B8F2-1C21C229A030}"/>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263" name="Arrow: Left-Right 262">
              <a:extLst>
                <a:ext uri="{FF2B5EF4-FFF2-40B4-BE49-F238E27FC236}">
                  <a16:creationId xmlns:a16="http://schemas.microsoft.com/office/drawing/2014/main" id="{793530C6-9090-BE14-BBDD-A5DAC3EEA193}"/>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64" name="Group 263">
            <a:extLst>
              <a:ext uri="{FF2B5EF4-FFF2-40B4-BE49-F238E27FC236}">
                <a16:creationId xmlns:a16="http://schemas.microsoft.com/office/drawing/2014/main" id="{ECD7D504-1F70-C805-57B5-AEA51F38BE4B}"/>
              </a:ext>
            </a:extLst>
          </p:cNvPr>
          <p:cNvGrpSpPr>
            <a:grpSpLocks/>
          </p:cNvGrpSpPr>
          <p:nvPr/>
        </p:nvGrpSpPr>
        <p:grpSpPr>
          <a:xfrm rot="10800000">
            <a:off x="2717748" y="4775235"/>
            <a:ext cx="204113" cy="201240"/>
            <a:chOff x="3239907" y="3725616"/>
            <a:chExt cx="361868" cy="307440"/>
          </a:xfrm>
        </p:grpSpPr>
        <p:sp>
          <p:nvSpPr>
            <p:cNvPr id="265" name="Oval 264">
              <a:extLst>
                <a:ext uri="{FF2B5EF4-FFF2-40B4-BE49-F238E27FC236}">
                  <a16:creationId xmlns:a16="http://schemas.microsoft.com/office/drawing/2014/main" id="{D4F95DA4-BD0B-A8DC-1EB4-6ACBA65099C8}"/>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66" name="Arrow: Down 265">
              <a:extLst>
                <a:ext uri="{FF2B5EF4-FFF2-40B4-BE49-F238E27FC236}">
                  <a16:creationId xmlns:a16="http://schemas.microsoft.com/office/drawing/2014/main" id="{55DEE465-46C7-DCBB-CFE9-B9DCD31A5F63}"/>
                </a:ext>
              </a:extLst>
            </p:cNvPr>
            <p:cNvSpPr/>
            <p:nvPr/>
          </p:nvSpPr>
          <p:spPr>
            <a:xfrm rot="10800000">
              <a:off x="3297534" y="3787215"/>
              <a:ext cx="246614" cy="184243"/>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67" name="Group 266">
            <a:extLst>
              <a:ext uri="{FF2B5EF4-FFF2-40B4-BE49-F238E27FC236}">
                <a16:creationId xmlns:a16="http://schemas.microsoft.com/office/drawing/2014/main" id="{3694FEA7-5474-51AE-24F9-CBB099607626}"/>
              </a:ext>
            </a:extLst>
          </p:cNvPr>
          <p:cNvGrpSpPr>
            <a:grpSpLocks/>
          </p:cNvGrpSpPr>
          <p:nvPr/>
        </p:nvGrpSpPr>
        <p:grpSpPr>
          <a:xfrm rot="10800000">
            <a:off x="5520104" y="4785174"/>
            <a:ext cx="204113" cy="201240"/>
            <a:chOff x="3239907" y="3725616"/>
            <a:chExt cx="361868" cy="307440"/>
          </a:xfrm>
        </p:grpSpPr>
        <p:sp>
          <p:nvSpPr>
            <p:cNvPr id="268" name="Oval 267">
              <a:extLst>
                <a:ext uri="{FF2B5EF4-FFF2-40B4-BE49-F238E27FC236}">
                  <a16:creationId xmlns:a16="http://schemas.microsoft.com/office/drawing/2014/main" id="{0937E3E3-D9EA-EA87-8D11-4B226E18EA76}"/>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69" name="Arrow: Down 268">
              <a:extLst>
                <a:ext uri="{FF2B5EF4-FFF2-40B4-BE49-F238E27FC236}">
                  <a16:creationId xmlns:a16="http://schemas.microsoft.com/office/drawing/2014/main" id="{158B3894-08CC-86A9-C2CE-ACB9DD6A9A54}"/>
                </a:ext>
              </a:extLst>
            </p:cNvPr>
            <p:cNvSpPr/>
            <p:nvPr/>
          </p:nvSpPr>
          <p:spPr>
            <a:xfrm>
              <a:off x="3297534" y="3787216"/>
              <a:ext cx="246615" cy="184242"/>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70" name="Group 269">
            <a:extLst>
              <a:ext uri="{FF2B5EF4-FFF2-40B4-BE49-F238E27FC236}">
                <a16:creationId xmlns:a16="http://schemas.microsoft.com/office/drawing/2014/main" id="{DE47A2B9-C82A-B3A2-F5DA-E417065AE66B}"/>
              </a:ext>
            </a:extLst>
          </p:cNvPr>
          <p:cNvGrpSpPr>
            <a:grpSpLocks/>
          </p:cNvGrpSpPr>
          <p:nvPr/>
        </p:nvGrpSpPr>
        <p:grpSpPr>
          <a:xfrm rot="10800000">
            <a:off x="6450800" y="4785174"/>
            <a:ext cx="204113" cy="201240"/>
            <a:chOff x="3239907" y="3725616"/>
            <a:chExt cx="361868" cy="307440"/>
          </a:xfrm>
        </p:grpSpPr>
        <p:sp>
          <p:nvSpPr>
            <p:cNvPr id="271" name="Oval 270">
              <a:extLst>
                <a:ext uri="{FF2B5EF4-FFF2-40B4-BE49-F238E27FC236}">
                  <a16:creationId xmlns:a16="http://schemas.microsoft.com/office/drawing/2014/main" id="{64CB3D51-601B-37C4-5AD3-C5351C66C19C}"/>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72" name="Arrow: Down 271">
              <a:extLst>
                <a:ext uri="{FF2B5EF4-FFF2-40B4-BE49-F238E27FC236}">
                  <a16:creationId xmlns:a16="http://schemas.microsoft.com/office/drawing/2014/main" id="{578A1DDA-1D6C-9D32-BD33-CFA4924E9106}"/>
                </a:ext>
              </a:extLst>
            </p:cNvPr>
            <p:cNvSpPr/>
            <p:nvPr/>
          </p:nvSpPr>
          <p:spPr>
            <a:xfrm>
              <a:off x="3297534" y="3787216"/>
              <a:ext cx="246615" cy="184242"/>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73" name="Group 272">
            <a:extLst>
              <a:ext uri="{FF2B5EF4-FFF2-40B4-BE49-F238E27FC236}">
                <a16:creationId xmlns:a16="http://schemas.microsoft.com/office/drawing/2014/main" id="{12C7CB62-EB2A-68D3-7217-E15C2B42FDBF}"/>
              </a:ext>
            </a:extLst>
          </p:cNvPr>
          <p:cNvGrpSpPr>
            <a:grpSpLocks/>
          </p:cNvGrpSpPr>
          <p:nvPr/>
        </p:nvGrpSpPr>
        <p:grpSpPr>
          <a:xfrm rot="10800000">
            <a:off x="7384060" y="4785174"/>
            <a:ext cx="204113" cy="201240"/>
            <a:chOff x="3239907" y="3725616"/>
            <a:chExt cx="361868" cy="307440"/>
          </a:xfrm>
        </p:grpSpPr>
        <p:sp>
          <p:nvSpPr>
            <p:cNvPr id="274" name="Oval 273">
              <a:extLst>
                <a:ext uri="{FF2B5EF4-FFF2-40B4-BE49-F238E27FC236}">
                  <a16:creationId xmlns:a16="http://schemas.microsoft.com/office/drawing/2014/main" id="{550558E8-F285-9E8E-BDFF-AA46A0628338}"/>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75" name="Arrow: Down 274">
              <a:extLst>
                <a:ext uri="{FF2B5EF4-FFF2-40B4-BE49-F238E27FC236}">
                  <a16:creationId xmlns:a16="http://schemas.microsoft.com/office/drawing/2014/main" id="{846FFB56-9535-183D-0A55-D5713EC1311D}"/>
                </a:ext>
              </a:extLst>
            </p:cNvPr>
            <p:cNvSpPr/>
            <p:nvPr/>
          </p:nvSpPr>
          <p:spPr>
            <a:xfrm>
              <a:off x="3297534" y="3787216"/>
              <a:ext cx="246615" cy="184242"/>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76" name="Group 275">
            <a:extLst>
              <a:ext uri="{FF2B5EF4-FFF2-40B4-BE49-F238E27FC236}">
                <a16:creationId xmlns:a16="http://schemas.microsoft.com/office/drawing/2014/main" id="{054D391C-CCD1-79E4-C852-81559A52B749}"/>
              </a:ext>
            </a:extLst>
          </p:cNvPr>
          <p:cNvGrpSpPr>
            <a:grpSpLocks/>
          </p:cNvGrpSpPr>
          <p:nvPr/>
        </p:nvGrpSpPr>
        <p:grpSpPr>
          <a:xfrm rot="10800000">
            <a:off x="8317325" y="4785174"/>
            <a:ext cx="204113" cy="201240"/>
            <a:chOff x="3239907" y="3725616"/>
            <a:chExt cx="361868" cy="307440"/>
          </a:xfrm>
        </p:grpSpPr>
        <p:sp>
          <p:nvSpPr>
            <p:cNvPr id="277" name="Oval 276">
              <a:extLst>
                <a:ext uri="{FF2B5EF4-FFF2-40B4-BE49-F238E27FC236}">
                  <a16:creationId xmlns:a16="http://schemas.microsoft.com/office/drawing/2014/main" id="{5E4FCCB6-4429-8877-AFB8-EE426002CD81}"/>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78" name="Arrow: Down 277">
              <a:extLst>
                <a:ext uri="{FF2B5EF4-FFF2-40B4-BE49-F238E27FC236}">
                  <a16:creationId xmlns:a16="http://schemas.microsoft.com/office/drawing/2014/main" id="{83F5604C-1A90-4E8E-253F-E6A5C02FD7F8}"/>
                </a:ext>
              </a:extLst>
            </p:cNvPr>
            <p:cNvSpPr/>
            <p:nvPr/>
          </p:nvSpPr>
          <p:spPr>
            <a:xfrm>
              <a:off x="3297534" y="3787216"/>
              <a:ext cx="246615" cy="184242"/>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79" name="Group 278">
            <a:extLst>
              <a:ext uri="{FF2B5EF4-FFF2-40B4-BE49-F238E27FC236}">
                <a16:creationId xmlns:a16="http://schemas.microsoft.com/office/drawing/2014/main" id="{BED7ABE8-443F-2835-1C97-86B01D50260D}"/>
              </a:ext>
            </a:extLst>
          </p:cNvPr>
          <p:cNvGrpSpPr>
            <a:grpSpLocks/>
          </p:cNvGrpSpPr>
          <p:nvPr/>
        </p:nvGrpSpPr>
        <p:grpSpPr>
          <a:xfrm>
            <a:off x="9250588" y="4785174"/>
            <a:ext cx="204113" cy="201240"/>
            <a:chOff x="1554539" y="4084156"/>
            <a:chExt cx="361868" cy="361868"/>
          </a:xfrm>
        </p:grpSpPr>
        <p:sp>
          <p:nvSpPr>
            <p:cNvPr id="280" name="Oval 279">
              <a:extLst>
                <a:ext uri="{FF2B5EF4-FFF2-40B4-BE49-F238E27FC236}">
                  <a16:creationId xmlns:a16="http://schemas.microsoft.com/office/drawing/2014/main" id="{217E64C5-0BB2-3BA4-44F9-793DE35B25A7}"/>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281" name="Arrow: Left-Right 280">
              <a:extLst>
                <a:ext uri="{FF2B5EF4-FFF2-40B4-BE49-F238E27FC236}">
                  <a16:creationId xmlns:a16="http://schemas.microsoft.com/office/drawing/2014/main" id="{852D5B46-91CD-103C-0E3A-B24244FAD79B}"/>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82" name="Group 281">
            <a:extLst>
              <a:ext uri="{FF2B5EF4-FFF2-40B4-BE49-F238E27FC236}">
                <a16:creationId xmlns:a16="http://schemas.microsoft.com/office/drawing/2014/main" id="{E211D2FE-F4DA-6D1B-F242-1AD720AD4E9F}"/>
              </a:ext>
            </a:extLst>
          </p:cNvPr>
          <p:cNvGrpSpPr>
            <a:grpSpLocks/>
          </p:cNvGrpSpPr>
          <p:nvPr/>
        </p:nvGrpSpPr>
        <p:grpSpPr>
          <a:xfrm>
            <a:off x="10183852" y="4781420"/>
            <a:ext cx="204113" cy="201240"/>
            <a:chOff x="3239907" y="3725616"/>
            <a:chExt cx="361868" cy="307440"/>
          </a:xfrm>
        </p:grpSpPr>
        <p:sp>
          <p:nvSpPr>
            <p:cNvPr id="284" name="Oval 283">
              <a:extLst>
                <a:ext uri="{FF2B5EF4-FFF2-40B4-BE49-F238E27FC236}">
                  <a16:creationId xmlns:a16="http://schemas.microsoft.com/office/drawing/2014/main" id="{153B2B32-5A98-EBC0-EF9A-7E1AABF78E43}"/>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85" name="Arrow: Down 284">
              <a:extLst>
                <a:ext uri="{FF2B5EF4-FFF2-40B4-BE49-F238E27FC236}">
                  <a16:creationId xmlns:a16="http://schemas.microsoft.com/office/drawing/2014/main" id="{0ACFB929-679C-364A-1E40-FFCD57E91EC5}"/>
                </a:ext>
              </a:extLst>
            </p:cNvPr>
            <p:cNvSpPr/>
            <p:nvPr/>
          </p:nvSpPr>
          <p:spPr>
            <a:xfrm rot="10800000">
              <a:off x="3297534" y="3787215"/>
              <a:ext cx="246614" cy="184243"/>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86" name="Group 285">
            <a:extLst>
              <a:ext uri="{FF2B5EF4-FFF2-40B4-BE49-F238E27FC236}">
                <a16:creationId xmlns:a16="http://schemas.microsoft.com/office/drawing/2014/main" id="{1644C99B-5B85-BE03-B27E-BF48AD6B3168}"/>
              </a:ext>
            </a:extLst>
          </p:cNvPr>
          <p:cNvGrpSpPr>
            <a:grpSpLocks/>
          </p:cNvGrpSpPr>
          <p:nvPr/>
        </p:nvGrpSpPr>
        <p:grpSpPr>
          <a:xfrm>
            <a:off x="11117109" y="4771259"/>
            <a:ext cx="204113" cy="201240"/>
            <a:chOff x="3239907" y="3725616"/>
            <a:chExt cx="361868" cy="307440"/>
          </a:xfrm>
        </p:grpSpPr>
        <p:sp>
          <p:nvSpPr>
            <p:cNvPr id="287" name="Oval 286">
              <a:extLst>
                <a:ext uri="{FF2B5EF4-FFF2-40B4-BE49-F238E27FC236}">
                  <a16:creationId xmlns:a16="http://schemas.microsoft.com/office/drawing/2014/main" id="{8FFDA8C1-DC95-CA45-B085-1E5F5EE3D149}"/>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88" name="Arrow: Down 287">
              <a:extLst>
                <a:ext uri="{FF2B5EF4-FFF2-40B4-BE49-F238E27FC236}">
                  <a16:creationId xmlns:a16="http://schemas.microsoft.com/office/drawing/2014/main" id="{CEA99B5D-2E33-99F7-E2FE-1D6E05992AB0}"/>
                </a:ext>
              </a:extLst>
            </p:cNvPr>
            <p:cNvSpPr/>
            <p:nvPr/>
          </p:nvSpPr>
          <p:spPr>
            <a:xfrm rot="10800000">
              <a:off x="3297534" y="3787215"/>
              <a:ext cx="246614" cy="184243"/>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89" name="Group 288">
            <a:extLst>
              <a:ext uri="{FF2B5EF4-FFF2-40B4-BE49-F238E27FC236}">
                <a16:creationId xmlns:a16="http://schemas.microsoft.com/office/drawing/2014/main" id="{53E8F014-2D87-4CC8-923F-EADB67971FB6}"/>
              </a:ext>
            </a:extLst>
          </p:cNvPr>
          <p:cNvGrpSpPr>
            <a:grpSpLocks/>
          </p:cNvGrpSpPr>
          <p:nvPr/>
        </p:nvGrpSpPr>
        <p:grpSpPr>
          <a:xfrm>
            <a:off x="11117109" y="5517438"/>
            <a:ext cx="204113" cy="201240"/>
            <a:chOff x="1554539" y="4084156"/>
            <a:chExt cx="361868" cy="361868"/>
          </a:xfrm>
        </p:grpSpPr>
        <p:sp>
          <p:nvSpPr>
            <p:cNvPr id="290" name="Oval 289">
              <a:extLst>
                <a:ext uri="{FF2B5EF4-FFF2-40B4-BE49-F238E27FC236}">
                  <a16:creationId xmlns:a16="http://schemas.microsoft.com/office/drawing/2014/main" id="{E97A3325-CF60-3759-BF74-B708149480FE}"/>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291" name="Arrow: Left-Right 290">
              <a:extLst>
                <a:ext uri="{FF2B5EF4-FFF2-40B4-BE49-F238E27FC236}">
                  <a16:creationId xmlns:a16="http://schemas.microsoft.com/office/drawing/2014/main" id="{73B4623A-E2A6-0AD2-8E0F-F34ABDC7B269}"/>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92" name="Group 291">
            <a:extLst>
              <a:ext uri="{FF2B5EF4-FFF2-40B4-BE49-F238E27FC236}">
                <a16:creationId xmlns:a16="http://schemas.microsoft.com/office/drawing/2014/main" id="{60AE0F1A-CFE1-09F1-1038-223DE65825CC}"/>
              </a:ext>
            </a:extLst>
          </p:cNvPr>
          <p:cNvGrpSpPr>
            <a:grpSpLocks/>
          </p:cNvGrpSpPr>
          <p:nvPr/>
        </p:nvGrpSpPr>
        <p:grpSpPr>
          <a:xfrm>
            <a:off x="10183852" y="5517438"/>
            <a:ext cx="204113" cy="201240"/>
            <a:chOff x="3239907" y="3725616"/>
            <a:chExt cx="361868" cy="307440"/>
          </a:xfrm>
        </p:grpSpPr>
        <p:sp>
          <p:nvSpPr>
            <p:cNvPr id="293" name="Oval 292">
              <a:extLst>
                <a:ext uri="{FF2B5EF4-FFF2-40B4-BE49-F238E27FC236}">
                  <a16:creationId xmlns:a16="http://schemas.microsoft.com/office/drawing/2014/main" id="{83F08B21-3934-6A82-AF3D-BE083321545F}"/>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94" name="Arrow: Down 293">
              <a:extLst>
                <a:ext uri="{FF2B5EF4-FFF2-40B4-BE49-F238E27FC236}">
                  <a16:creationId xmlns:a16="http://schemas.microsoft.com/office/drawing/2014/main" id="{2E9A1C46-72B5-7844-9D8F-5C1815AE5025}"/>
                </a:ext>
              </a:extLst>
            </p:cNvPr>
            <p:cNvSpPr/>
            <p:nvPr/>
          </p:nvSpPr>
          <p:spPr>
            <a:xfrm>
              <a:off x="3297534" y="3787216"/>
              <a:ext cx="246615" cy="184242"/>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95" name="Group 294">
            <a:extLst>
              <a:ext uri="{FF2B5EF4-FFF2-40B4-BE49-F238E27FC236}">
                <a16:creationId xmlns:a16="http://schemas.microsoft.com/office/drawing/2014/main" id="{6F3D6334-14C0-36CB-E927-A61B2C32D45C}"/>
              </a:ext>
            </a:extLst>
          </p:cNvPr>
          <p:cNvGrpSpPr>
            <a:grpSpLocks/>
          </p:cNvGrpSpPr>
          <p:nvPr/>
        </p:nvGrpSpPr>
        <p:grpSpPr>
          <a:xfrm>
            <a:off x="3651011" y="5517438"/>
            <a:ext cx="204113" cy="201240"/>
            <a:chOff x="3239907" y="3725616"/>
            <a:chExt cx="361868" cy="307440"/>
          </a:xfrm>
        </p:grpSpPr>
        <p:sp>
          <p:nvSpPr>
            <p:cNvPr id="296" name="Oval 295">
              <a:extLst>
                <a:ext uri="{FF2B5EF4-FFF2-40B4-BE49-F238E27FC236}">
                  <a16:creationId xmlns:a16="http://schemas.microsoft.com/office/drawing/2014/main" id="{137FB278-3014-6032-1976-506A18603B96}"/>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297" name="Arrow: Down 296">
              <a:extLst>
                <a:ext uri="{FF2B5EF4-FFF2-40B4-BE49-F238E27FC236}">
                  <a16:creationId xmlns:a16="http://schemas.microsoft.com/office/drawing/2014/main" id="{AD66BA77-C373-04AC-44D9-19D143E385F4}"/>
                </a:ext>
              </a:extLst>
            </p:cNvPr>
            <p:cNvSpPr/>
            <p:nvPr/>
          </p:nvSpPr>
          <p:spPr>
            <a:xfrm>
              <a:off x="3297534" y="3787216"/>
              <a:ext cx="246615" cy="184242"/>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298" name="Group 297">
            <a:extLst>
              <a:ext uri="{FF2B5EF4-FFF2-40B4-BE49-F238E27FC236}">
                <a16:creationId xmlns:a16="http://schemas.microsoft.com/office/drawing/2014/main" id="{F0BEBB52-667B-409A-E975-BA8542E6383B}"/>
              </a:ext>
            </a:extLst>
          </p:cNvPr>
          <p:cNvGrpSpPr>
            <a:grpSpLocks/>
          </p:cNvGrpSpPr>
          <p:nvPr/>
        </p:nvGrpSpPr>
        <p:grpSpPr>
          <a:xfrm>
            <a:off x="6450800" y="5517438"/>
            <a:ext cx="204113" cy="201240"/>
            <a:chOff x="3239907" y="3725616"/>
            <a:chExt cx="361868" cy="307440"/>
          </a:xfrm>
        </p:grpSpPr>
        <p:sp>
          <p:nvSpPr>
            <p:cNvPr id="299" name="Oval 298">
              <a:extLst>
                <a:ext uri="{FF2B5EF4-FFF2-40B4-BE49-F238E27FC236}">
                  <a16:creationId xmlns:a16="http://schemas.microsoft.com/office/drawing/2014/main" id="{D512142D-21E9-12D7-D919-5A7AA7948C0F}"/>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300" name="Arrow: Down 299">
              <a:extLst>
                <a:ext uri="{FF2B5EF4-FFF2-40B4-BE49-F238E27FC236}">
                  <a16:creationId xmlns:a16="http://schemas.microsoft.com/office/drawing/2014/main" id="{BBB12497-2D3A-6B2B-8536-B0FDF74F40FC}"/>
                </a:ext>
              </a:extLst>
            </p:cNvPr>
            <p:cNvSpPr/>
            <p:nvPr/>
          </p:nvSpPr>
          <p:spPr>
            <a:xfrm>
              <a:off x="3297534" y="3787216"/>
              <a:ext cx="246615" cy="184242"/>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01" name="Group 300">
            <a:extLst>
              <a:ext uri="{FF2B5EF4-FFF2-40B4-BE49-F238E27FC236}">
                <a16:creationId xmlns:a16="http://schemas.microsoft.com/office/drawing/2014/main" id="{8669B093-2934-D6ED-50CB-22DB2B150052}"/>
              </a:ext>
            </a:extLst>
          </p:cNvPr>
          <p:cNvGrpSpPr>
            <a:grpSpLocks/>
          </p:cNvGrpSpPr>
          <p:nvPr/>
        </p:nvGrpSpPr>
        <p:grpSpPr>
          <a:xfrm>
            <a:off x="8317326" y="5517438"/>
            <a:ext cx="204113" cy="201240"/>
            <a:chOff x="3239907" y="3725616"/>
            <a:chExt cx="361868" cy="307440"/>
          </a:xfrm>
        </p:grpSpPr>
        <p:sp>
          <p:nvSpPr>
            <p:cNvPr id="302" name="Oval 301">
              <a:extLst>
                <a:ext uri="{FF2B5EF4-FFF2-40B4-BE49-F238E27FC236}">
                  <a16:creationId xmlns:a16="http://schemas.microsoft.com/office/drawing/2014/main" id="{A4DC2F47-ABEF-E8C6-ABB7-6631BF948E22}"/>
                </a:ext>
              </a:extLst>
            </p:cNvPr>
            <p:cNvSpPr/>
            <p:nvPr/>
          </p:nvSpPr>
          <p:spPr>
            <a:xfrm>
              <a:off x="3239907" y="3725616"/>
              <a:ext cx="361868" cy="3074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303" name="Arrow: Down 302">
              <a:extLst>
                <a:ext uri="{FF2B5EF4-FFF2-40B4-BE49-F238E27FC236}">
                  <a16:creationId xmlns:a16="http://schemas.microsoft.com/office/drawing/2014/main" id="{EED6BC40-B706-A33E-DD90-E6129FD0558F}"/>
                </a:ext>
              </a:extLst>
            </p:cNvPr>
            <p:cNvSpPr/>
            <p:nvPr/>
          </p:nvSpPr>
          <p:spPr>
            <a:xfrm rot="10800000">
              <a:off x="3297534" y="3787215"/>
              <a:ext cx="246614" cy="184243"/>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04" name="Group 303">
            <a:extLst>
              <a:ext uri="{FF2B5EF4-FFF2-40B4-BE49-F238E27FC236}">
                <a16:creationId xmlns:a16="http://schemas.microsoft.com/office/drawing/2014/main" id="{6F4417B2-A010-1F3B-B899-6728760D2767}"/>
              </a:ext>
            </a:extLst>
          </p:cNvPr>
          <p:cNvGrpSpPr>
            <a:grpSpLocks/>
          </p:cNvGrpSpPr>
          <p:nvPr/>
        </p:nvGrpSpPr>
        <p:grpSpPr>
          <a:xfrm>
            <a:off x="9250588" y="5517438"/>
            <a:ext cx="204113" cy="201240"/>
            <a:chOff x="1554539" y="4084156"/>
            <a:chExt cx="361868" cy="361868"/>
          </a:xfrm>
        </p:grpSpPr>
        <p:sp>
          <p:nvSpPr>
            <p:cNvPr id="305" name="Oval 304">
              <a:extLst>
                <a:ext uri="{FF2B5EF4-FFF2-40B4-BE49-F238E27FC236}">
                  <a16:creationId xmlns:a16="http://schemas.microsoft.com/office/drawing/2014/main" id="{F80958E6-4084-5A6E-1EF2-61A34498EC3A}"/>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306" name="Arrow: Left-Right 305">
              <a:extLst>
                <a:ext uri="{FF2B5EF4-FFF2-40B4-BE49-F238E27FC236}">
                  <a16:creationId xmlns:a16="http://schemas.microsoft.com/office/drawing/2014/main" id="{AB6F65AF-A77F-1F4E-8198-C03CBF175F9B}"/>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07" name="Group 306">
            <a:extLst>
              <a:ext uri="{FF2B5EF4-FFF2-40B4-BE49-F238E27FC236}">
                <a16:creationId xmlns:a16="http://schemas.microsoft.com/office/drawing/2014/main" id="{F53DC0C3-0E74-7CA8-7EA9-67E7F7E3C27B}"/>
              </a:ext>
            </a:extLst>
          </p:cNvPr>
          <p:cNvGrpSpPr>
            <a:grpSpLocks/>
          </p:cNvGrpSpPr>
          <p:nvPr/>
        </p:nvGrpSpPr>
        <p:grpSpPr>
          <a:xfrm>
            <a:off x="7385441" y="5517438"/>
            <a:ext cx="204113" cy="201240"/>
            <a:chOff x="1554539" y="4084156"/>
            <a:chExt cx="361868" cy="361868"/>
          </a:xfrm>
        </p:grpSpPr>
        <p:sp>
          <p:nvSpPr>
            <p:cNvPr id="308" name="Oval 307">
              <a:extLst>
                <a:ext uri="{FF2B5EF4-FFF2-40B4-BE49-F238E27FC236}">
                  <a16:creationId xmlns:a16="http://schemas.microsoft.com/office/drawing/2014/main" id="{46704019-F8A4-0C3F-F721-3E6C20A6DAE2}"/>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309" name="Arrow: Left-Right 308">
              <a:extLst>
                <a:ext uri="{FF2B5EF4-FFF2-40B4-BE49-F238E27FC236}">
                  <a16:creationId xmlns:a16="http://schemas.microsoft.com/office/drawing/2014/main" id="{DB9C271F-8E83-B65A-5948-A404309BDA0E}"/>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10" name="Group 309">
            <a:extLst>
              <a:ext uri="{FF2B5EF4-FFF2-40B4-BE49-F238E27FC236}">
                <a16:creationId xmlns:a16="http://schemas.microsoft.com/office/drawing/2014/main" id="{69959360-0633-8041-779C-941B48A4B6F7}"/>
              </a:ext>
            </a:extLst>
          </p:cNvPr>
          <p:cNvGrpSpPr>
            <a:grpSpLocks/>
          </p:cNvGrpSpPr>
          <p:nvPr/>
        </p:nvGrpSpPr>
        <p:grpSpPr>
          <a:xfrm>
            <a:off x="5517534" y="5517438"/>
            <a:ext cx="204113" cy="201240"/>
            <a:chOff x="1554539" y="4084156"/>
            <a:chExt cx="361868" cy="361868"/>
          </a:xfrm>
        </p:grpSpPr>
        <p:sp>
          <p:nvSpPr>
            <p:cNvPr id="311" name="Oval 310">
              <a:extLst>
                <a:ext uri="{FF2B5EF4-FFF2-40B4-BE49-F238E27FC236}">
                  <a16:creationId xmlns:a16="http://schemas.microsoft.com/office/drawing/2014/main" id="{F2C26D59-0271-0F4A-3DEF-7DB72AB826CF}"/>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312" name="Arrow: Left-Right 311">
              <a:extLst>
                <a:ext uri="{FF2B5EF4-FFF2-40B4-BE49-F238E27FC236}">
                  <a16:creationId xmlns:a16="http://schemas.microsoft.com/office/drawing/2014/main" id="{38BAEE2C-AD3B-DB85-71F7-8B003629850D}"/>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13" name="Group 312">
            <a:extLst>
              <a:ext uri="{FF2B5EF4-FFF2-40B4-BE49-F238E27FC236}">
                <a16:creationId xmlns:a16="http://schemas.microsoft.com/office/drawing/2014/main" id="{90383990-B56D-8FB3-8FCF-E8B8DDA7D8A4}"/>
              </a:ext>
            </a:extLst>
          </p:cNvPr>
          <p:cNvGrpSpPr>
            <a:grpSpLocks/>
          </p:cNvGrpSpPr>
          <p:nvPr/>
        </p:nvGrpSpPr>
        <p:grpSpPr>
          <a:xfrm>
            <a:off x="4584274" y="5517438"/>
            <a:ext cx="204113" cy="201240"/>
            <a:chOff x="1554539" y="4084156"/>
            <a:chExt cx="361868" cy="361868"/>
          </a:xfrm>
        </p:grpSpPr>
        <p:sp>
          <p:nvSpPr>
            <p:cNvPr id="314" name="Oval 313">
              <a:extLst>
                <a:ext uri="{FF2B5EF4-FFF2-40B4-BE49-F238E27FC236}">
                  <a16:creationId xmlns:a16="http://schemas.microsoft.com/office/drawing/2014/main" id="{C0F0C8CA-4766-29BC-9448-613AF32E7363}"/>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315" name="Arrow: Left-Right 314">
              <a:extLst>
                <a:ext uri="{FF2B5EF4-FFF2-40B4-BE49-F238E27FC236}">
                  <a16:creationId xmlns:a16="http://schemas.microsoft.com/office/drawing/2014/main" id="{F4AAAC2E-C6F9-A2D1-9225-AD2A1C7EE63B}"/>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16" name="Group 315">
            <a:extLst>
              <a:ext uri="{FF2B5EF4-FFF2-40B4-BE49-F238E27FC236}">
                <a16:creationId xmlns:a16="http://schemas.microsoft.com/office/drawing/2014/main" id="{A0E3C8D6-C100-7889-6E72-0646C717F765}"/>
              </a:ext>
            </a:extLst>
          </p:cNvPr>
          <p:cNvGrpSpPr>
            <a:grpSpLocks/>
          </p:cNvGrpSpPr>
          <p:nvPr/>
        </p:nvGrpSpPr>
        <p:grpSpPr>
          <a:xfrm>
            <a:off x="2717748" y="5517438"/>
            <a:ext cx="204113" cy="201240"/>
            <a:chOff x="1554539" y="4084156"/>
            <a:chExt cx="361868" cy="361868"/>
          </a:xfrm>
        </p:grpSpPr>
        <p:sp>
          <p:nvSpPr>
            <p:cNvPr id="317" name="Oval 316">
              <a:extLst>
                <a:ext uri="{FF2B5EF4-FFF2-40B4-BE49-F238E27FC236}">
                  <a16:creationId xmlns:a16="http://schemas.microsoft.com/office/drawing/2014/main" id="{6D8F3586-A47A-2C88-EA8C-A804DF73F3AA}"/>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318" name="Arrow: Left-Right 317">
              <a:extLst>
                <a:ext uri="{FF2B5EF4-FFF2-40B4-BE49-F238E27FC236}">
                  <a16:creationId xmlns:a16="http://schemas.microsoft.com/office/drawing/2014/main" id="{502A8E36-252C-BC18-7DA4-B607E68FAD7C}"/>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19" name="Group 318">
            <a:extLst>
              <a:ext uri="{FF2B5EF4-FFF2-40B4-BE49-F238E27FC236}">
                <a16:creationId xmlns:a16="http://schemas.microsoft.com/office/drawing/2014/main" id="{C21908CE-CE18-D80E-CA99-EB6DC5F19B77}"/>
              </a:ext>
            </a:extLst>
          </p:cNvPr>
          <p:cNvGrpSpPr>
            <a:grpSpLocks/>
          </p:cNvGrpSpPr>
          <p:nvPr/>
        </p:nvGrpSpPr>
        <p:grpSpPr>
          <a:xfrm>
            <a:off x="11015053" y="6415273"/>
            <a:ext cx="204113" cy="201240"/>
            <a:chOff x="1554539" y="4084156"/>
            <a:chExt cx="361868" cy="361868"/>
          </a:xfrm>
        </p:grpSpPr>
        <p:sp>
          <p:nvSpPr>
            <p:cNvPr id="320" name="Oval 319">
              <a:extLst>
                <a:ext uri="{FF2B5EF4-FFF2-40B4-BE49-F238E27FC236}">
                  <a16:creationId xmlns:a16="http://schemas.microsoft.com/office/drawing/2014/main" id="{949813C1-8196-8164-E637-5D245B4027A2}"/>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321" name="Arrow: Left-Right 320">
              <a:extLst>
                <a:ext uri="{FF2B5EF4-FFF2-40B4-BE49-F238E27FC236}">
                  <a16:creationId xmlns:a16="http://schemas.microsoft.com/office/drawing/2014/main" id="{2F1E397B-C3EB-E19E-69E9-92D0135CCE70}"/>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22" name="Group 321">
            <a:extLst>
              <a:ext uri="{FF2B5EF4-FFF2-40B4-BE49-F238E27FC236}">
                <a16:creationId xmlns:a16="http://schemas.microsoft.com/office/drawing/2014/main" id="{B98E74B3-0ABA-6F67-7C67-D73A0A08163C}"/>
              </a:ext>
            </a:extLst>
          </p:cNvPr>
          <p:cNvGrpSpPr/>
          <p:nvPr/>
        </p:nvGrpSpPr>
        <p:grpSpPr>
          <a:xfrm>
            <a:off x="7502471" y="6458434"/>
            <a:ext cx="193040" cy="188512"/>
            <a:chOff x="4742815" y="6470088"/>
            <a:chExt cx="259716" cy="253624"/>
          </a:xfrm>
        </p:grpSpPr>
        <p:sp>
          <p:nvSpPr>
            <p:cNvPr id="323" name="Oval 322">
              <a:extLst>
                <a:ext uri="{FF2B5EF4-FFF2-40B4-BE49-F238E27FC236}">
                  <a16:creationId xmlns:a16="http://schemas.microsoft.com/office/drawing/2014/main" id="{16D240E1-7B9A-22ED-2E5A-501D500DC14F}"/>
                </a:ext>
              </a:extLst>
            </p:cNvPr>
            <p:cNvSpPr/>
            <p:nvPr/>
          </p:nvSpPr>
          <p:spPr>
            <a:xfrm>
              <a:off x="4742815" y="6470088"/>
              <a:ext cx="259716" cy="253624"/>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324" name="Arrow: Down 323">
              <a:extLst>
                <a:ext uri="{FF2B5EF4-FFF2-40B4-BE49-F238E27FC236}">
                  <a16:creationId xmlns:a16="http://schemas.microsoft.com/office/drawing/2014/main" id="{1A136855-A3A2-DDA9-FD31-908AC9B1AFAE}"/>
                </a:ext>
              </a:extLst>
            </p:cNvPr>
            <p:cNvSpPr/>
            <p:nvPr/>
          </p:nvSpPr>
          <p:spPr>
            <a:xfrm rot="10800000">
              <a:off x="4771939" y="6505871"/>
              <a:ext cx="124634" cy="107025"/>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325" name="Arrow: Down 324">
              <a:extLst>
                <a:ext uri="{FF2B5EF4-FFF2-40B4-BE49-F238E27FC236}">
                  <a16:creationId xmlns:a16="http://schemas.microsoft.com/office/drawing/2014/main" id="{7278025B-A32D-8D40-1058-AF8341139F4B}"/>
                </a:ext>
              </a:extLst>
            </p:cNvPr>
            <p:cNvSpPr/>
            <p:nvPr/>
          </p:nvSpPr>
          <p:spPr>
            <a:xfrm>
              <a:off x="4853515" y="6569622"/>
              <a:ext cx="124634" cy="107025"/>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26" name="Group 325">
            <a:extLst>
              <a:ext uri="{FF2B5EF4-FFF2-40B4-BE49-F238E27FC236}">
                <a16:creationId xmlns:a16="http://schemas.microsoft.com/office/drawing/2014/main" id="{2DB17B36-74A4-4C59-D093-F6C60BDF4400}"/>
              </a:ext>
            </a:extLst>
          </p:cNvPr>
          <p:cNvGrpSpPr/>
          <p:nvPr/>
        </p:nvGrpSpPr>
        <p:grpSpPr>
          <a:xfrm>
            <a:off x="4941195" y="6458434"/>
            <a:ext cx="193040" cy="188512"/>
            <a:chOff x="4742815" y="6470088"/>
            <a:chExt cx="259716" cy="253624"/>
          </a:xfrm>
        </p:grpSpPr>
        <p:sp>
          <p:nvSpPr>
            <p:cNvPr id="327" name="Oval 326">
              <a:extLst>
                <a:ext uri="{FF2B5EF4-FFF2-40B4-BE49-F238E27FC236}">
                  <a16:creationId xmlns:a16="http://schemas.microsoft.com/office/drawing/2014/main" id="{2448B82E-055A-BB9F-E584-AEE062A10D67}"/>
                </a:ext>
              </a:extLst>
            </p:cNvPr>
            <p:cNvSpPr/>
            <p:nvPr/>
          </p:nvSpPr>
          <p:spPr>
            <a:xfrm>
              <a:off x="4742815" y="6470088"/>
              <a:ext cx="259716" cy="253624"/>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328" name="Arrow: Down 327">
              <a:extLst>
                <a:ext uri="{FF2B5EF4-FFF2-40B4-BE49-F238E27FC236}">
                  <a16:creationId xmlns:a16="http://schemas.microsoft.com/office/drawing/2014/main" id="{EB2EC8D7-A417-C8DE-9852-E1DAAAE35716}"/>
                </a:ext>
              </a:extLst>
            </p:cNvPr>
            <p:cNvSpPr/>
            <p:nvPr/>
          </p:nvSpPr>
          <p:spPr>
            <a:xfrm rot="10800000">
              <a:off x="4771939" y="6505871"/>
              <a:ext cx="124634" cy="107025"/>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329" name="Arrow: Down 328">
              <a:extLst>
                <a:ext uri="{FF2B5EF4-FFF2-40B4-BE49-F238E27FC236}">
                  <a16:creationId xmlns:a16="http://schemas.microsoft.com/office/drawing/2014/main" id="{3120C90C-20E9-6673-5ADA-C95CB94ABF92}"/>
                </a:ext>
              </a:extLst>
            </p:cNvPr>
            <p:cNvSpPr/>
            <p:nvPr/>
          </p:nvSpPr>
          <p:spPr>
            <a:xfrm>
              <a:off x="4853515" y="6569622"/>
              <a:ext cx="124634" cy="107025"/>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30" name="Group 329">
            <a:extLst>
              <a:ext uri="{FF2B5EF4-FFF2-40B4-BE49-F238E27FC236}">
                <a16:creationId xmlns:a16="http://schemas.microsoft.com/office/drawing/2014/main" id="{19EBA5ED-73B0-5CA4-844B-F83656D48D66}"/>
              </a:ext>
            </a:extLst>
          </p:cNvPr>
          <p:cNvGrpSpPr/>
          <p:nvPr/>
        </p:nvGrpSpPr>
        <p:grpSpPr>
          <a:xfrm>
            <a:off x="9256125" y="6452573"/>
            <a:ext cx="193040" cy="188512"/>
            <a:chOff x="4742815" y="6470088"/>
            <a:chExt cx="259716" cy="253624"/>
          </a:xfrm>
        </p:grpSpPr>
        <p:sp>
          <p:nvSpPr>
            <p:cNvPr id="331" name="Oval 330">
              <a:extLst>
                <a:ext uri="{FF2B5EF4-FFF2-40B4-BE49-F238E27FC236}">
                  <a16:creationId xmlns:a16="http://schemas.microsoft.com/office/drawing/2014/main" id="{9F3C3A7E-E66E-0848-B6AE-7FC170386596}"/>
                </a:ext>
              </a:extLst>
            </p:cNvPr>
            <p:cNvSpPr/>
            <p:nvPr/>
          </p:nvSpPr>
          <p:spPr>
            <a:xfrm>
              <a:off x="4742815" y="6470088"/>
              <a:ext cx="259716" cy="253624"/>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332" name="Arrow: Down 331">
              <a:extLst>
                <a:ext uri="{FF2B5EF4-FFF2-40B4-BE49-F238E27FC236}">
                  <a16:creationId xmlns:a16="http://schemas.microsoft.com/office/drawing/2014/main" id="{514D4C38-FCD5-1F38-0A3B-6625367A962D}"/>
                </a:ext>
              </a:extLst>
            </p:cNvPr>
            <p:cNvSpPr/>
            <p:nvPr/>
          </p:nvSpPr>
          <p:spPr>
            <a:xfrm rot="10800000">
              <a:off x="4771939" y="6505871"/>
              <a:ext cx="124634" cy="107025"/>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333" name="Arrow: Down 332">
              <a:extLst>
                <a:ext uri="{FF2B5EF4-FFF2-40B4-BE49-F238E27FC236}">
                  <a16:creationId xmlns:a16="http://schemas.microsoft.com/office/drawing/2014/main" id="{841907D2-FECE-996C-D87B-25A2DDE230FB}"/>
                </a:ext>
              </a:extLst>
            </p:cNvPr>
            <p:cNvSpPr/>
            <p:nvPr/>
          </p:nvSpPr>
          <p:spPr>
            <a:xfrm>
              <a:off x="4853515" y="6569622"/>
              <a:ext cx="124634" cy="107025"/>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334" name="Rectangle 333">
            <a:extLst>
              <a:ext uri="{FF2B5EF4-FFF2-40B4-BE49-F238E27FC236}">
                <a16:creationId xmlns:a16="http://schemas.microsoft.com/office/drawing/2014/main" id="{150CE1D0-3964-90EB-F682-2CA645DFF4E3}"/>
              </a:ext>
            </a:extLst>
          </p:cNvPr>
          <p:cNvSpPr/>
          <p:nvPr/>
        </p:nvSpPr>
        <p:spPr>
          <a:xfrm>
            <a:off x="0" y="0"/>
            <a:ext cx="12192000" cy="494748"/>
          </a:xfrm>
          <a:prstGeom prst="rect">
            <a:avLst/>
          </a:prstGeom>
          <a:gradFill>
            <a:gsLst>
              <a:gs pos="6322">
                <a:schemeClr val="accent2"/>
              </a:gs>
              <a:gs pos="62000">
                <a:schemeClr val="bg2">
                  <a:lumMod val="50000"/>
                  <a:alpha val="57000"/>
                </a:schemeClr>
              </a:gs>
              <a:gs pos="100000">
                <a:schemeClr val="bg1">
                  <a:alpha val="0"/>
                </a:schemeClr>
              </a:gs>
            </a:gsLst>
            <a:lin ang="0" scaled="1"/>
          </a:gra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274320" tIns="91440" rIns="182880" bIns="91440" numCol="1" spcCol="0" rtlCol="0" fromWordArt="0" anchor="ctr" anchorCtr="0" forceAA="0" compatLnSpc="1">
            <a:prstTxWarp prst="textNoShape">
              <a:avLst/>
            </a:prstTxWarp>
            <a:noAutofit/>
          </a:bodyPr>
          <a:lstStyle/>
          <a:p>
            <a:pPr algn="l">
              <a:buClr>
                <a:srgbClr val="006C67"/>
              </a:buClr>
            </a:pPr>
            <a:r>
              <a:rPr lang="en-GB" sz="1400" b="1" dirty="0">
                <a:solidFill>
                  <a:schemeClr val="bg1"/>
                </a:solidFill>
              </a:rPr>
              <a:t>                 </a:t>
            </a:r>
            <a:r>
              <a:rPr lang="en-GB" sz="1400" b="1" dirty="0" err="1">
                <a:solidFill>
                  <a:schemeClr val="bg1"/>
                </a:solidFill>
              </a:rPr>
              <a:t>MoMAH</a:t>
            </a:r>
            <a:r>
              <a:rPr lang="en-GB" sz="1400" b="1" dirty="0">
                <a:solidFill>
                  <a:schemeClr val="bg1"/>
                </a:solidFill>
              </a:rPr>
              <a:t> - Decision Support System</a:t>
            </a:r>
          </a:p>
        </p:txBody>
      </p:sp>
      <p:pic>
        <p:nvPicPr>
          <p:cNvPr id="335" name="Graphic 334">
            <a:hlinkClick r:id="rId8" action="ppaction://hlinksldjump"/>
            <a:extLst>
              <a:ext uri="{FF2B5EF4-FFF2-40B4-BE49-F238E27FC236}">
                <a16:creationId xmlns:a16="http://schemas.microsoft.com/office/drawing/2014/main" id="{60DFAF6C-3712-91A9-CBA7-A70D0BAC5073}"/>
              </a:ext>
            </a:extLst>
          </p:cNvPr>
          <p:cNvPicPr>
            <a:picLocks noChangeAspect="1"/>
          </p:cNvPicPr>
          <p:nvPr>
            <p:custDataLst>
              <p:tags r:id="rId2"/>
            </p:custDataLst>
          </p:nvPr>
        </p:nvPicPr>
        <p:blipFill>
          <a:blip r:embed="rId9">
            <a:extLst>
              <a:ext uri="{96DAC541-7B7A-43D3-8B79-37D633B846F1}">
                <asvg:svgBlip xmlns:asvg="http://schemas.microsoft.com/office/drawing/2016/SVG/main" r:embed="rId10"/>
              </a:ext>
            </a:extLst>
          </a:blip>
          <a:stretch>
            <a:fillRect/>
          </a:stretch>
        </p:blipFill>
        <p:spPr>
          <a:xfrm>
            <a:off x="99121" y="53075"/>
            <a:ext cx="389863" cy="389863"/>
          </a:xfrm>
          <a:prstGeom prst="rect">
            <a:avLst/>
          </a:prstGeom>
        </p:spPr>
      </p:pic>
      <p:pic>
        <p:nvPicPr>
          <p:cNvPr id="336" name="Graphic 335">
            <a:hlinkClick r:id="rId11" action="ppaction://hlinksldjump"/>
            <a:extLst>
              <a:ext uri="{FF2B5EF4-FFF2-40B4-BE49-F238E27FC236}">
                <a16:creationId xmlns:a16="http://schemas.microsoft.com/office/drawing/2014/main" id="{3A0FA47E-7FF0-D6E2-0E40-585348D0C4F8}"/>
              </a:ext>
            </a:extLst>
          </p:cNvPr>
          <p:cNvPicPr>
            <a:picLocks noChangeAspect="1"/>
          </p:cNvPicPr>
          <p:nvPr>
            <p:custDataLst>
              <p:tags r:id="rId3"/>
            </p:custDataLst>
          </p:nvPr>
        </p:nvPicPr>
        <p:blipFill>
          <a:blip r:embed="rId12">
            <a:extLst>
              <a:ext uri="{96DAC541-7B7A-43D3-8B79-37D633B846F1}">
                <asvg:svgBlip xmlns:asvg="http://schemas.microsoft.com/office/drawing/2016/SVG/main" r:embed="rId13"/>
              </a:ext>
            </a:extLst>
          </a:blip>
          <a:stretch>
            <a:fillRect/>
          </a:stretch>
        </p:blipFill>
        <p:spPr>
          <a:xfrm>
            <a:off x="583217" y="38405"/>
            <a:ext cx="426129" cy="426129"/>
          </a:xfrm>
          <a:prstGeom prst="rect">
            <a:avLst/>
          </a:prstGeom>
        </p:spPr>
      </p:pic>
    </p:spTree>
    <p:extLst>
      <p:ext uri="{BB962C8B-B14F-4D97-AF65-F5344CB8AC3E}">
        <p14:creationId xmlns:p14="http://schemas.microsoft.com/office/powerpoint/2010/main" val="1464542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ACF229-DA9F-EE5B-FB26-68426D8C505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E158156-0789-1712-E464-AA31B7CC62C3}"/>
              </a:ext>
            </a:extLst>
          </p:cNvPr>
          <p:cNvGraphicFramePr>
            <a:graphicFrameLocks noChangeAspect="1"/>
          </p:cNvGraphicFramePr>
          <p:nvPr>
            <p:custDataLst>
              <p:tags r:id="rId1"/>
            </p:custDataLst>
            <p:extLst>
              <p:ext uri="{D42A27DB-BD31-4B8C-83A1-F6EECF244321}">
                <p14:modId xmlns:p14="http://schemas.microsoft.com/office/powerpoint/2010/main" val="959873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3" name="think-cell data - do not delete" hidden="1">
                        <a:extLst>
                          <a:ext uri="{FF2B5EF4-FFF2-40B4-BE49-F238E27FC236}">
                            <a16:creationId xmlns:a16="http://schemas.microsoft.com/office/drawing/2014/main" id="{D2178178-886B-BF18-C6A7-5BA98F2DA3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Arrow: Right 1">
            <a:extLst>
              <a:ext uri="{FF2B5EF4-FFF2-40B4-BE49-F238E27FC236}">
                <a16:creationId xmlns:a16="http://schemas.microsoft.com/office/drawing/2014/main" id="{F5EB456D-0115-ED32-A633-5E06673C47CB}"/>
              </a:ext>
            </a:extLst>
          </p:cNvPr>
          <p:cNvSpPr/>
          <p:nvPr/>
        </p:nvSpPr>
        <p:spPr>
          <a:xfrm>
            <a:off x="236560" y="4296116"/>
            <a:ext cx="11332191" cy="867286"/>
          </a:xfrm>
          <a:prstGeom prst="rightArrow">
            <a:avLst>
              <a:gd name="adj1" fmla="val 100000"/>
              <a:gd name="adj2" fmla="val 0"/>
            </a:avLst>
          </a:prstGeom>
          <a:solidFill>
            <a:schemeClr val="bg2">
              <a:lumMod val="90000"/>
            </a:schemeClr>
          </a:solidFill>
          <a:ln>
            <a:solidFill>
              <a:schemeClr val="tx1">
                <a:lumMod val="50000"/>
                <a:lumOff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4" name="Arrow: Right 3">
            <a:extLst>
              <a:ext uri="{FF2B5EF4-FFF2-40B4-BE49-F238E27FC236}">
                <a16:creationId xmlns:a16="http://schemas.microsoft.com/office/drawing/2014/main" id="{9EE98FB9-5BE8-DFE8-8997-BAB587EB729C}"/>
              </a:ext>
            </a:extLst>
          </p:cNvPr>
          <p:cNvSpPr/>
          <p:nvPr/>
        </p:nvSpPr>
        <p:spPr>
          <a:xfrm>
            <a:off x="250208" y="3163352"/>
            <a:ext cx="11318543" cy="867286"/>
          </a:xfrm>
          <a:prstGeom prst="rightArrow">
            <a:avLst>
              <a:gd name="adj1" fmla="val 100000"/>
              <a:gd name="adj2" fmla="val 0"/>
            </a:avLst>
          </a:prstGeom>
          <a:solidFill>
            <a:schemeClr val="bg2">
              <a:lumMod val="90000"/>
            </a:schemeClr>
          </a:solidFill>
          <a:ln>
            <a:solidFill>
              <a:schemeClr val="tx1">
                <a:lumMod val="50000"/>
                <a:lumOff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5" name="Arrow: Right 4">
            <a:extLst>
              <a:ext uri="{FF2B5EF4-FFF2-40B4-BE49-F238E27FC236}">
                <a16:creationId xmlns:a16="http://schemas.microsoft.com/office/drawing/2014/main" id="{C1ABDCE6-30AC-2C48-F315-A2AD6247F7DE}"/>
              </a:ext>
            </a:extLst>
          </p:cNvPr>
          <p:cNvSpPr/>
          <p:nvPr/>
        </p:nvSpPr>
        <p:spPr>
          <a:xfrm>
            <a:off x="196703" y="1618881"/>
            <a:ext cx="11605438" cy="770932"/>
          </a:xfrm>
          <a:prstGeom prst="rightArrow">
            <a:avLst>
              <a:gd name="adj1" fmla="val 50000"/>
              <a:gd name="adj2" fmla="val 30769"/>
            </a:avLst>
          </a:prstGeom>
          <a:solidFill>
            <a:schemeClr val="accent3"/>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6" name="Rectangle 5">
            <a:extLst>
              <a:ext uri="{FF2B5EF4-FFF2-40B4-BE49-F238E27FC236}">
                <a16:creationId xmlns:a16="http://schemas.microsoft.com/office/drawing/2014/main" id="{30F230E8-5400-2120-0077-8E35F1EF378B}"/>
              </a:ext>
            </a:extLst>
          </p:cNvPr>
          <p:cNvSpPr/>
          <p:nvPr/>
        </p:nvSpPr>
        <p:spPr>
          <a:xfrm>
            <a:off x="284952" y="567626"/>
            <a:ext cx="11247106" cy="322093"/>
          </a:xfrm>
          <a:prstGeom prst="rect">
            <a:avLst/>
          </a:prstGeom>
          <a:noFill/>
          <a:ln w="12700" cap="rnd"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3A37"/>
                </a:solidFill>
                <a:effectLst/>
                <a:uLnTx/>
                <a:uFillTx/>
                <a:latin typeface="Trebuchet MS"/>
                <a:ea typeface="+mn-ea"/>
                <a:cs typeface="+mn-cs"/>
              </a:rPr>
              <a:t>Relaxing foreign ownership – expected indicator impacts</a:t>
            </a:r>
          </a:p>
        </p:txBody>
      </p:sp>
      <p:sp>
        <p:nvSpPr>
          <p:cNvPr id="7" name="Rectangle 6">
            <a:extLst>
              <a:ext uri="{FF2B5EF4-FFF2-40B4-BE49-F238E27FC236}">
                <a16:creationId xmlns:a16="http://schemas.microsoft.com/office/drawing/2014/main" id="{95112162-5176-1D78-493A-15C99DB8BD00}"/>
              </a:ext>
            </a:extLst>
          </p:cNvPr>
          <p:cNvSpPr/>
          <p:nvPr/>
        </p:nvSpPr>
        <p:spPr>
          <a:xfrm>
            <a:off x="312955" y="1762197"/>
            <a:ext cx="1732809" cy="527968"/>
          </a:xfrm>
          <a:prstGeom prst="rect">
            <a:avLst/>
          </a:prstGeom>
          <a:solidFill>
            <a:srgbClr val="006C67"/>
          </a:solidFill>
          <a:ln w="12700" cap="flat" cmpd="sng" algn="ctr">
            <a:no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Trebuchet MS"/>
                <a:ea typeface="Calibri"/>
                <a:cs typeface="Calibri"/>
                <a:sym typeface="Calibri"/>
              </a:rPr>
              <a:t>Policy design and access conditions</a:t>
            </a:r>
          </a:p>
        </p:txBody>
      </p:sp>
      <p:sp>
        <p:nvSpPr>
          <p:cNvPr id="8" name="Rectangle 7">
            <a:extLst>
              <a:ext uri="{FF2B5EF4-FFF2-40B4-BE49-F238E27FC236}">
                <a16:creationId xmlns:a16="http://schemas.microsoft.com/office/drawing/2014/main" id="{5FAC233D-63F9-27B7-B522-A824800718C3}"/>
              </a:ext>
            </a:extLst>
          </p:cNvPr>
          <p:cNvSpPr/>
          <p:nvPr/>
        </p:nvSpPr>
        <p:spPr>
          <a:xfrm>
            <a:off x="2197680" y="1762197"/>
            <a:ext cx="1732809" cy="527968"/>
          </a:xfrm>
          <a:prstGeom prst="rect">
            <a:avLst/>
          </a:prstGeom>
          <a:solidFill>
            <a:srgbClr val="006C67"/>
          </a:solidFill>
          <a:ln w="12700" cap="flat" cmpd="sng" algn="ctr">
            <a:no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Trebuchet MS"/>
                <a:ea typeface="Calibri"/>
                <a:cs typeface="Calibri"/>
                <a:sym typeface="Calibri"/>
              </a:rPr>
              <a:t>Demand, expectations &amp; investor mix</a:t>
            </a:r>
          </a:p>
        </p:txBody>
      </p:sp>
      <p:sp>
        <p:nvSpPr>
          <p:cNvPr id="9" name="Rectangle 8">
            <a:extLst>
              <a:ext uri="{FF2B5EF4-FFF2-40B4-BE49-F238E27FC236}">
                <a16:creationId xmlns:a16="http://schemas.microsoft.com/office/drawing/2014/main" id="{2A40D889-FDD2-C5AE-E5A4-1C2FCC2A7935}"/>
              </a:ext>
            </a:extLst>
          </p:cNvPr>
          <p:cNvSpPr/>
          <p:nvPr/>
        </p:nvSpPr>
        <p:spPr>
          <a:xfrm>
            <a:off x="4082405" y="1762197"/>
            <a:ext cx="1732809" cy="527968"/>
          </a:xfrm>
          <a:prstGeom prst="rect">
            <a:avLst/>
          </a:prstGeom>
          <a:solidFill>
            <a:srgbClr val="006C67"/>
          </a:solidFill>
          <a:ln w="12700" cap="flat" cmpd="sng" algn="ctr">
            <a:no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Trebuchet MS"/>
                <a:ea typeface="Calibri"/>
                <a:cs typeface="Calibri"/>
                <a:sym typeface="Calibri"/>
              </a:rPr>
              <a:t>Land &amp; asset prices and market liquidity</a:t>
            </a:r>
          </a:p>
        </p:txBody>
      </p:sp>
      <p:sp>
        <p:nvSpPr>
          <p:cNvPr id="10" name="Rectangle 9">
            <a:extLst>
              <a:ext uri="{FF2B5EF4-FFF2-40B4-BE49-F238E27FC236}">
                <a16:creationId xmlns:a16="http://schemas.microsoft.com/office/drawing/2014/main" id="{EBF15C77-0B89-FF8D-CDCA-8B823256DD5B}"/>
              </a:ext>
            </a:extLst>
          </p:cNvPr>
          <p:cNvSpPr/>
          <p:nvPr/>
        </p:nvSpPr>
        <p:spPr>
          <a:xfrm>
            <a:off x="5967130" y="1762197"/>
            <a:ext cx="1732809" cy="527968"/>
          </a:xfrm>
          <a:prstGeom prst="rect">
            <a:avLst/>
          </a:prstGeom>
          <a:solidFill>
            <a:srgbClr val="006C67"/>
          </a:solidFill>
          <a:ln w="12700" cap="flat" cmpd="sng" algn="ctr">
            <a:no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Trebuchet MS"/>
                <a:ea typeface="Calibri"/>
                <a:cs typeface="Calibri"/>
                <a:sym typeface="Calibri"/>
              </a:rPr>
              <a:t>Development pipeline &amp; capital formation</a:t>
            </a:r>
          </a:p>
        </p:txBody>
      </p:sp>
      <p:sp>
        <p:nvSpPr>
          <p:cNvPr id="11" name="Rectangle 10">
            <a:extLst>
              <a:ext uri="{FF2B5EF4-FFF2-40B4-BE49-F238E27FC236}">
                <a16:creationId xmlns:a16="http://schemas.microsoft.com/office/drawing/2014/main" id="{072F9FE0-06B7-F536-13E3-30B69DE4969A}"/>
              </a:ext>
            </a:extLst>
          </p:cNvPr>
          <p:cNvSpPr/>
          <p:nvPr/>
        </p:nvSpPr>
        <p:spPr>
          <a:xfrm>
            <a:off x="7851855" y="1762197"/>
            <a:ext cx="1732809" cy="527968"/>
          </a:xfrm>
          <a:prstGeom prst="rect">
            <a:avLst/>
          </a:prstGeom>
          <a:solidFill>
            <a:srgbClr val="006C67"/>
          </a:solidFill>
          <a:ln w="12700" cap="flat" cmpd="sng" algn="ctr">
            <a:no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Trebuchet MS"/>
                <a:ea typeface="Calibri"/>
                <a:cs typeface="Calibri"/>
                <a:sym typeface="Calibri"/>
              </a:rPr>
              <a:t>Housing &amp; segment outcomes</a:t>
            </a:r>
          </a:p>
        </p:txBody>
      </p:sp>
      <p:sp>
        <p:nvSpPr>
          <p:cNvPr id="12" name="Rectangle 11">
            <a:extLst>
              <a:ext uri="{FF2B5EF4-FFF2-40B4-BE49-F238E27FC236}">
                <a16:creationId xmlns:a16="http://schemas.microsoft.com/office/drawing/2014/main" id="{9D7A0985-066F-3E0F-9A44-20C6B4FE013D}"/>
              </a:ext>
            </a:extLst>
          </p:cNvPr>
          <p:cNvSpPr/>
          <p:nvPr/>
        </p:nvSpPr>
        <p:spPr>
          <a:xfrm>
            <a:off x="9736583" y="1762197"/>
            <a:ext cx="1732809" cy="527968"/>
          </a:xfrm>
          <a:prstGeom prst="rect">
            <a:avLst/>
          </a:prstGeom>
          <a:solidFill>
            <a:srgbClr val="006C67"/>
          </a:solidFill>
          <a:ln w="12700" cap="flat" cmpd="sng" algn="ctr">
            <a:no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Trebuchet MS"/>
                <a:ea typeface="Calibri"/>
                <a:cs typeface="Calibri"/>
                <a:sym typeface="Calibri"/>
              </a:rPr>
              <a:t>Fiscal, external &amp; macro effects</a:t>
            </a:r>
          </a:p>
        </p:txBody>
      </p:sp>
      <p:grpSp>
        <p:nvGrpSpPr>
          <p:cNvPr id="13" name="Group 12">
            <a:extLst>
              <a:ext uri="{FF2B5EF4-FFF2-40B4-BE49-F238E27FC236}">
                <a16:creationId xmlns:a16="http://schemas.microsoft.com/office/drawing/2014/main" id="{265BC63A-378F-3CD3-113B-FB02A97A223B}"/>
              </a:ext>
            </a:extLst>
          </p:cNvPr>
          <p:cNvGrpSpPr/>
          <p:nvPr/>
        </p:nvGrpSpPr>
        <p:grpSpPr>
          <a:xfrm>
            <a:off x="330212" y="2487803"/>
            <a:ext cx="11141607" cy="527968"/>
            <a:chOff x="330212" y="2487803"/>
            <a:chExt cx="11141607" cy="527968"/>
          </a:xfrm>
        </p:grpSpPr>
        <p:sp>
          <p:nvSpPr>
            <p:cNvPr id="14" name="Rectangle 13">
              <a:extLst>
                <a:ext uri="{FF2B5EF4-FFF2-40B4-BE49-F238E27FC236}">
                  <a16:creationId xmlns:a16="http://schemas.microsoft.com/office/drawing/2014/main" id="{F402ABDA-8BFC-32CF-D909-40E4557C87BB}"/>
                </a:ext>
              </a:extLst>
            </p:cNvPr>
            <p:cNvSpPr/>
            <p:nvPr/>
          </p:nvSpPr>
          <p:spPr>
            <a:xfrm>
              <a:off x="330212" y="2487803"/>
              <a:ext cx="1716952" cy="527968"/>
            </a:xfrm>
            <a:prstGeom prst="rect">
              <a:avLst/>
            </a:prstGeom>
            <a:solidFill>
              <a:schemeClr val="accent5"/>
            </a:solidFill>
            <a:ln w="12700" cap="flat" cmpd="sng" algn="ctr">
              <a:noFill/>
              <a:prstDash val="solid"/>
              <a:miter lim="800000"/>
            </a:ln>
            <a:effectLst>
              <a:outerShdw blurRad="50800" dist="38100" dir="2700000" algn="tl" rotWithShape="0">
                <a:prstClr val="black">
                  <a:alpha val="40000"/>
                </a:prstClr>
              </a:outerShdw>
            </a:effectLst>
          </p:spPr>
          <p:txBody>
            <a:bodyPr lIns="18288" r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Trebuchet MS"/>
                  <a:ea typeface="Calibri"/>
                  <a:cs typeface="Calibri"/>
                  <a:sym typeface="Calibri"/>
                </a:rPr>
                <a:t>FO cove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prstClr val="white"/>
                  </a:solidFill>
                  <a:effectLst/>
                  <a:uLnTx/>
                  <a:uFillTx/>
                  <a:latin typeface="Trebuchet MS"/>
                  <a:ea typeface="Calibri"/>
                  <a:cs typeface="Calibri"/>
                  <a:sym typeface="Calibri"/>
                </a:rPr>
                <a:t>% of districts / asset types open to foreign buyers</a:t>
              </a:r>
            </a:p>
          </p:txBody>
        </p:sp>
        <p:sp>
          <p:nvSpPr>
            <p:cNvPr id="15" name="Rectangle 14">
              <a:extLst>
                <a:ext uri="{FF2B5EF4-FFF2-40B4-BE49-F238E27FC236}">
                  <a16:creationId xmlns:a16="http://schemas.microsoft.com/office/drawing/2014/main" id="{E31009CA-D882-1889-3098-E8FAB4DCB29B}"/>
                </a:ext>
              </a:extLst>
            </p:cNvPr>
            <p:cNvSpPr/>
            <p:nvPr/>
          </p:nvSpPr>
          <p:spPr>
            <a:xfrm>
              <a:off x="2197679" y="2487803"/>
              <a:ext cx="1732875" cy="527968"/>
            </a:xfrm>
            <a:prstGeom prst="rect">
              <a:avLst/>
            </a:prstGeom>
            <a:solidFill>
              <a:schemeClr val="accent5"/>
            </a:solidFill>
            <a:ln w="12700" cap="flat" cmpd="sng" algn="ctr">
              <a:noFill/>
              <a:prstDash val="solid"/>
              <a:miter lim="800000"/>
            </a:ln>
            <a:effectLst>
              <a:outerShdw blurRad="50800" dist="38100" dir="2700000" algn="tl" rotWithShape="0">
                <a:prstClr val="black">
                  <a:alpha val="40000"/>
                </a:prstClr>
              </a:outerShdw>
            </a:effectLst>
          </p:spPr>
          <p:txBody>
            <a:bodyPr lIns="18288" r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Trebuchet MS"/>
                  <a:ea typeface="Calibri"/>
                  <a:cs typeface="Calibri"/>
                  <a:sym typeface="Calibri"/>
                </a:rPr>
                <a:t>Foreign share of transac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prstClr val="white"/>
                  </a:solidFill>
                  <a:effectLst/>
                  <a:uLnTx/>
                  <a:uFillTx/>
                  <a:latin typeface="Trebuchet MS"/>
                  <a:ea typeface="Calibri"/>
                  <a:cs typeface="Calibri"/>
                  <a:sym typeface="Calibri"/>
                </a:rPr>
                <a:t>% of sales value to foreign buyers</a:t>
              </a:r>
            </a:p>
          </p:txBody>
        </p:sp>
        <p:sp>
          <p:nvSpPr>
            <p:cNvPr id="16" name="Rectangle 15">
              <a:extLst>
                <a:ext uri="{FF2B5EF4-FFF2-40B4-BE49-F238E27FC236}">
                  <a16:creationId xmlns:a16="http://schemas.microsoft.com/office/drawing/2014/main" id="{7468FAD4-7908-30A5-0E12-D09904B1FA5B}"/>
                </a:ext>
              </a:extLst>
            </p:cNvPr>
            <p:cNvSpPr/>
            <p:nvPr/>
          </p:nvSpPr>
          <p:spPr>
            <a:xfrm>
              <a:off x="4092445" y="2487803"/>
              <a:ext cx="829848" cy="527968"/>
            </a:xfrm>
            <a:prstGeom prst="rect">
              <a:avLst/>
            </a:prstGeom>
            <a:solidFill>
              <a:schemeClr val="accent5"/>
            </a:solidFill>
            <a:ln w="12700" cap="flat" cmpd="sng" algn="ctr">
              <a:noFill/>
              <a:prstDash val="solid"/>
              <a:miter lim="800000"/>
            </a:ln>
            <a:effectLst>
              <a:outerShdw blurRad="50800" dist="38100" dir="2700000" algn="tl" rotWithShape="0">
                <a:prstClr val="black">
                  <a:alpha val="40000"/>
                </a:prstClr>
              </a:outerShdw>
            </a:effectLst>
          </p:spPr>
          <p:txBody>
            <a:bodyPr lIns="18288" r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Trebuchet MS"/>
                  <a:ea typeface="Calibri"/>
                  <a:cs typeface="Calibri"/>
                  <a:sym typeface="Calibri"/>
                </a:rPr>
                <a:t>Price index in FO zones</a:t>
              </a:r>
            </a:p>
          </p:txBody>
        </p:sp>
        <p:sp>
          <p:nvSpPr>
            <p:cNvPr id="17" name="Rectangle 16">
              <a:extLst>
                <a:ext uri="{FF2B5EF4-FFF2-40B4-BE49-F238E27FC236}">
                  <a16:creationId xmlns:a16="http://schemas.microsoft.com/office/drawing/2014/main" id="{2418CE6B-BBAB-6493-A930-43F88A48BDE7}"/>
                </a:ext>
              </a:extLst>
            </p:cNvPr>
            <p:cNvSpPr/>
            <p:nvPr/>
          </p:nvSpPr>
          <p:spPr>
            <a:xfrm>
              <a:off x="4978149" y="2487803"/>
              <a:ext cx="829848" cy="527968"/>
            </a:xfrm>
            <a:prstGeom prst="rect">
              <a:avLst/>
            </a:prstGeom>
            <a:solidFill>
              <a:schemeClr val="accent5"/>
            </a:solidFill>
            <a:ln w="12700" cap="flat" cmpd="sng" algn="ctr">
              <a:noFill/>
              <a:prstDash val="solid"/>
              <a:miter lim="800000"/>
            </a:ln>
            <a:effectLst>
              <a:outerShdw blurRad="50800" dist="38100" dir="2700000" algn="tl" rotWithShape="0">
                <a:prstClr val="black">
                  <a:alpha val="40000"/>
                </a:prstClr>
              </a:outerShdw>
            </a:effectLst>
          </p:spPr>
          <p:txBody>
            <a:bodyPr lIns="18288" r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Trebuchet MS"/>
                  <a:ea typeface="Calibri"/>
                  <a:cs typeface="Calibri"/>
                  <a:sym typeface="Calibri"/>
                </a:rPr>
                <a:t>Market liquidity – </a:t>
              </a:r>
              <a:r>
                <a:rPr kumimoji="0" lang="en-GB" sz="800" b="0" i="0" u="none" strike="noStrike" kern="0" cap="none" spc="0" normalizeH="0" baseline="0" noProof="0">
                  <a:ln>
                    <a:noFill/>
                  </a:ln>
                  <a:solidFill>
                    <a:prstClr val="white"/>
                  </a:solidFill>
                  <a:effectLst/>
                  <a:uLnTx/>
                  <a:uFillTx/>
                  <a:latin typeface="Trebuchet MS"/>
                  <a:ea typeface="Calibri"/>
                  <a:cs typeface="Calibri"/>
                  <a:sym typeface="Calibri"/>
                </a:rPr>
                <a:t>transactions per 1,000 units</a:t>
              </a:r>
            </a:p>
          </p:txBody>
        </p:sp>
        <p:sp>
          <p:nvSpPr>
            <p:cNvPr id="18" name="Rectangle 17">
              <a:extLst>
                <a:ext uri="{FF2B5EF4-FFF2-40B4-BE49-F238E27FC236}">
                  <a16:creationId xmlns:a16="http://schemas.microsoft.com/office/drawing/2014/main" id="{AE3DD28C-CA31-3BD9-A132-FE26617B4EBF}"/>
                </a:ext>
              </a:extLst>
            </p:cNvPr>
            <p:cNvSpPr/>
            <p:nvPr/>
          </p:nvSpPr>
          <p:spPr>
            <a:xfrm>
              <a:off x="5980386" y="2487803"/>
              <a:ext cx="1703304" cy="527968"/>
            </a:xfrm>
            <a:prstGeom prst="rect">
              <a:avLst/>
            </a:prstGeom>
            <a:solidFill>
              <a:schemeClr val="accent5"/>
            </a:solidFill>
            <a:ln w="12700" cap="flat" cmpd="sng" algn="ctr">
              <a:noFill/>
              <a:prstDash val="solid"/>
              <a:miter lim="800000"/>
            </a:ln>
            <a:effectLst>
              <a:outerShdw blurRad="50800" dist="38100" dir="2700000" algn="tl" rotWithShape="0">
                <a:prstClr val="black">
                  <a:alpha val="40000"/>
                </a:prstClr>
              </a:outerShdw>
            </a:effectLst>
          </p:spPr>
          <p:txBody>
            <a:bodyPr lIns="18288" r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Trebuchet MS"/>
                  <a:ea typeface="Calibri"/>
                  <a:cs typeface="Calibri"/>
                  <a:sym typeface="Calibri"/>
                </a:rPr>
                <a:t>New supp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prstClr val="white"/>
                  </a:solidFill>
                  <a:effectLst/>
                  <a:uLnTx/>
                  <a:uFillTx/>
                  <a:latin typeface="Trebuchet MS"/>
                  <a:ea typeface="Calibri"/>
                  <a:cs typeface="Calibri"/>
                  <a:sym typeface="Calibri"/>
                </a:rPr>
                <a:t>completions (units / m²)</a:t>
              </a:r>
            </a:p>
          </p:txBody>
        </p:sp>
        <p:sp>
          <p:nvSpPr>
            <p:cNvPr id="19" name="Rectangle 18">
              <a:extLst>
                <a:ext uri="{FF2B5EF4-FFF2-40B4-BE49-F238E27FC236}">
                  <a16:creationId xmlns:a16="http://schemas.microsoft.com/office/drawing/2014/main" id="{347E13E2-DB91-8338-D8D8-5DEFE4DB3F0F}"/>
                </a:ext>
              </a:extLst>
            </p:cNvPr>
            <p:cNvSpPr/>
            <p:nvPr/>
          </p:nvSpPr>
          <p:spPr>
            <a:xfrm>
              <a:off x="7857067" y="2487803"/>
              <a:ext cx="1735910" cy="527968"/>
            </a:xfrm>
            <a:prstGeom prst="rect">
              <a:avLst/>
            </a:prstGeom>
            <a:solidFill>
              <a:schemeClr val="accent5"/>
            </a:solidFill>
            <a:ln w="12700" cap="flat" cmpd="sng" algn="ctr">
              <a:noFill/>
              <a:prstDash val="solid"/>
              <a:miter lim="800000"/>
            </a:ln>
            <a:effectLst>
              <a:outerShdw blurRad="50800" dist="38100" dir="2700000" algn="tl" rotWithShape="0">
                <a:prstClr val="black">
                  <a:alpha val="40000"/>
                </a:prstClr>
              </a:outerShdw>
            </a:effectLst>
          </p:spPr>
          <p:txBody>
            <a:bodyPr lIns="18288" r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Trebuchet MS"/>
                  <a:ea typeface="Calibri"/>
                  <a:cs typeface="Calibri"/>
                  <a:sym typeface="Calibri"/>
                </a:rPr>
                <a:t>Mid-market supply share</a:t>
              </a:r>
            </a:p>
          </p:txBody>
        </p:sp>
        <p:sp>
          <p:nvSpPr>
            <p:cNvPr id="20" name="Rectangle 19">
              <a:extLst>
                <a:ext uri="{FF2B5EF4-FFF2-40B4-BE49-F238E27FC236}">
                  <a16:creationId xmlns:a16="http://schemas.microsoft.com/office/drawing/2014/main" id="{8A346C71-4A2A-5B5C-E65B-0D3571DE589A}"/>
                </a:ext>
              </a:extLst>
            </p:cNvPr>
            <p:cNvSpPr/>
            <p:nvPr/>
          </p:nvSpPr>
          <p:spPr>
            <a:xfrm>
              <a:off x="9756267" y="2487803"/>
              <a:ext cx="829848" cy="527968"/>
            </a:xfrm>
            <a:prstGeom prst="rect">
              <a:avLst/>
            </a:prstGeom>
            <a:solidFill>
              <a:schemeClr val="accent5"/>
            </a:solidFill>
            <a:ln w="12700" cap="flat" cmpd="sng" algn="ctr">
              <a:noFill/>
              <a:prstDash val="solid"/>
              <a:miter lim="800000"/>
            </a:ln>
            <a:effectLst>
              <a:outerShdw blurRad="50800" dist="38100" dir="2700000" algn="tl" rotWithShape="0">
                <a:prstClr val="black">
                  <a:alpha val="40000"/>
                </a:prstClr>
              </a:outerShdw>
            </a:effectLst>
          </p:spPr>
          <p:txBody>
            <a:bodyPr lIns="18288" r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Trebuchet MS"/>
                  <a:ea typeface="Calibri"/>
                  <a:cs typeface="Calibri"/>
                  <a:sym typeface="Calibri"/>
                </a:rPr>
                <a:t>Tax reven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prstClr val="white"/>
                  </a:solidFill>
                  <a:effectLst/>
                  <a:uLnTx/>
                  <a:uFillTx/>
                  <a:latin typeface="Trebuchet MS"/>
                  <a:ea typeface="Calibri"/>
                  <a:cs typeface="Calibri"/>
                  <a:sym typeface="Calibri"/>
                </a:rPr>
                <a:t>RETT, VAT, gains, income / corporate etc</a:t>
              </a:r>
            </a:p>
          </p:txBody>
        </p:sp>
        <p:sp>
          <p:nvSpPr>
            <p:cNvPr id="21" name="Rectangle 20">
              <a:extLst>
                <a:ext uri="{FF2B5EF4-FFF2-40B4-BE49-F238E27FC236}">
                  <a16:creationId xmlns:a16="http://schemas.microsoft.com/office/drawing/2014/main" id="{AE3C6C47-8546-DB6C-0419-CEC66A06B8B6}"/>
                </a:ext>
              </a:extLst>
            </p:cNvPr>
            <p:cNvSpPr/>
            <p:nvPr/>
          </p:nvSpPr>
          <p:spPr>
            <a:xfrm>
              <a:off x="10641971" y="2487803"/>
              <a:ext cx="829848" cy="527968"/>
            </a:xfrm>
            <a:prstGeom prst="rect">
              <a:avLst/>
            </a:prstGeom>
            <a:solidFill>
              <a:schemeClr val="accent5"/>
            </a:solidFill>
            <a:ln w="12700" cap="flat" cmpd="sng" algn="ctr">
              <a:noFill/>
              <a:prstDash val="solid"/>
              <a:miter lim="800000"/>
            </a:ln>
            <a:effectLst>
              <a:outerShdw blurRad="50800" dist="38100" dir="2700000" algn="tl" rotWithShape="0">
                <a:prstClr val="black">
                  <a:alpha val="40000"/>
                </a:prstClr>
              </a:outerShdw>
            </a:effectLst>
          </p:spPr>
          <p:txBody>
            <a:bodyPr lIns="18288" r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Trebuchet MS"/>
                  <a:ea typeface="Calibri"/>
                  <a:cs typeface="Calibri"/>
                  <a:sym typeface="Calibri"/>
                </a:rPr>
                <a:t>Real-estate FDI inflows / stock</a:t>
              </a:r>
            </a:p>
          </p:txBody>
        </p:sp>
      </p:grpSp>
      <p:sp>
        <p:nvSpPr>
          <p:cNvPr id="22" name="Rectangle 21">
            <a:extLst>
              <a:ext uri="{FF2B5EF4-FFF2-40B4-BE49-F238E27FC236}">
                <a16:creationId xmlns:a16="http://schemas.microsoft.com/office/drawing/2014/main" id="{D1D2D50E-DD58-C630-ADEF-CE19994B02A7}"/>
              </a:ext>
            </a:extLst>
          </p:cNvPr>
          <p:cNvSpPr/>
          <p:nvPr/>
        </p:nvSpPr>
        <p:spPr>
          <a:xfrm>
            <a:off x="330211" y="3434048"/>
            <a:ext cx="1726051" cy="527968"/>
          </a:xfrm>
          <a:prstGeom prst="rect">
            <a:avLst/>
          </a:prstGeom>
          <a:solidFill>
            <a:schemeClr val="bg1"/>
          </a:solidFill>
          <a:ln w="12700" cap="flat" cmpd="sng" algn="ctr">
            <a:solidFill>
              <a:srgbClr val="00B050"/>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Trebuchet MS"/>
                <a:ea typeface="Calibri"/>
                <a:cs typeface="Calibri"/>
                <a:sym typeface="Calibri"/>
              </a:rPr>
              <a:t>More zones open to foreign investment</a:t>
            </a:r>
          </a:p>
        </p:txBody>
      </p:sp>
      <p:sp>
        <p:nvSpPr>
          <p:cNvPr id="23" name="Rectangle 22">
            <a:extLst>
              <a:ext uri="{FF2B5EF4-FFF2-40B4-BE49-F238E27FC236}">
                <a16:creationId xmlns:a16="http://schemas.microsoft.com/office/drawing/2014/main" id="{A23657DE-35B7-6929-2F7C-09EFCAC66D59}"/>
              </a:ext>
            </a:extLst>
          </p:cNvPr>
          <p:cNvSpPr/>
          <p:nvPr/>
        </p:nvSpPr>
        <p:spPr>
          <a:xfrm>
            <a:off x="2197679" y="3434048"/>
            <a:ext cx="1732875" cy="527968"/>
          </a:xfrm>
          <a:prstGeom prst="rect">
            <a:avLst/>
          </a:prstGeom>
          <a:solidFill>
            <a:schemeClr val="bg1"/>
          </a:solidFill>
          <a:ln w="12700" cap="flat" cmpd="sng" algn="ctr">
            <a:solidFill>
              <a:srgbClr val="00B050"/>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Trebuchet MS"/>
                <a:ea typeface="Calibri"/>
                <a:cs typeface="Calibri"/>
                <a:sym typeface="Calibri"/>
              </a:rPr>
              <a:t>Foreign demand rises</a:t>
            </a:r>
          </a:p>
        </p:txBody>
      </p:sp>
      <p:sp>
        <p:nvSpPr>
          <p:cNvPr id="24" name="Rectangle 23">
            <a:extLst>
              <a:ext uri="{FF2B5EF4-FFF2-40B4-BE49-F238E27FC236}">
                <a16:creationId xmlns:a16="http://schemas.microsoft.com/office/drawing/2014/main" id="{47376339-1871-E321-48C6-46724A76066C}"/>
              </a:ext>
            </a:extLst>
          </p:cNvPr>
          <p:cNvSpPr/>
          <p:nvPr/>
        </p:nvSpPr>
        <p:spPr>
          <a:xfrm>
            <a:off x="4092445" y="3434048"/>
            <a:ext cx="829848" cy="527968"/>
          </a:xfrm>
          <a:prstGeom prst="rect">
            <a:avLst/>
          </a:prstGeom>
          <a:solidFill>
            <a:schemeClr val="bg1"/>
          </a:solidFill>
          <a:ln w="12700" cap="flat" cmpd="sng" algn="ctr">
            <a:solidFill>
              <a:srgbClr val="FFCC66"/>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Trebuchet MS"/>
                <a:ea typeface="Calibri"/>
                <a:cs typeface="Calibri"/>
                <a:sym typeface="Calibri"/>
              </a:rPr>
              <a:t>Price increase</a:t>
            </a:r>
          </a:p>
        </p:txBody>
      </p:sp>
      <p:sp>
        <p:nvSpPr>
          <p:cNvPr id="25" name="Rectangle 24">
            <a:extLst>
              <a:ext uri="{FF2B5EF4-FFF2-40B4-BE49-F238E27FC236}">
                <a16:creationId xmlns:a16="http://schemas.microsoft.com/office/drawing/2014/main" id="{E9B50159-E7FC-3B30-0D20-315918129C87}"/>
              </a:ext>
            </a:extLst>
          </p:cNvPr>
          <p:cNvSpPr/>
          <p:nvPr/>
        </p:nvSpPr>
        <p:spPr>
          <a:xfrm>
            <a:off x="4978149" y="3434048"/>
            <a:ext cx="829848" cy="527968"/>
          </a:xfrm>
          <a:prstGeom prst="rect">
            <a:avLst/>
          </a:prstGeom>
          <a:solidFill>
            <a:schemeClr val="bg1"/>
          </a:solidFill>
          <a:ln w="12700" cap="flat" cmpd="sng" algn="ctr">
            <a:solidFill>
              <a:srgbClr val="00B050"/>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Trebuchet MS"/>
                <a:ea typeface="Calibri"/>
                <a:cs typeface="Calibri"/>
                <a:sym typeface="Calibri"/>
              </a:rPr>
              <a:t>More transactions</a:t>
            </a:r>
          </a:p>
        </p:txBody>
      </p:sp>
      <p:sp>
        <p:nvSpPr>
          <p:cNvPr id="26" name="Rectangle 25">
            <a:extLst>
              <a:ext uri="{FF2B5EF4-FFF2-40B4-BE49-F238E27FC236}">
                <a16:creationId xmlns:a16="http://schemas.microsoft.com/office/drawing/2014/main" id="{429DE903-C56E-A6F8-2314-A8C6B644A16D}"/>
              </a:ext>
            </a:extLst>
          </p:cNvPr>
          <p:cNvSpPr/>
          <p:nvPr/>
        </p:nvSpPr>
        <p:spPr>
          <a:xfrm>
            <a:off x="5980386" y="3434048"/>
            <a:ext cx="1698754" cy="527968"/>
          </a:xfrm>
          <a:prstGeom prst="rect">
            <a:avLst/>
          </a:prstGeom>
          <a:solidFill>
            <a:schemeClr val="bg1"/>
          </a:solidFill>
          <a:ln w="12700" cap="flat" cmpd="sng" algn="ctr">
            <a:solidFill>
              <a:schemeClr val="bg1">
                <a:lumMod val="50000"/>
              </a:schemeClr>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Trebuchet MS"/>
                <a:ea typeface="Calibri"/>
                <a:cs typeface="Calibri"/>
                <a:sym typeface="Calibri"/>
              </a:rPr>
              <a:t>Limited change (lags)</a:t>
            </a:r>
          </a:p>
        </p:txBody>
      </p:sp>
      <p:sp>
        <p:nvSpPr>
          <p:cNvPr id="27" name="Rectangle 26">
            <a:extLst>
              <a:ext uri="{FF2B5EF4-FFF2-40B4-BE49-F238E27FC236}">
                <a16:creationId xmlns:a16="http://schemas.microsoft.com/office/drawing/2014/main" id="{4C86E991-3284-A97D-5A67-A4EEAC2E7C9B}"/>
              </a:ext>
            </a:extLst>
          </p:cNvPr>
          <p:cNvSpPr/>
          <p:nvPr/>
        </p:nvSpPr>
        <p:spPr>
          <a:xfrm>
            <a:off x="7857067" y="3434048"/>
            <a:ext cx="1735910" cy="527968"/>
          </a:xfrm>
          <a:prstGeom prst="rect">
            <a:avLst/>
          </a:prstGeom>
          <a:solidFill>
            <a:schemeClr val="bg1"/>
          </a:solidFill>
          <a:ln w="12700" cap="flat" cmpd="sng" algn="ctr">
            <a:solidFill>
              <a:srgbClr val="FFCC66"/>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Trebuchet MS"/>
                <a:ea typeface="Calibri"/>
                <a:cs typeface="Calibri"/>
                <a:sym typeface="Calibri"/>
              </a:rPr>
              <a:t>Supply may pivot to fulfil foreign demand rather than local demand</a:t>
            </a:r>
            <a:endParaRPr kumimoji="0" lang="en-GB" sz="1000" b="0" i="0" u="none" strike="noStrike" kern="0" cap="none" spc="0" normalizeH="0" baseline="0" noProof="0">
              <a:ln>
                <a:noFill/>
              </a:ln>
              <a:solidFill>
                <a:srgbClr val="000000"/>
              </a:solidFill>
              <a:effectLst/>
              <a:uLnTx/>
              <a:uFillTx/>
              <a:latin typeface="Trebuchet MS"/>
              <a:ea typeface="Calibri"/>
              <a:cs typeface="Calibri"/>
              <a:sym typeface="Calibri"/>
            </a:endParaRPr>
          </a:p>
        </p:txBody>
      </p:sp>
      <p:sp>
        <p:nvSpPr>
          <p:cNvPr id="28" name="Rectangle 27">
            <a:extLst>
              <a:ext uri="{FF2B5EF4-FFF2-40B4-BE49-F238E27FC236}">
                <a16:creationId xmlns:a16="http://schemas.microsoft.com/office/drawing/2014/main" id="{6A443EB7-87B9-CD78-5529-A8D9D2889732}"/>
              </a:ext>
            </a:extLst>
          </p:cNvPr>
          <p:cNvSpPr/>
          <p:nvPr/>
        </p:nvSpPr>
        <p:spPr>
          <a:xfrm>
            <a:off x="9756267" y="3434048"/>
            <a:ext cx="829848" cy="527968"/>
          </a:xfrm>
          <a:prstGeom prst="rect">
            <a:avLst/>
          </a:prstGeom>
          <a:solidFill>
            <a:schemeClr val="bg1"/>
          </a:solidFill>
          <a:ln w="12700" cap="flat" cmpd="sng" algn="ctr">
            <a:solidFill>
              <a:srgbClr val="00B050"/>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Trebuchet MS"/>
                <a:ea typeface="Calibri"/>
                <a:cs typeface="Calibri"/>
                <a:sym typeface="Calibri"/>
              </a:rPr>
              <a:t>Higher receipts</a:t>
            </a:r>
          </a:p>
        </p:txBody>
      </p:sp>
      <p:sp>
        <p:nvSpPr>
          <p:cNvPr id="29" name="Rectangle 28">
            <a:extLst>
              <a:ext uri="{FF2B5EF4-FFF2-40B4-BE49-F238E27FC236}">
                <a16:creationId xmlns:a16="http://schemas.microsoft.com/office/drawing/2014/main" id="{D6AF4AB1-CB84-FBBA-405E-45780A9EEE35}"/>
              </a:ext>
            </a:extLst>
          </p:cNvPr>
          <p:cNvSpPr/>
          <p:nvPr/>
        </p:nvSpPr>
        <p:spPr>
          <a:xfrm>
            <a:off x="10641971" y="3434048"/>
            <a:ext cx="829848" cy="527968"/>
          </a:xfrm>
          <a:prstGeom prst="rect">
            <a:avLst/>
          </a:prstGeom>
          <a:solidFill>
            <a:schemeClr val="bg1"/>
          </a:solidFill>
          <a:ln w="12700" cap="flat" cmpd="sng" algn="ctr">
            <a:solidFill>
              <a:schemeClr val="accent3"/>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Trebuchet MS"/>
                <a:ea typeface="Calibri"/>
                <a:cs typeface="Calibri"/>
                <a:sym typeface="Calibri"/>
              </a:rPr>
              <a:t>Increase</a:t>
            </a:r>
          </a:p>
        </p:txBody>
      </p:sp>
      <p:sp>
        <p:nvSpPr>
          <p:cNvPr id="30" name="Rectangle 29">
            <a:extLst>
              <a:ext uri="{FF2B5EF4-FFF2-40B4-BE49-F238E27FC236}">
                <a16:creationId xmlns:a16="http://schemas.microsoft.com/office/drawing/2014/main" id="{327D62ED-F2B0-7DAF-76AF-524879A67914}"/>
              </a:ext>
            </a:extLst>
          </p:cNvPr>
          <p:cNvSpPr/>
          <p:nvPr/>
        </p:nvSpPr>
        <p:spPr>
          <a:xfrm>
            <a:off x="241110" y="3104573"/>
            <a:ext cx="11161294" cy="322093"/>
          </a:xfrm>
          <a:prstGeom prst="rect">
            <a:avLst/>
          </a:prstGeom>
          <a:noFill/>
          <a:ln w="12700" cap="rnd"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3A37"/>
                </a:solidFill>
                <a:effectLst/>
                <a:uLnTx/>
                <a:uFillTx/>
                <a:latin typeface="Trebuchet MS"/>
                <a:ea typeface="+mn-ea"/>
                <a:cs typeface="+mn-cs"/>
              </a:rPr>
              <a:t>Impacts – short-term</a:t>
            </a:r>
          </a:p>
        </p:txBody>
      </p:sp>
      <p:sp>
        <p:nvSpPr>
          <p:cNvPr id="31" name="Rectangle 30">
            <a:extLst>
              <a:ext uri="{FF2B5EF4-FFF2-40B4-BE49-F238E27FC236}">
                <a16:creationId xmlns:a16="http://schemas.microsoft.com/office/drawing/2014/main" id="{5F9C7FD0-68D0-B434-F016-9F3BF554204A}"/>
              </a:ext>
            </a:extLst>
          </p:cNvPr>
          <p:cNvSpPr/>
          <p:nvPr/>
        </p:nvSpPr>
        <p:spPr>
          <a:xfrm>
            <a:off x="236560" y="4244161"/>
            <a:ext cx="11131723" cy="322093"/>
          </a:xfrm>
          <a:prstGeom prst="rect">
            <a:avLst/>
          </a:prstGeom>
          <a:noFill/>
          <a:ln w="12700" cap="rnd"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3A37"/>
                </a:solidFill>
                <a:effectLst/>
                <a:uLnTx/>
                <a:uFillTx/>
                <a:latin typeface="Trebuchet MS"/>
                <a:ea typeface="+mn-ea"/>
                <a:cs typeface="+mn-cs"/>
              </a:rPr>
              <a:t>Impacts – medium to long-term</a:t>
            </a:r>
          </a:p>
        </p:txBody>
      </p:sp>
      <p:grpSp>
        <p:nvGrpSpPr>
          <p:cNvPr id="32" name="Group 31">
            <a:extLst>
              <a:ext uri="{FF2B5EF4-FFF2-40B4-BE49-F238E27FC236}">
                <a16:creationId xmlns:a16="http://schemas.microsoft.com/office/drawing/2014/main" id="{3628441D-6198-5051-9CAE-44BD53E59056}"/>
              </a:ext>
            </a:extLst>
          </p:cNvPr>
          <p:cNvGrpSpPr>
            <a:grpSpLocks/>
          </p:cNvGrpSpPr>
          <p:nvPr/>
        </p:nvGrpSpPr>
        <p:grpSpPr>
          <a:xfrm>
            <a:off x="10705107" y="3606571"/>
            <a:ext cx="186742" cy="182362"/>
            <a:chOff x="11117109" y="3275022"/>
            <a:chExt cx="204113" cy="201240"/>
          </a:xfrm>
        </p:grpSpPr>
        <p:sp>
          <p:nvSpPr>
            <p:cNvPr id="33" name="Oval 32">
              <a:extLst>
                <a:ext uri="{FF2B5EF4-FFF2-40B4-BE49-F238E27FC236}">
                  <a16:creationId xmlns:a16="http://schemas.microsoft.com/office/drawing/2014/main" id="{EB615D55-8960-A594-337D-679E0E393129}"/>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34" name="Arrow: Down 33">
              <a:extLst>
                <a:ext uri="{FF2B5EF4-FFF2-40B4-BE49-F238E27FC236}">
                  <a16:creationId xmlns:a16="http://schemas.microsoft.com/office/drawing/2014/main" id="{BDCB9B18-DE95-9882-C6B0-1C6B75757055}"/>
                </a:ext>
              </a:extLst>
            </p:cNvPr>
            <p:cNvSpPr/>
            <p:nvPr/>
          </p:nvSpPr>
          <p:spPr>
            <a:xfrm rot="10800000">
              <a:off x="11149614" y="3315343"/>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5" name="Group 34">
            <a:extLst>
              <a:ext uri="{FF2B5EF4-FFF2-40B4-BE49-F238E27FC236}">
                <a16:creationId xmlns:a16="http://schemas.microsoft.com/office/drawing/2014/main" id="{B8B47762-FE4C-254D-2F92-AE89396D0876}"/>
              </a:ext>
            </a:extLst>
          </p:cNvPr>
          <p:cNvGrpSpPr>
            <a:grpSpLocks/>
          </p:cNvGrpSpPr>
          <p:nvPr/>
        </p:nvGrpSpPr>
        <p:grpSpPr>
          <a:xfrm>
            <a:off x="9844849" y="3610807"/>
            <a:ext cx="186742" cy="182362"/>
            <a:chOff x="11117109" y="3275022"/>
            <a:chExt cx="204113" cy="201240"/>
          </a:xfrm>
        </p:grpSpPr>
        <p:sp>
          <p:nvSpPr>
            <p:cNvPr id="36" name="Oval 35">
              <a:extLst>
                <a:ext uri="{FF2B5EF4-FFF2-40B4-BE49-F238E27FC236}">
                  <a16:creationId xmlns:a16="http://schemas.microsoft.com/office/drawing/2014/main" id="{09313DA7-C105-6238-D15F-19CE8246A1A8}"/>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37" name="Arrow: Down 36">
              <a:extLst>
                <a:ext uri="{FF2B5EF4-FFF2-40B4-BE49-F238E27FC236}">
                  <a16:creationId xmlns:a16="http://schemas.microsoft.com/office/drawing/2014/main" id="{6C5CCD6D-4023-BC3F-C9AC-FCADB4BE2317}"/>
                </a:ext>
              </a:extLst>
            </p:cNvPr>
            <p:cNvSpPr/>
            <p:nvPr/>
          </p:nvSpPr>
          <p:spPr>
            <a:xfrm rot="10800000">
              <a:off x="11149614" y="3315343"/>
              <a:ext cx="139104" cy="120599"/>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38" name="Group 37">
            <a:extLst>
              <a:ext uri="{FF2B5EF4-FFF2-40B4-BE49-F238E27FC236}">
                <a16:creationId xmlns:a16="http://schemas.microsoft.com/office/drawing/2014/main" id="{1B953F57-7F65-7E6F-CE40-6AB76949A632}"/>
              </a:ext>
            </a:extLst>
          </p:cNvPr>
          <p:cNvGrpSpPr>
            <a:grpSpLocks/>
          </p:cNvGrpSpPr>
          <p:nvPr/>
        </p:nvGrpSpPr>
        <p:grpSpPr>
          <a:xfrm>
            <a:off x="5037407" y="3610807"/>
            <a:ext cx="186742" cy="182362"/>
            <a:chOff x="11117109" y="3275022"/>
            <a:chExt cx="204113" cy="201240"/>
          </a:xfrm>
        </p:grpSpPr>
        <p:sp>
          <p:nvSpPr>
            <p:cNvPr id="39" name="Oval 38">
              <a:extLst>
                <a:ext uri="{FF2B5EF4-FFF2-40B4-BE49-F238E27FC236}">
                  <a16:creationId xmlns:a16="http://schemas.microsoft.com/office/drawing/2014/main" id="{6FF3CEC2-5EA5-A1CA-8358-80C2B5D47FD2}"/>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40" name="Arrow: Down 39">
              <a:extLst>
                <a:ext uri="{FF2B5EF4-FFF2-40B4-BE49-F238E27FC236}">
                  <a16:creationId xmlns:a16="http://schemas.microsoft.com/office/drawing/2014/main" id="{26E32486-0049-9748-96F7-8EF1F7CA4B86}"/>
                </a:ext>
              </a:extLst>
            </p:cNvPr>
            <p:cNvSpPr/>
            <p:nvPr/>
          </p:nvSpPr>
          <p:spPr>
            <a:xfrm rot="10800000">
              <a:off x="11149614" y="3315343"/>
              <a:ext cx="139104" cy="120599"/>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41" name="Group 40">
            <a:extLst>
              <a:ext uri="{FF2B5EF4-FFF2-40B4-BE49-F238E27FC236}">
                <a16:creationId xmlns:a16="http://schemas.microsoft.com/office/drawing/2014/main" id="{9649521C-A29F-904B-CF05-12886C312A8C}"/>
              </a:ext>
            </a:extLst>
          </p:cNvPr>
          <p:cNvGrpSpPr>
            <a:grpSpLocks/>
          </p:cNvGrpSpPr>
          <p:nvPr/>
        </p:nvGrpSpPr>
        <p:grpSpPr>
          <a:xfrm>
            <a:off x="4148192" y="3610807"/>
            <a:ext cx="186742" cy="182362"/>
            <a:chOff x="11117109" y="3275022"/>
            <a:chExt cx="204113" cy="201240"/>
          </a:xfrm>
        </p:grpSpPr>
        <p:sp>
          <p:nvSpPr>
            <p:cNvPr id="42" name="Oval 41">
              <a:extLst>
                <a:ext uri="{FF2B5EF4-FFF2-40B4-BE49-F238E27FC236}">
                  <a16:creationId xmlns:a16="http://schemas.microsoft.com/office/drawing/2014/main" id="{AD0C5B64-95C7-5B29-215D-358894522E76}"/>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43" name="Arrow: Down 42">
              <a:extLst>
                <a:ext uri="{FF2B5EF4-FFF2-40B4-BE49-F238E27FC236}">
                  <a16:creationId xmlns:a16="http://schemas.microsoft.com/office/drawing/2014/main" id="{5479D12F-43E7-F5DB-BBC0-C88DDA8BF974}"/>
                </a:ext>
              </a:extLst>
            </p:cNvPr>
            <p:cNvSpPr/>
            <p:nvPr/>
          </p:nvSpPr>
          <p:spPr>
            <a:xfrm rot="10800000">
              <a:off x="11149614" y="3315343"/>
              <a:ext cx="139104" cy="120599"/>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44" name="Group 43">
            <a:extLst>
              <a:ext uri="{FF2B5EF4-FFF2-40B4-BE49-F238E27FC236}">
                <a16:creationId xmlns:a16="http://schemas.microsoft.com/office/drawing/2014/main" id="{DDB6D392-8004-21A0-F84C-5D2FB074861B}"/>
              </a:ext>
            </a:extLst>
          </p:cNvPr>
          <p:cNvGrpSpPr>
            <a:grpSpLocks/>
          </p:cNvGrpSpPr>
          <p:nvPr/>
        </p:nvGrpSpPr>
        <p:grpSpPr>
          <a:xfrm rot="10800000">
            <a:off x="7908060" y="3610807"/>
            <a:ext cx="186742" cy="182362"/>
            <a:chOff x="11117109" y="3275022"/>
            <a:chExt cx="204113" cy="201240"/>
          </a:xfrm>
        </p:grpSpPr>
        <p:sp>
          <p:nvSpPr>
            <p:cNvPr id="45" name="Oval 44">
              <a:extLst>
                <a:ext uri="{FF2B5EF4-FFF2-40B4-BE49-F238E27FC236}">
                  <a16:creationId xmlns:a16="http://schemas.microsoft.com/office/drawing/2014/main" id="{10BA3053-A9B6-3168-AF39-7F6CDC342822}"/>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46" name="Arrow: Down 45">
              <a:extLst>
                <a:ext uri="{FF2B5EF4-FFF2-40B4-BE49-F238E27FC236}">
                  <a16:creationId xmlns:a16="http://schemas.microsoft.com/office/drawing/2014/main" id="{CD47AE06-4A1D-0020-1A68-6D1A4FE14515}"/>
                </a:ext>
              </a:extLst>
            </p:cNvPr>
            <p:cNvSpPr/>
            <p:nvPr/>
          </p:nvSpPr>
          <p:spPr>
            <a:xfrm rot="10800000">
              <a:off x="11149614" y="3315343"/>
              <a:ext cx="139104" cy="120599"/>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47" name="Group 46">
            <a:extLst>
              <a:ext uri="{FF2B5EF4-FFF2-40B4-BE49-F238E27FC236}">
                <a16:creationId xmlns:a16="http://schemas.microsoft.com/office/drawing/2014/main" id="{3053717C-0D03-0B7D-D226-0E7E1BFA70B4}"/>
              </a:ext>
            </a:extLst>
          </p:cNvPr>
          <p:cNvGrpSpPr>
            <a:grpSpLocks/>
          </p:cNvGrpSpPr>
          <p:nvPr/>
        </p:nvGrpSpPr>
        <p:grpSpPr>
          <a:xfrm>
            <a:off x="6059904" y="3607732"/>
            <a:ext cx="193040" cy="188512"/>
            <a:chOff x="1554539" y="4084156"/>
            <a:chExt cx="361868" cy="361868"/>
          </a:xfrm>
        </p:grpSpPr>
        <p:sp>
          <p:nvSpPr>
            <p:cNvPr id="48" name="Oval 47">
              <a:extLst>
                <a:ext uri="{FF2B5EF4-FFF2-40B4-BE49-F238E27FC236}">
                  <a16:creationId xmlns:a16="http://schemas.microsoft.com/office/drawing/2014/main" id="{050C5598-B1DD-4F6B-9895-414156DDC7A0}"/>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49" name="Arrow: Left-Right 48">
              <a:extLst>
                <a:ext uri="{FF2B5EF4-FFF2-40B4-BE49-F238E27FC236}">
                  <a16:creationId xmlns:a16="http://schemas.microsoft.com/office/drawing/2014/main" id="{435CFB53-DA11-ADB4-11D0-EF726375A834}"/>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50" name="Group 49">
            <a:extLst>
              <a:ext uri="{FF2B5EF4-FFF2-40B4-BE49-F238E27FC236}">
                <a16:creationId xmlns:a16="http://schemas.microsoft.com/office/drawing/2014/main" id="{19FE1C32-C18A-6476-ACDC-D750E18A21BA}"/>
              </a:ext>
            </a:extLst>
          </p:cNvPr>
          <p:cNvGrpSpPr/>
          <p:nvPr/>
        </p:nvGrpSpPr>
        <p:grpSpPr>
          <a:xfrm>
            <a:off x="330211" y="4580459"/>
            <a:ext cx="11141608" cy="527968"/>
            <a:chOff x="330211" y="4580459"/>
            <a:chExt cx="11141608" cy="527968"/>
          </a:xfrm>
        </p:grpSpPr>
        <p:sp>
          <p:nvSpPr>
            <p:cNvPr id="51" name="Rectangle 50">
              <a:extLst>
                <a:ext uri="{FF2B5EF4-FFF2-40B4-BE49-F238E27FC236}">
                  <a16:creationId xmlns:a16="http://schemas.microsoft.com/office/drawing/2014/main" id="{90F190C6-FE49-6186-7ECC-2F162719F0EE}"/>
                </a:ext>
              </a:extLst>
            </p:cNvPr>
            <p:cNvSpPr/>
            <p:nvPr/>
          </p:nvSpPr>
          <p:spPr>
            <a:xfrm>
              <a:off x="330211" y="4580459"/>
              <a:ext cx="1721501" cy="527968"/>
            </a:xfrm>
            <a:prstGeom prst="rect">
              <a:avLst/>
            </a:prstGeom>
            <a:solidFill>
              <a:schemeClr val="bg1"/>
            </a:solidFill>
            <a:ln w="1270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Trebuchet MS"/>
                  <a:ea typeface="Calibri"/>
                  <a:cs typeface="Calibri"/>
                  <a:sym typeface="Calibri"/>
                </a:rPr>
                <a:t> Stabilises</a:t>
              </a:r>
            </a:p>
          </p:txBody>
        </p:sp>
        <p:sp>
          <p:nvSpPr>
            <p:cNvPr id="52" name="Rectangle 51">
              <a:extLst>
                <a:ext uri="{FF2B5EF4-FFF2-40B4-BE49-F238E27FC236}">
                  <a16:creationId xmlns:a16="http://schemas.microsoft.com/office/drawing/2014/main" id="{51DADDD4-FDA7-A0CC-09C6-A06362A7C36A}"/>
                </a:ext>
              </a:extLst>
            </p:cNvPr>
            <p:cNvSpPr/>
            <p:nvPr/>
          </p:nvSpPr>
          <p:spPr>
            <a:xfrm>
              <a:off x="2197679" y="4580459"/>
              <a:ext cx="1732875" cy="527968"/>
            </a:xfrm>
            <a:prstGeom prst="rect">
              <a:avLst/>
            </a:prstGeom>
            <a:solidFill>
              <a:schemeClr val="bg1"/>
            </a:solidFill>
            <a:ln w="12700" cap="flat" cmpd="sng" algn="ctr">
              <a:solidFill>
                <a:srgbClr val="00B050"/>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Trebuchet MS"/>
                  <a:ea typeface="Calibri"/>
                  <a:cs typeface="Calibri"/>
                  <a:sym typeface="Calibri"/>
                </a:rPr>
                <a:t>Higher steady share</a:t>
              </a:r>
            </a:p>
          </p:txBody>
        </p:sp>
        <p:sp>
          <p:nvSpPr>
            <p:cNvPr id="53" name="Rectangle 52">
              <a:hlinkClick r:id="rId8" action="ppaction://hlinksldjump"/>
              <a:extLst>
                <a:ext uri="{FF2B5EF4-FFF2-40B4-BE49-F238E27FC236}">
                  <a16:creationId xmlns:a16="http://schemas.microsoft.com/office/drawing/2014/main" id="{BD571B81-7B37-24C3-A3D2-950EB25E7A1F}"/>
                </a:ext>
              </a:extLst>
            </p:cNvPr>
            <p:cNvSpPr/>
            <p:nvPr/>
          </p:nvSpPr>
          <p:spPr>
            <a:xfrm>
              <a:off x="4092445" y="4580459"/>
              <a:ext cx="829848" cy="527968"/>
            </a:xfrm>
            <a:prstGeom prst="rect">
              <a:avLst/>
            </a:prstGeom>
            <a:solidFill>
              <a:schemeClr val="bg1"/>
            </a:solidFill>
            <a:ln w="12700" cap="flat" cmpd="sng" algn="ctr">
              <a:solidFill>
                <a:srgbClr val="FFCC66"/>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Trebuchet MS"/>
                  <a:ea typeface="Calibri"/>
                  <a:cs typeface="Calibri"/>
                  <a:sym typeface="Calibri"/>
                </a:rPr>
                <a:t>Still above baseline, slower growth</a:t>
              </a:r>
            </a:p>
          </p:txBody>
        </p:sp>
        <p:sp>
          <p:nvSpPr>
            <p:cNvPr id="54" name="Rectangle 53">
              <a:extLst>
                <a:ext uri="{FF2B5EF4-FFF2-40B4-BE49-F238E27FC236}">
                  <a16:creationId xmlns:a16="http://schemas.microsoft.com/office/drawing/2014/main" id="{66444372-12CF-FFB6-0D82-DE22136BB074}"/>
                </a:ext>
              </a:extLst>
            </p:cNvPr>
            <p:cNvSpPr/>
            <p:nvPr/>
          </p:nvSpPr>
          <p:spPr>
            <a:xfrm>
              <a:off x="4978149" y="4580459"/>
              <a:ext cx="829848" cy="527968"/>
            </a:xfrm>
            <a:prstGeom prst="rect">
              <a:avLst/>
            </a:prstGeom>
            <a:solidFill>
              <a:schemeClr val="bg1"/>
            </a:solidFill>
            <a:ln w="12700" cap="flat" cmpd="sng" algn="ctr">
              <a:solidFill>
                <a:srgbClr val="00B050"/>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Trebuchet MS"/>
                  <a:ea typeface="Calibri"/>
                  <a:cs typeface="Calibri"/>
                  <a:sym typeface="Calibri"/>
                </a:rPr>
                <a:t>Persistently higher turnover</a:t>
              </a:r>
            </a:p>
          </p:txBody>
        </p:sp>
        <p:sp>
          <p:nvSpPr>
            <p:cNvPr id="55" name="Rectangle 54">
              <a:extLst>
                <a:ext uri="{FF2B5EF4-FFF2-40B4-BE49-F238E27FC236}">
                  <a16:creationId xmlns:a16="http://schemas.microsoft.com/office/drawing/2014/main" id="{52FF8AA8-02E6-483D-FE39-C98D17226E7B}"/>
                </a:ext>
              </a:extLst>
            </p:cNvPr>
            <p:cNvSpPr/>
            <p:nvPr/>
          </p:nvSpPr>
          <p:spPr>
            <a:xfrm>
              <a:off x="5980386" y="4580459"/>
              <a:ext cx="1703304" cy="527968"/>
            </a:xfrm>
            <a:prstGeom prst="rect">
              <a:avLst/>
            </a:prstGeom>
            <a:solidFill>
              <a:schemeClr val="bg1"/>
            </a:solidFill>
            <a:ln w="12700" cap="flat" cmpd="sng" algn="ctr">
              <a:solidFill>
                <a:schemeClr val="accent3"/>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Trebuchet MS"/>
                  <a:ea typeface="Calibri"/>
                  <a:cs typeface="Calibri"/>
                  <a:sym typeface="Calibri"/>
                </a:rPr>
                <a:t>More completions (if capital funds new builds)</a:t>
              </a:r>
            </a:p>
          </p:txBody>
        </p:sp>
        <p:sp>
          <p:nvSpPr>
            <p:cNvPr id="56" name="Rectangle 55">
              <a:extLst>
                <a:ext uri="{FF2B5EF4-FFF2-40B4-BE49-F238E27FC236}">
                  <a16:creationId xmlns:a16="http://schemas.microsoft.com/office/drawing/2014/main" id="{9563E402-4733-7C4A-9622-7CE318300C3A}"/>
                </a:ext>
              </a:extLst>
            </p:cNvPr>
            <p:cNvSpPr/>
            <p:nvPr/>
          </p:nvSpPr>
          <p:spPr>
            <a:xfrm>
              <a:off x="7857067" y="4580459"/>
              <a:ext cx="1735910" cy="527968"/>
            </a:xfrm>
            <a:prstGeom prst="rect">
              <a:avLst/>
            </a:prstGeom>
            <a:solidFill>
              <a:schemeClr val="bg1"/>
            </a:solidFill>
            <a:ln w="12700" cap="flat" cmpd="sng" algn="ctr">
              <a:solidFill>
                <a:schemeClr val="bg1">
                  <a:lumMod val="50000"/>
                </a:schemeClr>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Trebuchet MS"/>
                  <a:ea typeface="Calibri"/>
                  <a:cs typeface="Calibri"/>
                  <a:sym typeface="Calibri"/>
                </a:rPr>
                <a:t>Can rebalance with supply change</a:t>
              </a:r>
            </a:p>
          </p:txBody>
        </p:sp>
        <p:sp>
          <p:nvSpPr>
            <p:cNvPr id="57" name="Rectangle 56">
              <a:extLst>
                <a:ext uri="{FF2B5EF4-FFF2-40B4-BE49-F238E27FC236}">
                  <a16:creationId xmlns:a16="http://schemas.microsoft.com/office/drawing/2014/main" id="{658CCDDC-9A35-B385-46F4-56B52EE1BDA6}"/>
                </a:ext>
              </a:extLst>
            </p:cNvPr>
            <p:cNvSpPr/>
            <p:nvPr/>
          </p:nvSpPr>
          <p:spPr>
            <a:xfrm>
              <a:off x="9756267" y="4580459"/>
              <a:ext cx="829848" cy="527968"/>
            </a:xfrm>
            <a:prstGeom prst="rect">
              <a:avLst/>
            </a:prstGeom>
            <a:solidFill>
              <a:schemeClr val="bg1"/>
            </a:solidFill>
            <a:ln w="12700" cap="flat" cmpd="sng" algn="ctr">
              <a:solidFill>
                <a:srgbClr val="00B050"/>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Trebuchet MS"/>
                  <a:ea typeface="Calibri"/>
                  <a:cs typeface="Calibri"/>
                  <a:sym typeface="Calibri"/>
                </a:rPr>
                <a:t>Broader, more stable non-oil base</a:t>
              </a:r>
            </a:p>
          </p:txBody>
        </p:sp>
        <p:sp>
          <p:nvSpPr>
            <p:cNvPr id="58" name="Rectangle 57">
              <a:extLst>
                <a:ext uri="{FF2B5EF4-FFF2-40B4-BE49-F238E27FC236}">
                  <a16:creationId xmlns:a16="http://schemas.microsoft.com/office/drawing/2014/main" id="{96B55EE8-3AB4-8D92-914A-6F8AE1E7D764}"/>
                </a:ext>
              </a:extLst>
            </p:cNvPr>
            <p:cNvSpPr/>
            <p:nvPr/>
          </p:nvSpPr>
          <p:spPr>
            <a:xfrm>
              <a:off x="10641971" y="4580459"/>
              <a:ext cx="829848" cy="527968"/>
            </a:xfrm>
            <a:prstGeom prst="rect">
              <a:avLst/>
            </a:prstGeom>
            <a:solidFill>
              <a:schemeClr val="bg1"/>
            </a:solidFill>
            <a:ln w="12700" cap="flat" cmpd="sng" algn="ctr">
              <a:solidFill>
                <a:srgbClr val="00B050"/>
              </a:solidFill>
              <a:prstDash val="solid"/>
              <a:miter lim="800000"/>
            </a:ln>
            <a:effectLst>
              <a:outerShdw blurRad="50800" dist="38100" dir="2700000" algn="tl" rotWithShape="0">
                <a:prstClr val="black">
                  <a:alpha val="40000"/>
                </a:prstClr>
              </a:outerShdw>
            </a:effectLst>
          </p:spPr>
          <p:txBody>
            <a:bodyPr lIns="0" rIns="0" rtlCol="0" anchor="ctr"/>
            <a:lstStyle/>
            <a:p>
              <a:pPr marL="284163"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Trebuchet MS"/>
                  <a:ea typeface="Calibri"/>
                  <a:cs typeface="Calibri"/>
                  <a:sym typeface="Calibri"/>
                </a:rPr>
                <a:t>Higher FDI stock</a:t>
              </a:r>
            </a:p>
          </p:txBody>
        </p:sp>
        <p:grpSp>
          <p:nvGrpSpPr>
            <p:cNvPr id="59" name="Group 58">
              <a:extLst>
                <a:ext uri="{FF2B5EF4-FFF2-40B4-BE49-F238E27FC236}">
                  <a16:creationId xmlns:a16="http://schemas.microsoft.com/office/drawing/2014/main" id="{DEF8D9F5-9858-F566-C5F4-C7E8BCA5A69F}"/>
                </a:ext>
              </a:extLst>
            </p:cNvPr>
            <p:cNvGrpSpPr>
              <a:grpSpLocks/>
            </p:cNvGrpSpPr>
            <p:nvPr/>
          </p:nvGrpSpPr>
          <p:grpSpPr>
            <a:xfrm>
              <a:off x="9844849" y="4756952"/>
              <a:ext cx="186742" cy="182362"/>
              <a:chOff x="11117109" y="3275022"/>
              <a:chExt cx="204113" cy="201240"/>
            </a:xfrm>
          </p:grpSpPr>
          <p:sp>
            <p:nvSpPr>
              <p:cNvPr id="78" name="Oval 77">
                <a:extLst>
                  <a:ext uri="{FF2B5EF4-FFF2-40B4-BE49-F238E27FC236}">
                    <a16:creationId xmlns:a16="http://schemas.microsoft.com/office/drawing/2014/main" id="{0DD3C700-FB42-A268-86D9-5BFB440E9681}"/>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79" name="Arrow: Down 78">
                <a:extLst>
                  <a:ext uri="{FF2B5EF4-FFF2-40B4-BE49-F238E27FC236}">
                    <a16:creationId xmlns:a16="http://schemas.microsoft.com/office/drawing/2014/main" id="{AB4C51D2-9C42-7FBE-C56F-562A993CFE64}"/>
                  </a:ext>
                </a:extLst>
              </p:cNvPr>
              <p:cNvSpPr/>
              <p:nvPr/>
            </p:nvSpPr>
            <p:spPr>
              <a:xfrm rot="10800000">
                <a:off x="11149614" y="3315343"/>
                <a:ext cx="139104" cy="120599"/>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60" name="Group 59">
              <a:extLst>
                <a:ext uri="{FF2B5EF4-FFF2-40B4-BE49-F238E27FC236}">
                  <a16:creationId xmlns:a16="http://schemas.microsoft.com/office/drawing/2014/main" id="{BCB48285-8B9F-EA0E-6F4E-4300C23B54DD}"/>
                </a:ext>
              </a:extLst>
            </p:cNvPr>
            <p:cNvGrpSpPr>
              <a:grpSpLocks/>
            </p:cNvGrpSpPr>
            <p:nvPr/>
          </p:nvGrpSpPr>
          <p:grpSpPr>
            <a:xfrm>
              <a:off x="10705107" y="4756952"/>
              <a:ext cx="186742" cy="182362"/>
              <a:chOff x="11117109" y="3275022"/>
              <a:chExt cx="204113" cy="201240"/>
            </a:xfrm>
          </p:grpSpPr>
          <p:sp>
            <p:nvSpPr>
              <p:cNvPr id="76" name="Oval 75">
                <a:extLst>
                  <a:ext uri="{FF2B5EF4-FFF2-40B4-BE49-F238E27FC236}">
                    <a16:creationId xmlns:a16="http://schemas.microsoft.com/office/drawing/2014/main" id="{FD69372D-06DF-434A-0F75-050303E4A9A8}"/>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77" name="Arrow: Down 76">
                <a:extLst>
                  <a:ext uri="{FF2B5EF4-FFF2-40B4-BE49-F238E27FC236}">
                    <a16:creationId xmlns:a16="http://schemas.microsoft.com/office/drawing/2014/main" id="{A43A7040-E99F-5A13-1F28-4DE7046267F8}"/>
                  </a:ext>
                </a:extLst>
              </p:cNvPr>
              <p:cNvSpPr/>
              <p:nvPr/>
            </p:nvSpPr>
            <p:spPr>
              <a:xfrm rot="10800000">
                <a:off x="11149614" y="3315343"/>
                <a:ext cx="139104" cy="120599"/>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61" name="Group 60">
              <a:extLst>
                <a:ext uri="{FF2B5EF4-FFF2-40B4-BE49-F238E27FC236}">
                  <a16:creationId xmlns:a16="http://schemas.microsoft.com/office/drawing/2014/main" id="{6B4327AC-F6FB-D141-FD7E-AB9882A1D49C}"/>
                </a:ext>
              </a:extLst>
            </p:cNvPr>
            <p:cNvGrpSpPr>
              <a:grpSpLocks/>
            </p:cNvGrpSpPr>
            <p:nvPr/>
          </p:nvGrpSpPr>
          <p:grpSpPr>
            <a:xfrm>
              <a:off x="6059904" y="4729759"/>
              <a:ext cx="186742" cy="182362"/>
              <a:chOff x="11117109" y="3275022"/>
              <a:chExt cx="204113" cy="201240"/>
            </a:xfrm>
          </p:grpSpPr>
          <p:sp>
            <p:nvSpPr>
              <p:cNvPr id="74" name="Oval 73">
                <a:extLst>
                  <a:ext uri="{FF2B5EF4-FFF2-40B4-BE49-F238E27FC236}">
                    <a16:creationId xmlns:a16="http://schemas.microsoft.com/office/drawing/2014/main" id="{5D31B4C3-5B63-C53A-FD3F-266AF27AB13A}"/>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75" name="Arrow: Down 74">
                <a:extLst>
                  <a:ext uri="{FF2B5EF4-FFF2-40B4-BE49-F238E27FC236}">
                    <a16:creationId xmlns:a16="http://schemas.microsoft.com/office/drawing/2014/main" id="{73CC94FD-C2D4-7021-53C2-E0A34971F03A}"/>
                  </a:ext>
                </a:extLst>
              </p:cNvPr>
              <p:cNvSpPr/>
              <p:nvPr/>
            </p:nvSpPr>
            <p:spPr>
              <a:xfrm rot="10800000">
                <a:off x="11149614" y="3315343"/>
                <a:ext cx="139104" cy="120599"/>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62" name="Group 61">
              <a:extLst>
                <a:ext uri="{FF2B5EF4-FFF2-40B4-BE49-F238E27FC236}">
                  <a16:creationId xmlns:a16="http://schemas.microsoft.com/office/drawing/2014/main" id="{57E0FA1C-E958-3CFD-794F-A875136E0289}"/>
                </a:ext>
              </a:extLst>
            </p:cNvPr>
            <p:cNvGrpSpPr>
              <a:grpSpLocks/>
            </p:cNvGrpSpPr>
            <p:nvPr/>
          </p:nvGrpSpPr>
          <p:grpSpPr>
            <a:xfrm>
              <a:off x="5037407" y="4753262"/>
              <a:ext cx="186742" cy="182362"/>
              <a:chOff x="11117109" y="3275022"/>
              <a:chExt cx="204113" cy="201240"/>
            </a:xfrm>
          </p:grpSpPr>
          <p:sp>
            <p:nvSpPr>
              <p:cNvPr id="72" name="Oval 71">
                <a:extLst>
                  <a:ext uri="{FF2B5EF4-FFF2-40B4-BE49-F238E27FC236}">
                    <a16:creationId xmlns:a16="http://schemas.microsoft.com/office/drawing/2014/main" id="{9BDD0D02-428C-E26C-F841-22C1D55F9F27}"/>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73" name="Arrow: Down 72">
                <a:extLst>
                  <a:ext uri="{FF2B5EF4-FFF2-40B4-BE49-F238E27FC236}">
                    <a16:creationId xmlns:a16="http://schemas.microsoft.com/office/drawing/2014/main" id="{B6449CFF-6162-B56F-B482-704B1F7E25E3}"/>
                  </a:ext>
                </a:extLst>
              </p:cNvPr>
              <p:cNvSpPr/>
              <p:nvPr/>
            </p:nvSpPr>
            <p:spPr>
              <a:xfrm rot="10800000">
                <a:off x="11149614" y="3315343"/>
                <a:ext cx="139104" cy="120599"/>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63" name="Group 62">
              <a:extLst>
                <a:ext uri="{FF2B5EF4-FFF2-40B4-BE49-F238E27FC236}">
                  <a16:creationId xmlns:a16="http://schemas.microsoft.com/office/drawing/2014/main" id="{54EC79F7-7354-3BB5-80C2-EA08DBEF7CDD}"/>
                </a:ext>
              </a:extLst>
            </p:cNvPr>
            <p:cNvGrpSpPr>
              <a:grpSpLocks/>
            </p:cNvGrpSpPr>
            <p:nvPr/>
          </p:nvGrpSpPr>
          <p:grpSpPr>
            <a:xfrm>
              <a:off x="4148192" y="4753262"/>
              <a:ext cx="186742" cy="182362"/>
              <a:chOff x="11117109" y="3275022"/>
              <a:chExt cx="204113" cy="201240"/>
            </a:xfrm>
          </p:grpSpPr>
          <p:sp>
            <p:nvSpPr>
              <p:cNvPr id="70" name="Oval 69">
                <a:extLst>
                  <a:ext uri="{FF2B5EF4-FFF2-40B4-BE49-F238E27FC236}">
                    <a16:creationId xmlns:a16="http://schemas.microsoft.com/office/drawing/2014/main" id="{EA17C02A-19EE-EA7E-9EC4-3EFB2132E514}"/>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71" name="Arrow: Down 70">
                <a:extLst>
                  <a:ext uri="{FF2B5EF4-FFF2-40B4-BE49-F238E27FC236}">
                    <a16:creationId xmlns:a16="http://schemas.microsoft.com/office/drawing/2014/main" id="{7A068786-6259-5F5C-BCF7-1FFCC4E82F6F}"/>
                  </a:ext>
                </a:extLst>
              </p:cNvPr>
              <p:cNvSpPr/>
              <p:nvPr/>
            </p:nvSpPr>
            <p:spPr>
              <a:xfrm rot="10800000">
                <a:off x="11149614" y="3315343"/>
                <a:ext cx="139104" cy="120599"/>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64" name="Group 63">
              <a:extLst>
                <a:ext uri="{FF2B5EF4-FFF2-40B4-BE49-F238E27FC236}">
                  <a16:creationId xmlns:a16="http://schemas.microsoft.com/office/drawing/2014/main" id="{EC6ADBE9-7581-BF6A-4A14-213FE1CD5BFC}"/>
                </a:ext>
              </a:extLst>
            </p:cNvPr>
            <p:cNvGrpSpPr>
              <a:grpSpLocks/>
            </p:cNvGrpSpPr>
            <p:nvPr/>
          </p:nvGrpSpPr>
          <p:grpSpPr>
            <a:xfrm>
              <a:off x="469872" y="4750187"/>
              <a:ext cx="7636851" cy="188512"/>
              <a:chOff x="-12399445" y="4084156"/>
              <a:chExt cx="14315852" cy="361868"/>
            </a:xfrm>
          </p:grpSpPr>
          <p:sp>
            <p:nvSpPr>
              <p:cNvPr id="68" name="Oval 67">
                <a:extLst>
                  <a:ext uri="{FF2B5EF4-FFF2-40B4-BE49-F238E27FC236}">
                    <a16:creationId xmlns:a16="http://schemas.microsoft.com/office/drawing/2014/main" id="{FC84E83B-4EEC-37E0-103A-9F40C5B2AF28}"/>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69" name="Arrow: Left-Right 68">
                <a:extLst>
                  <a:ext uri="{FF2B5EF4-FFF2-40B4-BE49-F238E27FC236}">
                    <a16:creationId xmlns:a16="http://schemas.microsoft.com/office/drawing/2014/main" id="{763BCCC1-3333-4B0F-A059-2A4AACD1E294}"/>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108" name="Arrow: Left-Right 107">
                <a:extLst>
                  <a:ext uri="{FF2B5EF4-FFF2-40B4-BE49-F238E27FC236}">
                    <a16:creationId xmlns:a16="http://schemas.microsoft.com/office/drawing/2014/main" id="{E67F7D8E-203B-7ABB-2D43-0B3EADC3B9F8}"/>
                  </a:ext>
                </a:extLst>
              </p:cNvPr>
              <p:cNvSpPr/>
              <p:nvPr/>
            </p:nvSpPr>
            <p:spPr>
              <a:xfrm>
                <a:off x="-12399445" y="4169557"/>
                <a:ext cx="291678"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65" name="Group 64">
              <a:extLst>
                <a:ext uri="{FF2B5EF4-FFF2-40B4-BE49-F238E27FC236}">
                  <a16:creationId xmlns:a16="http://schemas.microsoft.com/office/drawing/2014/main" id="{45F390D4-9DA0-13CF-5A11-D4BFF25BE9A5}"/>
                </a:ext>
              </a:extLst>
            </p:cNvPr>
            <p:cNvGrpSpPr>
              <a:grpSpLocks/>
            </p:cNvGrpSpPr>
            <p:nvPr/>
          </p:nvGrpSpPr>
          <p:grpSpPr>
            <a:xfrm>
              <a:off x="2270143" y="4753262"/>
              <a:ext cx="186742" cy="182362"/>
              <a:chOff x="11117109" y="3275022"/>
              <a:chExt cx="204113" cy="201240"/>
            </a:xfrm>
          </p:grpSpPr>
          <p:sp>
            <p:nvSpPr>
              <p:cNvPr id="66" name="Oval 65">
                <a:extLst>
                  <a:ext uri="{FF2B5EF4-FFF2-40B4-BE49-F238E27FC236}">
                    <a16:creationId xmlns:a16="http://schemas.microsoft.com/office/drawing/2014/main" id="{E88748D9-EAF8-004F-C86C-A0C867EC3F63}"/>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67" name="Arrow: Down 66">
                <a:extLst>
                  <a:ext uri="{FF2B5EF4-FFF2-40B4-BE49-F238E27FC236}">
                    <a16:creationId xmlns:a16="http://schemas.microsoft.com/office/drawing/2014/main" id="{8DFE229E-086E-0F77-7FDA-DFB335DE6A85}"/>
                  </a:ext>
                </a:extLst>
              </p:cNvPr>
              <p:cNvSpPr/>
              <p:nvPr/>
            </p:nvSpPr>
            <p:spPr>
              <a:xfrm rot="10800000">
                <a:off x="11149614" y="3315343"/>
                <a:ext cx="139104" cy="120599"/>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80" name="Group 79">
            <a:extLst>
              <a:ext uri="{FF2B5EF4-FFF2-40B4-BE49-F238E27FC236}">
                <a16:creationId xmlns:a16="http://schemas.microsoft.com/office/drawing/2014/main" id="{85742E70-FD5A-983B-6424-4240A885BD3C}"/>
              </a:ext>
            </a:extLst>
          </p:cNvPr>
          <p:cNvGrpSpPr>
            <a:grpSpLocks/>
          </p:cNvGrpSpPr>
          <p:nvPr/>
        </p:nvGrpSpPr>
        <p:grpSpPr>
          <a:xfrm>
            <a:off x="2270143" y="3610807"/>
            <a:ext cx="186742" cy="182362"/>
            <a:chOff x="11117109" y="3275022"/>
            <a:chExt cx="204113" cy="201240"/>
          </a:xfrm>
        </p:grpSpPr>
        <p:sp>
          <p:nvSpPr>
            <p:cNvPr id="81" name="Oval 80">
              <a:extLst>
                <a:ext uri="{FF2B5EF4-FFF2-40B4-BE49-F238E27FC236}">
                  <a16:creationId xmlns:a16="http://schemas.microsoft.com/office/drawing/2014/main" id="{D258B66C-AA68-241A-E80C-66D10BCD0EB0}"/>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82" name="Arrow: Down 81">
              <a:extLst>
                <a:ext uri="{FF2B5EF4-FFF2-40B4-BE49-F238E27FC236}">
                  <a16:creationId xmlns:a16="http://schemas.microsoft.com/office/drawing/2014/main" id="{18C816DA-CC50-F429-9765-0CE71F9E985B}"/>
                </a:ext>
              </a:extLst>
            </p:cNvPr>
            <p:cNvSpPr/>
            <p:nvPr/>
          </p:nvSpPr>
          <p:spPr>
            <a:xfrm rot="10800000">
              <a:off x="11149614" y="3315343"/>
              <a:ext cx="139104" cy="120599"/>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83" name="Group 82">
            <a:extLst>
              <a:ext uri="{FF2B5EF4-FFF2-40B4-BE49-F238E27FC236}">
                <a16:creationId xmlns:a16="http://schemas.microsoft.com/office/drawing/2014/main" id="{8A50E4EF-A9AE-112E-9A3C-EEDF71BCFF5B}"/>
              </a:ext>
            </a:extLst>
          </p:cNvPr>
          <p:cNvGrpSpPr/>
          <p:nvPr/>
        </p:nvGrpSpPr>
        <p:grpSpPr>
          <a:xfrm>
            <a:off x="174533" y="5585211"/>
            <a:ext cx="8527121" cy="322094"/>
            <a:chOff x="3061647" y="6451121"/>
            <a:chExt cx="7751927" cy="309042"/>
          </a:xfrm>
        </p:grpSpPr>
        <p:sp>
          <p:nvSpPr>
            <p:cNvPr id="84" name="Rectangle: Rounded Corners 83">
              <a:extLst>
                <a:ext uri="{FF2B5EF4-FFF2-40B4-BE49-F238E27FC236}">
                  <a16:creationId xmlns:a16="http://schemas.microsoft.com/office/drawing/2014/main" id="{9BCC9ABF-39F2-E946-BE25-49A600FC5A83}"/>
                </a:ext>
              </a:extLst>
            </p:cNvPr>
            <p:cNvSpPr/>
            <p:nvPr/>
          </p:nvSpPr>
          <p:spPr>
            <a:xfrm>
              <a:off x="3084997" y="6451121"/>
              <a:ext cx="7728577" cy="309042"/>
            </a:xfrm>
            <a:prstGeom prst="roundRect">
              <a:avLst/>
            </a:prstGeom>
            <a:solidFill>
              <a:schemeClr val="bg1">
                <a:lumMod val="85000"/>
              </a:schemeClr>
            </a:solidFill>
            <a:ln w="12700" cap="rnd" cmpd="sng" algn="ctr">
              <a:solidFill>
                <a:schemeClr val="bg1">
                  <a:lumMod val="85000"/>
                </a:schemeClr>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85" name="Rectangle: Rounded Corners 84">
              <a:extLst>
                <a:ext uri="{FF2B5EF4-FFF2-40B4-BE49-F238E27FC236}">
                  <a16:creationId xmlns:a16="http://schemas.microsoft.com/office/drawing/2014/main" id="{851DD268-0514-D3B6-6E62-08D6B373EEEF}"/>
                </a:ext>
              </a:extLst>
            </p:cNvPr>
            <p:cNvSpPr/>
            <p:nvPr/>
          </p:nvSpPr>
          <p:spPr>
            <a:xfrm>
              <a:off x="3537647" y="6498889"/>
              <a:ext cx="1478852" cy="211235"/>
            </a:xfrm>
            <a:prstGeom prst="roundRect">
              <a:avLst/>
            </a:prstGeom>
            <a:solidFill>
              <a:schemeClr val="bg1"/>
            </a:solidFill>
            <a:ln w="12700" cap="rnd" cmpd="sng" algn="ctr">
              <a:solidFill>
                <a:srgbClr val="00B050"/>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Positive impact</a:t>
              </a:r>
            </a:p>
          </p:txBody>
        </p:sp>
        <p:sp>
          <p:nvSpPr>
            <p:cNvPr id="86" name="Rectangle: Rounded Corners 85">
              <a:extLst>
                <a:ext uri="{FF2B5EF4-FFF2-40B4-BE49-F238E27FC236}">
                  <a16:creationId xmlns:a16="http://schemas.microsoft.com/office/drawing/2014/main" id="{C82AF891-463B-F505-6CC2-3B2B0EED0676}"/>
                </a:ext>
              </a:extLst>
            </p:cNvPr>
            <p:cNvSpPr/>
            <p:nvPr/>
          </p:nvSpPr>
          <p:spPr>
            <a:xfrm>
              <a:off x="5125898" y="6498916"/>
              <a:ext cx="2312464" cy="211235"/>
            </a:xfrm>
            <a:prstGeom prst="roundRect">
              <a:avLst/>
            </a:prstGeom>
            <a:solidFill>
              <a:schemeClr val="bg1"/>
            </a:solidFill>
            <a:ln w="12700" cap="rnd" cmpd="sng" algn="ctr">
              <a:solidFill>
                <a:schemeClr val="accent3"/>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Positive impact (Lag/ short-term only)</a:t>
              </a:r>
            </a:p>
          </p:txBody>
        </p:sp>
        <p:sp>
          <p:nvSpPr>
            <p:cNvPr id="87" name="Rectangle: Rounded Corners 86">
              <a:extLst>
                <a:ext uri="{FF2B5EF4-FFF2-40B4-BE49-F238E27FC236}">
                  <a16:creationId xmlns:a16="http://schemas.microsoft.com/office/drawing/2014/main" id="{D85D682A-4A25-40D3-9D1C-CE9F63A8DE0A}"/>
                </a:ext>
              </a:extLst>
            </p:cNvPr>
            <p:cNvSpPr/>
            <p:nvPr/>
          </p:nvSpPr>
          <p:spPr>
            <a:xfrm>
              <a:off x="7522632" y="6498889"/>
              <a:ext cx="1498599" cy="211235"/>
            </a:xfrm>
            <a:prstGeom prst="roundRect">
              <a:avLst/>
            </a:prstGeom>
            <a:solidFill>
              <a:schemeClr val="bg1"/>
            </a:solidFill>
            <a:ln w="12700" cap="rnd" cmpd="sng" algn="ctr">
              <a:solidFill>
                <a:srgbClr val="FFC000"/>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Negative impact</a:t>
              </a:r>
            </a:p>
          </p:txBody>
        </p:sp>
        <p:sp>
          <p:nvSpPr>
            <p:cNvPr id="88" name="TextBox 87">
              <a:extLst>
                <a:ext uri="{FF2B5EF4-FFF2-40B4-BE49-F238E27FC236}">
                  <a16:creationId xmlns:a16="http://schemas.microsoft.com/office/drawing/2014/main" id="{F5778A60-B296-DF7A-E63F-193ADE9AE031}"/>
                </a:ext>
              </a:extLst>
            </p:cNvPr>
            <p:cNvSpPr txBox="1"/>
            <p:nvPr/>
          </p:nvSpPr>
          <p:spPr>
            <a:xfrm>
              <a:off x="3061647" y="6489078"/>
              <a:ext cx="791570" cy="24622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000" b="1" i="0" u="none" strike="noStrike" kern="0" cap="none" spc="0" normalizeH="0" baseline="0" noProof="0">
                  <a:ln>
                    <a:noFill/>
                  </a:ln>
                  <a:solidFill>
                    <a:srgbClr val="004C48"/>
                  </a:solidFill>
                  <a:effectLst/>
                  <a:uLnTx/>
                  <a:uFillTx/>
                  <a:latin typeface="Trebuchet MS"/>
                  <a:ea typeface="+mn-ea"/>
                  <a:cs typeface="Arial" panose="020B0604020202020204" pitchFamily="34" charset="0"/>
                  <a:sym typeface="Arial" panose="020B0604020202020204" pitchFamily="34" charset="0"/>
                </a:rPr>
                <a:t>Key:</a:t>
              </a:r>
            </a:p>
          </p:txBody>
        </p:sp>
        <p:sp>
          <p:nvSpPr>
            <p:cNvPr id="89" name="Rectangle: Rounded Corners 88">
              <a:extLst>
                <a:ext uri="{FF2B5EF4-FFF2-40B4-BE49-F238E27FC236}">
                  <a16:creationId xmlns:a16="http://schemas.microsoft.com/office/drawing/2014/main" id="{4B13C6D2-7A81-D26A-C052-259505064D00}"/>
                </a:ext>
              </a:extLst>
            </p:cNvPr>
            <p:cNvSpPr/>
            <p:nvPr/>
          </p:nvSpPr>
          <p:spPr>
            <a:xfrm>
              <a:off x="9097433" y="6498916"/>
              <a:ext cx="1621367" cy="211235"/>
            </a:xfrm>
            <a:prstGeom prst="roundRect">
              <a:avLst/>
            </a:prstGeom>
            <a:solidFill>
              <a:schemeClr val="bg1"/>
            </a:solidFill>
            <a:ln w="12700" cap="rnd" cmpd="sng" algn="ctr">
              <a:solidFill>
                <a:schemeClr val="bg1">
                  <a:lumMod val="50000"/>
                </a:schemeClr>
              </a:solid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6C67"/>
                </a:buClr>
                <a:buSzTx/>
                <a:buFontTx/>
                <a:buNone/>
                <a:tabLst/>
                <a:defRPr/>
              </a:pPr>
              <a:r>
                <a:rPr kumimoji="0" lang="en-GB" sz="900" b="0" i="0" u="none" strike="noStrike" kern="1200" cap="none" spc="0" normalizeH="0" baseline="0" noProof="0">
                  <a:ln>
                    <a:noFill/>
                  </a:ln>
                  <a:solidFill>
                    <a:srgbClr val="000000"/>
                  </a:solidFill>
                  <a:effectLst/>
                  <a:uLnTx/>
                  <a:uFillTx/>
                  <a:latin typeface="Trebuchet MS"/>
                  <a:ea typeface="+mn-ea"/>
                  <a:cs typeface="+mn-cs"/>
                </a:rPr>
                <a:t>Neutral / no-impact</a:t>
              </a:r>
            </a:p>
          </p:txBody>
        </p:sp>
      </p:grpSp>
      <p:grpSp>
        <p:nvGrpSpPr>
          <p:cNvPr id="90" name="Group 89">
            <a:extLst>
              <a:ext uri="{FF2B5EF4-FFF2-40B4-BE49-F238E27FC236}">
                <a16:creationId xmlns:a16="http://schemas.microsoft.com/office/drawing/2014/main" id="{D2E086FD-78A3-783D-B0CA-6D8F235E50A0}"/>
              </a:ext>
            </a:extLst>
          </p:cNvPr>
          <p:cNvGrpSpPr>
            <a:grpSpLocks/>
          </p:cNvGrpSpPr>
          <p:nvPr/>
        </p:nvGrpSpPr>
        <p:grpSpPr>
          <a:xfrm>
            <a:off x="8323838" y="5650824"/>
            <a:ext cx="193040" cy="188512"/>
            <a:chOff x="1554539" y="4084156"/>
            <a:chExt cx="361868" cy="361868"/>
          </a:xfrm>
        </p:grpSpPr>
        <p:sp>
          <p:nvSpPr>
            <p:cNvPr id="91" name="Oval 90">
              <a:extLst>
                <a:ext uri="{FF2B5EF4-FFF2-40B4-BE49-F238E27FC236}">
                  <a16:creationId xmlns:a16="http://schemas.microsoft.com/office/drawing/2014/main" id="{F25A93F8-BCD1-711B-A262-C27FB3816A34}"/>
                </a:ext>
              </a:extLst>
            </p:cNvPr>
            <p:cNvSpPr/>
            <p:nvPr/>
          </p:nvSpPr>
          <p:spPr>
            <a:xfrm>
              <a:off x="1554539" y="4084156"/>
              <a:ext cx="361868" cy="361868"/>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sp>
          <p:nvSpPr>
            <p:cNvPr id="92" name="Arrow: Left-Right 91">
              <a:extLst>
                <a:ext uri="{FF2B5EF4-FFF2-40B4-BE49-F238E27FC236}">
                  <a16:creationId xmlns:a16="http://schemas.microsoft.com/office/drawing/2014/main" id="{77A9D7D2-2847-FA8C-2C92-59518522336A}"/>
                </a:ext>
              </a:extLst>
            </p:cNvPr>
            <p:cNvSpPr/>
            <p:nvPr/>
          </p:nvSpPr>
          <p:spPr>
            <a:xfrm>
              <a:off x="1586713" y="4169558"/>
              <a:ext cx="291679" cy="205866"/>
            </a:xfrm>
            <a:prstGeom prst="leftRightArrow">
              <a:avLst>
                <a:gd name="adj1" fmla="val 38223"/>
                <a:gd name="adj2" fmla="val 36540"/>
              </a:avLst>
            </a:prstGeom>
            <a:solidFill>
              <a:schemeClr val="bg1">
                <a:lumMod val="65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93" name="Group 92">
            <a:extLst>
              <a:ext uri="{FF2B5EF4-FFF2-40B4-BE49-F238E27FC236}">
                <a16:creationId xmlns:a16="http://schemas.microsoft.com/office/drawing/2014/main" id="{643B1F84-AF98-A7D0-C0A1-D83ABA6C785E}"/>
              </a:ext>
            </a:extLst>
          </p:cNvPr>
          <p:cNvGrpSpPr/>
          <p:nvPr/>
        </p:nvGrpSpPr>
        <p:grpSpPr>
          <a:xfrm>
            <a:off x="2044922" y="5650822"/>
            <a:ext cx="193040" cy="188512"/>
            <a:chOff x="4742821" y="6470060"/>
            <a:chExt cx="259716" cy="253623"/>
          </a:xfrm>
        </p:grpSpPr>
        <p:sp>
          <p:nvSpPr>
            <p:cNvPr id="94" name="Oval 93">
              <a:extLst>
                <a:ext uri="{FF2B5EF4-FFF2-40B4-BE49-F238E27FC236}">
                  <a16:creationId xmlns:a16="http://schemas.microsoft.com/office/drawing/2014/main" id="{E47C3F20-D13C-98F6-AD6C-BE594416A27D}"/>
                </a:ext>
              </a:extLst>
            </p:cNvPr>
            <p:cNvSpPr/>
            <p:nvPr/>
          </p:nvSpPr>
          <p:spPr>
            <a:xfrm>
              <a:off x="4742821" y="6470060"/>
              <a:ext cx="259716" cy="253623"/>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95" name="Arrow: Down 94">
              <a:extLst>
                <a:ext uri="{FF2B5EF4-FFF2-40B4-BE49-F238E27FC236}">
                  <a16:creationId xmlns:a16="http://schemas.microsoft.com/office/drawing/2014/main" id="{5C7D0D27-17F2-1671-2821-CAE60BFB5B9D}"/>
                </a:ext>
              </a:extLst>
            </p:cNvPr>
            <p:cNvSpPr/>
            <p:nvPr/>
          </p:nvSpPr>
          <p:spPr>
            <a:xfrm rot="10800000">
              <a:off x="4771946" y="6505860"/>
              <a:ext cx="124634" cy="107025"/>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96" name="Arrow: Down 95">
              <a:extLst>
                <a:ext uri="{FF2B5EF4-FFF2-40B4-BE49-F238E27FC236}">
                  <a16:creationId xmlns:a16="http://schemas.microsoft.com/office/drawing/2014/main" id="{FDD92EBC-083F-0C8B-47F2-31418619E64F}"/>
                </a:ext>
              </a:extLst>
            </p:cNvPr>
            <p:cNvSpPr/>
            <p:nvPr/>
          </p:nvSpPr>
          <p:spPr>
            <a:xfrm>
              <a:off x="4853515" y="6569622"/>
              <a:ext cx="124634" cy="107025"/>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97" name="Group 96">
            <a:extLst>
              <a:ext uri="{FF2B5EF4-FFF2-40B4-BE49-F238E27FC236}">
                <a16:creationId xmlns:a16="http://schemas.microsoft.com/office/drawing/2014/main" id="{FD161291-1C0A-ED14-AE43-D6953DBAED0A}"/>
              </a:ext>
            </a:extLst>
          </p:cNvPr>
          <p:cNvGrpSpPr/>
          <p:nvPr/>
        </p:nvGrpSpPr>
        <p:grpSpPr>
          <a:xfrm>
            <a:off x="4741270" y="5650824"/>
            <a:ext cx="193040" cy="188512"/>
            <a:chOff x="4742815" y="6470088"/>
            <a:chExt cx="259716" cy="253624"/>
          </a:xfrm>
        </p:grpSpPr>
        <p:sp>
          <p:nvSpPr>
            <p:cNvPr id="98" name="Oval 97">
              <a:extLst>
                <a:ext uri="{FF2B5EF4-FFF2-40B4-BE49-F238E27FC236}">
                  <a16:creationId xmlns:a16="http://schemas.microsoft.com/office/drawing/2014/main" id="{8D54836A-4D83-BB80-DAD1-DA0DFF5F0BA8}"/>
                </a:ext>
              </a:extLst>
            </p:cNvPr>
            <p:cNvSpPr/>
            <p:nvPr/>
          </p:nvSpPr>
          <p:spPr>
            <a:xfrm>
              <a:off x="4742815" y="6470088"/>
              <a:ext cx="259716" cy="253624"/>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99" name="Arrow: Down 98">
              <a:extLst>
                <a:ext uri="{FF2B5EF4-FFF2-40B4-BE49-F238E27FC236}">
                  <a16:creationId xmlns:a16="http://schemas.microsoft.com/office/drawing/2014/main" id="{F9A0D967-2596-1C57-4263-4D7BB3F8FC83}"/>
                </a:ext>
              </a:extLst>
            </p:cNvPr>
            <p:cNvSpPr/>
            <p:nvPr/>
          </p:nvSpPr>
          <p:spPr>
            <a:xfrm rot="10800000">
              <a:off x="4771939" y="6505871"/>
              <a:ext cx="124634" cy="107025"/>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0" name="Arrow: Down 99">
              <a:extLst>
                <a:ext uri="{FF2B5EF4-FFF2-40B4-BE49-F238E27FC236}">
                  <a16:creationId xmlns:a16="http://schemas.microsoft.com/office/drawing/2014/main" id="{8ADC36E9-5EF8-5781-A86F-2AD8CD8448E4}"/>
                </a:ext>
              </a:extLst>
            </p:cNvPr>
            <p:cNvSpPr/>
            <p:nvPr/>
          </p:nvSpPr>
          <p:spPr>
            <a:xfrm>
              <a:off x="4853515" y="6569622"/>
              <a:ext cx="124634" cy="107025"/>
            </a:xfrm>
            <a:prstGeom prst="downArrow">
              <a:avLst/>
            </a:prstGeom>
            <a:solidFill>
              <a:schemeClr val="accent3"/>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101" name="Group 100">
            <a:extLst>
              <a:ext uri="{FF2B5EF4-FFF2-40B4-BE49-F238E27FC236}">
                <a16:creationId xmlns:a16="http://schemas.microsoft.com/office/drawing/2014/main" id="{FECF48BE-9A25-B5E5-9466-4ACEC7FF9E8F}"/>
              </a:ext>
            </a:extLst>
          </p:cNvPr>
          <p:cNvGrpSpPr>
            <a:grpSpLocks/>
          </p:cNvGrpSpPr>
          <p:nvPr/>
        </p:nvGrpSpPr>
        <p:grpSpPr>
          <a:xfrm>
            <a:off x="6479540" y="5650824"/>
            <a:ext cx="193040" cy="188512"/>
            <a:chOff x="4742815" y="6470088"/>
            <a:chExt cx="259716" cy="253624"/>
          </a:xfrm>
        </p:grpSpPr>
        <p:sp>
          <p:nvSpPr>
            <p:cNvPr id="102" name="Oval 101">
              <a:extLst>
                <a:ext uri="{FF2B5EF4-FFF2-40B4-BE49-F238E27FC236}">
                  <a16:creationId xmlns:a16="http://schemas.microsoft.com/office/drawing/2014/main" id="{C08EBFBA-197A-E2F6-4145-C29BC52600A2}"/>
                </a:ext>
              </a:extLst>
            </p:cNvPr>
            <p:cNvSpPr/>
            <p:nvPr/>
          </p:nvSpPr>
          <p:spPr>
            <a:xfrm>
              <a:off x="4742815" y="6470088"/>
              <a:ext cx="259716" cy="253624"/>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3" name="Arrow: Down 102">
              <a:extLst>
                <a:ext uri="{FF2B5EF4-FFF2-40B4-BE49-F238E27FC236}">
                  <a16:creationId xmlns:a16="http://schemas.microsoft.com/office/drawing/2014/main" id="{21A402EC-C8BA-1C49-9D6A-975E59B2846B}"/>
                </a:ext>
              </a:extLst>
            </p:cNvPr>
            <p:cNvSpPr/>
            <p:nvPr/>
          </p:nvSpPr>
          <p:spPr>
            <a:xfrm rot="10800000">
              <a:off x="4771939" y="6505871"/>
              <a:ext cx="124634" cy="107025"/>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4" name="Arrow: Down 103">
              <a:extLst>
                <a:ext uri="{FF2B5EF4-FFF2-40B4-BE49-F238E27FC236}">
                  <a16:creationId xmlns:a16="http://schemas.microsoft.com/office/drawing/2014/main" id="{273E92D7-BCED-0747-6F36-64B2DB540BC2}"/>
                </a:ext>
              </a:extLst>
            </p:cNvPr>
            <p:cNvSpPr/>
            <p:nvPr/>
          </p:nvSpPr>
          <p:spPr>
            <a:xfrm>
              <a:off x="4853515" y="6569622"/>
              <a:ext cx="124634" cy="107025"/>
            </a:xfrm>
            <a:prstGeom prst="downArrow">
              <a:avLst/>
            </a:prstGeom>
            <a:solidFill>
              <a:srgbClr val="FFCC66"/>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grpSp>
        <p:nvGrpSpPr>
          <p:cNvPr id="105" name="Group 104">
            <a:extLst>
              <a:ext uri="{FF2B5EF4-FFF2-40B4-BE49-F238E27FC236}">
                <a16:creationId xmlns:a16="http://schemas.microsoft.com/office/drawing/2014/main" id="{32A6E289-5750-BC90-2F34-B85C2A56771C}"/>
              </a:ext>
            </a:extLst>
          </p:cNvPr>
          <p:cNvGrpSpPr>
            <a:grpSpLocks/>
          </p:cNvGrpSpPr>
          <p:nvPr/>
        </p:nvGrpSpPr>
        <p:grpSpPr>
          <a:xfrm>
            <a:off x="383917" y="3610807"/>
            <a:ext cx="186742" cy="182362"/>
            <a:chOff x="11117109" y="3275022"/>
            <a:chExt cx="204113" cy="201240"/>
          </a:xfrm>
        </p:grpSpPr>
        <p:sp>
          <p:nvSpPr>
            <p:cNvPr id="106" name="Oval 105">
              <a:extLst>
                <a:ext uri="{FF2B5EF4-FFF2-40B4-BE49-F238E27FC236}">
                  <a16:creationId xmlns:a16="http://schemas.microsoft.com/office/drawing/2014/main" id="{8F986507-D91C-2B99-C902-9F414185D39D}"/>
                </a:ext>
              </a:extLst>
            </p:cNvPr>
            <p:cNvSpPr/>
            <p:nvPr/>
          </p:nvSpPr>
          <p:spPr>
            <a:xfrm>
              <a:off x="11117109" y="3275022"/>
              <a:ext cx="204113" cy="201240"/>
            </a:xfrm>
            <a:prstGeom prst="ellipse">
              <a:avLst/>
            </a:prstGeom>
            <a:solidFill>
              <a:schemeClr val="bg1">
                <a:lumMod val="95000"/>
              </a:schemeClr>
            </a:soli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sp>
          <p:nvSpPr>
            <p:cNvPr id="107" name="Arrow: Down 106">
              <a:extLst>
                <a:ext uri="{FF2B5EF4-FFF2-40B4-BE49-F238E27FC236}">
                  <a16:creationId xmlns:a16="http://schemas.microsoft.com/office/drawing/2014/main" id="{7BB12DD8-D556-5D3C-8264-5254F0BE7FBE}"/>
                </a:ext>
              </a:extLst>
            </p:cNvPr>
            <p:cNvSpPr/>
            <p:nvPr/>
          </p:nvSpPr>
          <p:spPr>
            <a:xfrm rot="10800000">
              <a:off x="11149614" y="3315343"/>
              <a:ext cx="139104" cy="120599"/>
            </a:xfrm>
            <a:prstGeom prst="downArrow">
              <a:avLst/>
            </a:prstGeom>
            <a:solidFill>
              <a:srgbClr val="00B050"/>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900" b="0" i="0" u="none" strike="noStrike" kern="1200" cap="none" spc="0" normalizeH="0" baseline="0" noProof="0">
                <a:ln>
                  <a:noFill/>
                </a:ln>
                <a:solidFill>
                  <a:srgbClr val="000000"/>
                </a:solidFill>
                <a:effectLst/>
                <a:uLnTx/>
                <a:uFillTx/>
                <a:latin typeface="Trebuchet MS"/>
                <a:ea typeface="+mn-ea"/>
                <a:cs typeface="+mn-cs"/>
              </a:endParaRPr>
            </a:p>
          </p:txBody>
        </p:sp>
      </p:grpSp>
      <p:sp>
        <p:nvSpPr>
          <p:cNvPr id="109" name="Rectangle 108">
            <a:extLst>
              <a:ext uri="{FF2B5EF4-FFF2-40B4-BE49-F238E27FC236}">
                <a16:creationId xmlns:a16="http://schemas.microsoft.com/office/drawing/2014/main" id="{3E227CEA-6650-0D09-7A67-0B0576E2B6BD}"/>
              </a:ext>
            </a:extLst>
          </p:cNvPr>
          <p:cNvSpPr/>
          <p:nvPr/>
        </p:nvSpPr>
        <p:spPr>
          <a:xfrm>
            <a:off x="0" y="0"/>
            <a:ext cx="12192000" cy="494748"/>
          </a:xfrm>
          <a:prstGeom prst="rect">
            <a:avLst/>
          </a:prstGeom>
          <a:gradFill>
            <a:gsLst>
              <a:gs pos="6322">
                <a:schemeClr val="accent2"/>
              </a:gs>
              <a:gs pos="62000">
                <a:schemeClr val="bg2">
                  <a:lumMod val="50000"/>
                  <a:alpha val="57000"/>
                </a:schemeClr>
              </a:gs>
              <a:gs pos="100000">
                <a:schemeClr val="bg1">
                  <a:alpha val="0"/>
                </a:schemeClr>
              </a:gs>
            </a:gsLst>
            <a:lin ang="0" scaled="1"/>
          </a:gra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274320" tIns="91440" rIns="182880" bIns="91440" numCol="1" spcCol="0" rtlCol="0" fromWordArt="0" anchor="ctr" anchorCtr="0" forceAA="0" compatLnSpc="1">
            <a:prstTxWarp prst="textNoShape">
              <a:avLst/>
            </a:prstTxWarp>
            <a:noAutofit/>
          </a:bodyPr>
          <a:lstStyle/>
          <a:p>
            <a:pPr algn="l">
              <a:buClr>
                <a:srgbClr val="006C67"/>
              </a:buClr>
            </a:pPr>
            <a:r>
              <a:rPr lang="en-GB" sz="1400" b="1" dirty="0">
                <a:solidFill>
                  <a:schemeClr val="bg1"/>
                </a:solidFill>
              </a:rPr>
              <a:t>                 </a:t>
            </a:r>
            <a:r>
              <a:rPr lang="en-GB" sz="1400" b="1" dirty="0" err="1">
                <a:solidFill>
                  <a:schemeClr val="bg1"/>
                </a:solidFill>
              </a:rPr>
              <a:t>MoMAH</a:t>
            </a:r>
            <a:r>
              <a:rPr lang="en-GB" sz="1400" b="1" dirty="0">
                <a:solidFill>
                  <a:schemeClr val="bg1"/>
                </a:solidFill>
              </a:rPr>
              <a:t> - Decision Support System</a:t>
            </a:r>
          </a:p>
        </p:txBody>
      </p:sp>
      <p:pic>
        <p:nvPicPr>
          <p:cNvPr id="110" name="Graphic 109">
            <a:hlinkClick r:id="rId9" action="ppaction://hlinksldjump"/>
            <a:extLst>
              <a:ext uri="{FF2B5EF4-FFF2-40B4-BE49-F238E27FC236}">
                <a16:creationId xmlns:a16="http://schemas.microsoft.com/office/drawing/2014/main" id="{4920D6D1-C8BD-23D4-53F9-B72170644E6C}"/>
              </a:ext>
            </a:extLst>
          </p:cNvPr>
          <p:cNvPicPr>
            <a:picLocks noChangeAspect="1"/>
          </p:cNvPicPr>
          <p:nvPr>
            <p:custDataLst>
              <p:tags r:id="rId2"/>
            </p:custDataLst>
          </p:nvPr>
        </p:nvPicPr>
        <p:blipFill>
          <a:blip r:embed="rId10">
            <a:extLst>
              <a:ext uri="{96DAC541-7B7A-43D3-8B79-37D633B846F1}">
                <asvg:svgBlip xmlns:asvg="http://schemas.microsoft.com/office/drawing/2016/SVG/main" r:embed="rId11"/>
              </a:ext>
            </a:extLst>
          </a:blip>
          <a:stretch>
            <a:fillRect/>
          </a:stretch>
        </p:blipFill>
        <p:spPr>
          <a:xfrm>
            <a:off x="99121" y="53075"/>
            <a:ext cx="389863" cy="389863"/>
          </a:xfrm>
          <a:prstGeom prst="rect">
            <a:avLst/>
          </a:prstGeom>
        </p:spPr>
      </p:pic>
      <p:pic>
        <p:nvPicPr>
          <p:cNvPr id="150" name="Graphic 149">
            <a:hlinkClick r:id="rId12" action="ppaction://hlinksldjump"/>
            <a:extLst>
              <a:ext uri="{FF2B5EF4-FFF2-40B4-BE49-F238E27FC236}">
                <a16:creationId xmlns:a16="http://schemas.microsoft.com/office/drawing/2014/main" id="{3ED38613-8236-577A-C2B8-50117C4578C9}"/>
              </a:ext>
            </a:extLst>
          </p:cNvPr>
          <p:cNvPicPr>
            <a:picLocks noChangeAspect="1"/>
          </p:cNvPicPr>
          <p:nvPr>
            <p:custDataLst>
              <p:tags r:id="rId3"/>
            </p:custDataLst>
          </p:nvPr>
        </p:nvPicPr>
        <p:blipFill>
          <a:blip r:embed="rId13">
            <a:extLst>
              <a:ext uri="{96DAC541-7B7A-43D3-8B79-37D633B846F1}">
                <asvg:svgBlip xmlns:asvg="http://schemas.microsoft.com/office/drawing/2016/SVG/main" r:embed="rId14"/>
              </a:ext>
            </a:extLst>
          </a:blip>
          <a:stretch>
            <a:fillRect/>
          </a:stretch>
        </p:blipFill>
        <p:spPr>
          <a:xfrm>
            <a:off x="583217" y="38405"/>
            <a:ext cx="426129" cy="426129"/>
          </a:xfrm>
          <a:prstGeom prst="rect">
            <a:avLst/>
          </a:prstGeom>
        </p:spPr>
      </p:pic>
    </p:spTree>
    <p:extLst>
      <p:ext uri="{BB962C8B-B14F-4D97-AF65-F5344CB8AC3E}">
        <p14:creationId xmlns:p14="http://schemas.microsoft.com/office/powerpoint/2010/main" val="9620369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2CEF92-5A55-67F5-72C6-358B56E4454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BE31E0-67F8-EF10-350F-80DD82EE06AF}"/>
              </a:ext>
            </a:extLst>
          </p:cNvPr>
          <p:cNvGraphicFramePr>
            <a:graphicFrameLocks noChangeAspect="1"/>
          </p:cNvGraphicFramePr>
          <p:nvPr>
            <p:custDataLst>
              <p:tags r:id="rId1"/>
            </p:custDataLst>
            <p:extLst>
              <p:ext uri="{D42A27DB-BD31-4B8C-83A1-F6EECF244321}">
                <p14:modId xmlns:p14="http://schemas.microsoft.com/office/powerpoint/2010/main" val="4124402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04" imgH="405" progId="TCLayout.ActiveDocument.1">
                  <p:embed/>
                </p:oleObj>
              </mc:Choice>
              <mc:Fallback>
                <p:oleObj name="think-cell Slide" r:id="rId42" imgW="404" imgH="405" progId="TCLayout.ActiveDocument.1">
                  <p:embed/>
                  <p:pic>
                    <p:nvPicPr>
                      <p:cNvPr id="3" name="think-cell data - do not delete" hidden="1">
                        <a:extLst>
                          <a:ext uri="{FF2B5EF4-FFF2-40B4-BE49-F238E27FC236}">
                            <a16:creationId xmlns:a16="http://schemas.microsoft.com/office/drawing/2014/main" id="{EE158156-0789-1712-E464-AA31B7CC62C3}"/>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93" name="Rectangle 292">
            <a:extLst>
              <a:ext uri="{FF2B5EF4-FFF2-40B4-BE49-F238E27FC236}">
                <a16:creationId xmlns:a16="http://schemas.microsoft.com/office/drawing/2014/main" id="{402718AE-794B-F73C-5ED6-C6B66655E562}"/>
              </a:ext>
            </a:extLst>
          </p:cNvPr>
          <p:cNvSpPr/>
          <p:nvPr/>
        </p:nvSpPr>
        <p:spPr>
          <a:xfrm>
            <a:off x="4792133" y="2032000"/>
            <a:ext cx="1380067" cy="3382433"/>
          </a:xfrm>
          <a:prstGeom prst="rect">
            <a:avLst/>
          </a:prstGeom>
          <a:solidFill>
            <a:schemeClr val="accent2">
              <a:lumMod val="10000"/>
              <a:lumOff val="90000"/>
              <a:alpha val="20000"/>
            </a:schemeClr>
          </a:solidFill>
          <a:ln w="12700" cap="rnd" cmpd="sng" algn="ctr">
            <a:noFill/>
            <a:prstDash val="solid"/>
            <a:round/>
            <a:headEnd type="none" w="med" len="med"/>
            <a:tailEnd type="none" w="med" len="med"/>
          </a:ln>
          <a:effectLst/>
        </p:spPr>
        <p:txBody>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
                <a:srgbClr val="006C67"/>
              </a:buClr>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294" name="Group 293">
            <a:extLst>
              <a:ext uri="{FF2B5EF4-FFF2-40B4-BE49-F238E27FC236}">
                <a16:creationId xmlns:a16="http://schemas.microsoft.com/office/drawing/2014/main" id="{AE8ED8D0-3199-55AE-A2F6-A18A7F9BD90E}"/>
              </a:ext>
            </a:extLst>
          </p:cNvPr>
          <p:cNvGrpSpPr/>
          <p:nvPr/>
        </p:nvGrpSpPr>
        <p:grpSpPr>
          <a:xfrm rot="16200000">
            <a:off x="6630364" y="3728692"/>
            <a:ext cx="4478862" cy="323850"/>
            <a:chOff x="502882" y="4312444"/>
            <a:chExt cx="3674284" cy="323850"/>
          </a:xfrm>
        </p:grpSpPr>
        <p:cxnSp>
          <p:nvCxnSpPr>
            <p:cNvPr id="295" name="Straight Connector 294">
              <a:extLst>
                <a:ext uri="{FF2B5EF4-FFF2-40B4-BE49-F238E27FC236}">
                  <a16:creationId xmlns:a16="http://schemas.microsoft.com/office/drawing/2014/main" id="{D44915F7-BA54-A917-7E8F-1EF5398C415E}"/>
                </a:ext>
              </a:extLst>
            </p:cNvPr>
            <p:cNvCxnSpPr>
              <a:cxnSpLocks/>
            </p:cNvCxnSpPr>
            <p:nvPr/>
          </p:nvCxnSpPr>
          <p:spPr>
            <a:xfrm rot="5400000">
              <a:off x="2340024" y="2611033"/>
              <a:ext cx="0" cy="3674284"/>
            </a:xfrm>
            <a:prstGeom prst="line">
              <a:avLst/>
            </a:prstGeom>
            <a:noFill/>
            <a:ln w="19050" cap="flat" cmpd="sng" algn="ctr">
              <a:solidFill>
                <a:schemeClr val="accent4"/>
              </a:solidFill>
              <a:prstDash val="solid"/>
              <a:miter lim="800000"/>
            </a:ln>
            <a:effectLst/>
          </p:spPr>
        </p:cxnSp>
        <p:grpSp>
          <p:nvGrpSpPr>
            <p:cNvPr id="296" name="Group 295">
              <a:extLst>
                <a:ext uri="{FF2B5EF4-FFF2-40B4-BE49-F238E27FC236}">
                  <a16:creationId xmlns:a16="http://schemas.microsoft.com/office/drawing/2014/main" id="{F2FB570D-4DEB-16DC-BBFD-0B8CAE42DE75}"/>
                </a:ext>
              </a:extLst>
            </p:cNvPr>
            <p:cNvGrpSpPr/>
            <p:nvPr/>
          </p:nvGrpSpPr>
          <p:grpSpPr>
            <a:xfrm rot="5400000">
              <a:off x="2149475" y="4216400"/>
              <a:ext cx="323850" cy="515938"/>
              <a:chOff x="1886358" y="5199045"/>
              <a:chExt cx="557212" cy="497047"/>
            </a:xfrm>
          </p:grpSpPr>
          <p:sp>
            <p:nvSpPr>
              <p:cNvPr id="297" name="Rectangle 296">
                <a:extLst>
                  <a:ext uri="{FF2B5EF4-FFF2-40B4-BE49-F238E27FC236}">
                    <a16:creationId xmlns:a16="http://schemas.microsoft.com/office/drawing/2014/main" id="{C672E0AE-6DB6-49F7-1A15-634E92005E08}"/>
                  </a:ext>
                </a:extLst>
              </p:cNvPr>
              <p:cNvSpPr/>
              <p:nvPr/>
            </p:nvSpPr>
            <p:spPr>
              <a:xfrm>
                <a:off x="1886358" y="5201984"/>
                <a:ext cx="557212" cy="49116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grpSp>
            <p:nvGrpSpPr>
              <p:cNvPr id="298" name="Google Shape;2322;p9">
                <a:extLst>
                  <a:ext uri="{FF2B5EF4-FFF2-40B4-BE49-F238E27FC236}">
                    <a16:creationId xmlns:a16="http://schemas.microsoft.com/office/drawing/2014/main" id="{86AE3AC1-839E-D398-262B-9145919DE0A8}"/>
                  </a:ext>
                </a:extLst>
              </p:cNvPr>
              <p:cNvGrpSpPr/>
              <p:nvPr/>
            </p:nvGrpSpPr>
            <p:grpSpPr>
              <a:xfrm>
                <a:off x="1923159" y="5199045"/>
                <a:ext cx="459420" cy="497047"/>
                <a:chOff x="4646915" y="3734035"/>
                <a:chExt cx="390043" cy="529695"/>
              </a:xfrm>
            </p:grpSpPr>
            <p:sp>
              <p:nvSpPr>
                <p:cNvPr id="299" name="Google Shape;2324;p9">
                  <a:extLst>
                    <a:ext uri="{FF2B5EF4-FFF2-40B4-BE49-F238E27FC236}">
                      <a16:creationId xmlns:a16="http://schemas.microsoft.com/office/drawing/2014/main" id="{1B51B005-C4E6-3DAC-F733-4124FDFF9619}"/>
                    </a:ext>
                  </a:extLst>
                </p:cNvPr>
                <p:cNvSpPr/>
                <p:nvPr/>
              </p:nvSpPr>
              <p:spPr>
                <a:xfrm rot="5400000">
                  <a:off x="4656677" y="3883450"/>
                  <a:ext cx="529695" cy="230866"/>
                </a:xfrm>
                <a:prstGeom prst="triangle">
                  <a:avLst>
                    <a:gd name="adj" fmla="val 50000"/>
                  </a:avLst>
                </a:prstGeom>
                <a:solidFill>
                  <a:srgbClr val="009A93"/>
                </a:solid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00000"/>
                    </a:buClr>
                    <a:buSzPts val="2000"/>
                    <a:buFontTx/>
                    <a:buNone/>
                    <a:tabLst/>
                    <a:defRPr/>
                  </a:pPr>
                  <a:endParaRPr kumimoji="0" lang="en-GB" sz="1467" b="1" i="0" u="none" strike="noStrike" kern="0" cap="none" spc="0" normalizeH="0" baseline="0" noProof="0">
                    <a:ln>
                      <a:noFill/>
                    </a:ln>
                    <a:solidFill>
                      <a:srgbClr val="000000"/>
                    </a:solidFill>
                    <a:effectLst/>
                    <a:uLnTx/>
                    <a:uFillTx/>
                    <a:latin typeface="Fund Light" pitchFamily="2" charset="-78"/>
                    <a:ea typeface="Libre Franklin"/>
                    <a:cs typeface="Fund Light" pitchFamily="2" charset="-78"/>
                    <a:sym typeface="Libre Franklin"/>
                  </a:endParaRPr>
                </a:p>
              </p:txBody>
            </p:sp>
            <p:grpSp>
              <p:nvGrpSpPr>
                <p:cNvPr id="300" name="Google Shape;2325;p9">
                  <a:extLst>
                    <a:ext uri="{FF2B5EF4-FFF2-40B4-BE49-F238E27FC236}">
                      <a16:creationId xmlns:a16="http://schemas.microsoft.com/office/drawing/2014/main" id="{B581A33A-295E-8277-14D6-B7467498B486}"/>
                    </a:ext>
                  </a:extLst>
                </p:cNvPr>
                <p:cNvGrpSpPr/>
                <p:nvPr/>
              </p:nvGrpSpPr>
              <p:grpSpPr>
                <a:xfrm>
                  <a:off x="4646915" y="3768997"/>
                  <a:ext cx="271280" cy="459790"/>
                  <a:chOff x="6702563" y="1522409"/>
                  <a:chExt cx="280727" cy="723340"/>
                </a:xfrm>
              </p:grpSpPr>
              <p:sp>
                <p:nvSpPr>
                  <p:cNvPr id="301" name="Google Shape;2326;p9">
                    <a:extLst>
                      <a:ext uri="{FF2B5EF4-FFF2-40B4-BE49-F238E27FC236}">
                        <a16:creationId xmlns:a16="http://schemas.microsoft.com/office/drawing/2014/main" id="{A71F1B66-9972-0AAC-DCA8-47C687AAE8BE}"/>
                      </a:ext>
                    </a:extLst>
                  </p:cNvPr>
                  <p:cNvSpPr/>
                  <p:nvPr/>
                </p:nvSpPr>
                <p:spPr>
                  <a:xfrm rot="5400000">
                    <a:off x="6515854" y="1778305"/>
                    <a:ext cx="723332" cy="211540"/>
                  </a:xfrm>
                  <a:prstGeom prst="triangle">
                    <a:avLst>
                      <a:gd name="adj" fmla="val 50000"/>
                    </a:avLst>
                  </a:prstGeom>
                  <a:solidFill>
                    <a:schemeClr val="accent4"/>
                  </a:solidFill>
                  <a:ln w="57150" cap="flat" cmpd="sng">
                    <a:solidFill>
                      <a:srgbClr val="F2F2F2"/>
                    </a:solidFill>
                    <a:prstDash val="solid"/>
                    <a:round/>
                    <a:headEnd type="none" w="sm" len="sm"/>
                    <a:tailEnd type="none" w="sm" len="sm"/>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00000"/>
                      </a:buClr>
                      <a:buSzPts val="2000"/>
                      <a:buFontTx/>
                      <a:buNone/>
                      <a:tabLst/>
                      <a:defRPr/>
                    </a:pPr>
                    <a:endParaRPr kumimoji="0" lang="en-GB" sz="1467" b="1" i="0" u="none" strike="noStrike" kern="0" cap="none" spc="0" normalizeH="0" baseline="0" noProof="0">
                      <a:ln>
                        <a:noFill/>
                      </a:ln>
                      <a:solidFill>
                        <a:srgbClr val="000000"/>
                      </a:solidFill>
                      <a:effectLst/>
                      <a:uLnTx/>
                      <a:uFillTx/>
                      <a:latin typeface="Fund Light" pitchFamily="2" charset="-78"/>
                      <a:ea typeface="Libre Franklin"/>
                      <a:cs typeface="Fund Light" pitchFamily="2" charset="-78"/>
                      <a:sym typeface="Libre Franklin"/>
                    </a:endParaRPr>
                  </a:p>
                </p:txBody>
              </p:sp>
              <p:sp>
                <p:nvSpPr>
                  <p:cNvPr id="302" name="Google Shape;2327;p9">
                    <a:extLst>
                      <a:ext uri="{FF2B5EF4-FFF2-40B4-BE49-F238E27FC236}">
                        <a16:creationId xmlns:a16="http://schemas.microsoft.com/office/drawing/2014/main" id="{107AC0F1-53D0-7F4D-DAB3-0B69CF7AB6FF}"/>
                      </a:ext>
                    </a:extLst>
                  </p:cNvPr>
                  <p:cNvSpPr/>
                  <p:nvPr/>
                </p:nvSpPr>
                <p:spPr>
                  <a:xfrm rot="5400000">
                    <a:off x="6446667" y="1778314"/>
                    <a:ext cx="723331" cy="211540"/>
                  </a:xfrm>
                  <a:prstGeom prst="triangle">
                    <a:avLst>
                      <a:gd name="adj" fmla="val 50000"/>
                    </a:avLst>
                  </a:prstGeom>
                  <a:solidFill>
                    <a:srgbClr val="F2F2F2"/>
                  </a:solidFill>
                  <a:ln>
                    <a:noFill/>
                  </a:ln>
                </p:spPr>
                <p:txBody>
                  <a:bodyPr spcFirstLastPara="1" wrap="square" lIns="12190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00000"/>
                      </a:buClr>
                      <a:buSzPts val="2000"/>
                      <a:buFontTx/>
                      <a:buNone/>
                      <a:tabLst/>
                      <a:defRPr/>
                    </a:pPr>
                    <a:endParaRPr kumimoji="0" lang="en-GB" sz="1467" b="1" i="0" u="none" strike="noStrike" kern="0" cap="none" spc="0" normalizeH="0" baseline="0" noProof="0">
                      <a:ln>
                        <a:noFill/>
                      </a:ln>
                      <a:solidFill>
                        <a:srgbClr val="000000"/>
                      </a:solidFill>
                      <a:effectLst/>
                      <a:uLnTx/>
                      <a:uFillTx/>
                      <a:latin typeface="Fund Light" pitchFamily="2" charset="-78"/>
                      <a:ea typeface="Libre Franklin"/>
                      <a:cs typeface="Fund Light" pitchFamily="2" charset="-78"/>
                      <a:sym typeface="Libre Franklin"/>
                    </a:endParaRPr>
                  </a:p>
                </p:txBody>
              </p:sp>
            </p:grpSp>
          </p:grpSp>
        </p:grpSp>
      </p:grpSp>
      <p:sp>
        <p:nvSpPr>
          <p:cNvPr id="303" name="Rectangle 302">
            <a:extLst>
              <a:ext uri="{FF2B5EF4-FFF2-40B4-BE49-F238E27FC236}">
                <a16:creationId xmlns:a16="http://schemas.microsoft.com/office/drawing/2014/main" id="{688A4CB0-2BD6-4267-7776-7A6FDE8EEAD7}"/>
              </a:ext>
            </a:extLst>
          </p:cNvPr>
          <p:cNvSpPr/>
          <p:nvPr/>
        </p:nvSpPr>
        <p:spPr>
          <a:xfrm>
            <a:off x="9030652" y="1497865"/>
            <a:ext cx="2541272" cy="38366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31775" marR="0" lvl="0" indent="-231775"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005247"/>
                </a:solidFill>
                <a:effectLst/>
                <a:uLnTx/>
                <a:uFillTx/>
                <a:latin typeface="Trebuchet MS"/>
                <a:ea typeface="+mn-ea"/>
                <a:cs typeface="+mn-cs"/>
              </a:rPr>
              <a:t>Price outcomes depend mainly on supply response in the opened zones: if approvals, utilities and land activation move quickly, the additional demand translates into new delivery rather than higher prices.</a:t>
            </a:r>
          </a:p>
          <a:p>
            <a:pPr marL="231775" marR="0" lvl="0" indent="-231775"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005247"/>
                </a:solidFill>
                <a:effectLst/>
                <a:uLnTx/>
                <a:uFillTx/>
                <a:latin typeface="Trebuchet MS"/>
                <a:ea typeface="+mn-ea"/>
                <a:cs typeface="+mn-cs"/>
              </a:rPr>
              <a:t>Fast opening with slow delivery can create a short-term hotspot premium in prime corridors, before easing once completions catch up and the market widens beyond a few districts.</a:t>
            </a:r>
          </a:p>
          <a:p>
            <a:pPr marL="231775" marR="0" lvl="0" indent="-231775"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005247"/>
                </a:solidFill>
                <a:effectLst/>
                <a:uLnTx/>
                <a:uFillTx/>
                <a:latin typeface="Trebuchet MS"/>
                <a:ea typeface="+mn-ea"/>
                <a:cs typeface="+mn-cs"/>
              </a:rPr>
              <a:t>A phased, targeted opening paired with supply levers (WLF, planning/transaction reforms, vacancy activation) can keep price growth more contained by spreading demand and bringing additional stock to market. </a:t>
            </a:r>
          </a:p>
          <a:p>
            <a:pPr marL="231775" marR="0" lvl="0" indent="-231775"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005247"/>
                </a:solidFill>
                <a:effectLst/>
                <a:uLnTx/>
                <a:uFillTx/>
                <a:latin typeface="Trebuchet MS"/>
                <a:ea typeface="+mn-ea"/>
                <a:cs typeface="+mn-cs"/>
              </a:rPr>
              <a:t>Policy implication: sequence foreign-ownership reforms with clear triggers (e.g., completions/permits, vacancy and transaction indicators) and adjust access conditions if hotspots show overheating</a:t>
            </a:r>
            <a:endParaRPr kumimoji="0" lang="en-GB" sz="1100" i="0" u="none" strike="noStrike" kern="1200" cap="none" spc="0" normalizeH="0" baseline="0" noProof="0" dirty="0">
              <a:ln>
                <a:noFill/>
              </a:ln>
              <a:solidFill>
                <a:srgbClr val="005247"/>
              </a:solidFill>
              <a:effectLst/>
              <a:uLnTx/>
              <a:uFillTx/>
              <a:latin typeface="Trebuchet MS"/>
              <a:ea typeface="+mn-ea"/>
              <a:cs typeface="+mn-cs"/>
            </a:endParaRPr>
          </a:p>
        </p:txBody>
      </p:sp>
      <p:graphicFrame>
        <p:nvGraphicFramePr>
          <p:cNvPr id="350" name="Chart 349">
            <a:extLst>
              <a:ext uri="{FF2B5EF4-FFF2-40B4-BE49-F238E27FC236}">
                <a16:creationId xmlns:a16="http://schemas.microsoft.com/office/drawing/2014/main" id="{4D17026B-4B30-FB4D-A5E5-75E338C8B1E8}"/>
              </a:ext>
            </a:extLst>
          </p:cNvPr>
          <p:cNvGraphicFramePr/>
          <p:nvPr>
            <p:custDataLst>
              <p:tags r:id="rId2"/>
            </p:custDataLst>
            <p:extLst>
              <p:ext uri="{D42A27DB-BD31-4B8C-83A1-F6EECF244321}">
                <p14:modId xmlns:p14="http://schemas.microsoft.com/office/powerpoint/2010/main" val="1172966297"/>
              </p:ext>
            </p:extLst>
          </p:nvPr>
        </p:nvGraphicFramePr>
        <p:xfrm>
          <a:off x="2417763" y="2019300"/>
          <a:ext cx="6157912" cy="3570288"/>
        </p:xfrm>
        <a:graphic>
          <a:graphicData uri="http://schemas.openxmlformats.org/drawingml/2006/chart">
            <c:chart xmlns:c="http://schemas.openxmlformats.org/drawingml/2006/chart" xmlns:r="http://schemas.openxmlformats.org/officeDocument/2006/relationships" r:id="rId44"/>
          </a:graphicData>
        </a:graphic>
      </p:graphicFrame>
      <p:cxnSp>
        <p:nvCxnSpPr>
          <p:cNvPr id="305" name="Straight Connector 304">
            <a:extLst>
              <a:ext uri="{FF2B5EF4-FFF2-40B4-BE49-F238E27FC236}">
                <a16:creationId xmlns:a16="http://schemas.microsoft.com/office/drawing/2014/main" id="{89D1A71E-6CC6-66E1-21C8-F71CB0580C86}"/>
              </a:ext>
            </a:extLst>
          </p:cNvPr>
          <p:cNvCxnSpPr>
            <a:cxnSpLocks/>
          </p:cNvCxnSpPr>
          <p:nvPr>
            <p:custDataLst>
              <p:tags r:id="rId3"/>
            </p:custDataLst>
          </p:nvPr>
        </p:nvCxnSpPr>
        <p:spPr bwMode="gray">
          <a:xfrm flipH="1">
            <a:off x="6149975" y="2894013"/>
            <a:ext cx="36513" cy="0"/>
          </a:xfrm>
          <a:prstGeom prst="line">
            <a:avLst/>
          </a:prstGeom>
          <a:ln w="6350"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5B649E68-CF1F-7C13-257E-EEE62B946C67}"/>
              </a:ext>
            </a:extLst>
          </p:cNvPr>
          <p:cNvCxnSpPr/>
          <p:nvPr>
            <p:custDataLst>
              <p:tags r:id="rId4"/>
            </p:custDataLst>
          </p:nvPr>
        </p:nvCxnSpPr>
        <p:spPr bwMode="gray">
          <a:xfrm>
            <a:off x="7042150" y="2622551"/>
            <a:ext cx="0" cy="34925"/>
          </a:xfrm>
          <a:prstGeom prst="line">
            <a:avLst/>
          </a:prstGeom>
          <a:ln w="6350"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307" name="Text Placeholder 3">
            <a:extLst>
              <a:ext uri="{FF2B5EF4-FFF2-40B4-BE49-F238E27FC236}">
                <a16:creationId xmlns:a16="http://schemas.microsoft.com/office/drawing/2014/main" id="{AC9436C7-E4F8-5391-2EFE-B876FC770697}"/>
              </a:ext>
            </a:extLst>
          </p:cNvPr>
          <p:cNvSpPr>
            <a:spLocks noGrp="1"/>
          </p:cNvSpPr>
          <p:nvPr>
            <p:custDataLst>
              <p:tags r:id="rId5"/>
            </p:custDataLst>
          </p:nvPr>
        </p:nvSpPr>
        <p:spPr bwMode="gray">
          <a:xfrm>
            <a:off x="2994025" y="3870325"/>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D3F9B335-CD36-4F91-97EB-3013BD9426DD}" type="datetime'''''''1'''''''''''''''''''''''''''''''',''6''''''''9''''0'''''">
              <a:rPr lang="en-GB" altLang="en-US" sz="800" smtClean="0">
                <a:effectLst/>
                <a:latin typeface="+mn-lt"/>
              </a:rPr>
              <a:pPr/>
              <a:t>1,690</a:t>
            </a:fld>
            <a:endParaRPr kumimoji="0" lang="en-GB" sz="800" b="0" i="0" strike="noStrike" kern="1200" cap="none" spc="0" normalizeH="0" baseline="0" noProof="0">
              <a:ln>
                <a:noFill/>
              </a:ln>
              <a:effectLst/>
              <a:uLnTx/>
              <a:uFillTx/>
              <a:latin typeface="+mn-lt"/>
              <a:ea typeface="+mn-ea"/>
              <a:cs typeface="Sakkal Majalla" panose="02000000000000000000" pitchFamily="2" charset="-78"/>
              <a:sym typeface="Trebuchet MS" panose="020B0603020202020204" pitchFamily="34" charset="0"/>
            </a:endParaRPr>
          </a:p>
        </p:txBody>
      </p:sp>
      <p:sp>
        <p:nvSpPr>
          <p:cNvPr id="308" name="Text Placeholder 3">
            <a:extLst>
              <a:ext uri="{FF2B5EF4-FFF2-40B4-BE49-F238E27FC236}">
                <a16:creationId xmlns:a16="http://schemas.microsoft.com/office/drawing/2014/main" id="{D530EAD2-5DDB-283D-C754-140495ECB22A}"/>
              </a:ext>
            </a:extLst>
          </p:cNvPr>
          <p:cNvSpPr>
            <a:spLocks noGrp="1"/>
          </p:cNvSpPr>
          <p:nvPr>
            <p:custDataLst>
              <p:tags r:id="rId6"/>
            </p:custDataLst>
          </p:nvPr>
        </p:nvSpPr>
        <p:spPr bwMode="auto">
          <a:xfrm>
            <a:off x="2822575" y="54895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56C545DD-AE0A-4E94-91D3-4341694AC324}" type="datetime'''''''''''2''''''''''''''''''''''''''0''''''2''1'''''''''">
              <a:rPr lang="en-GB" altLang="en-US" sz="1000" smtClean="0">
                <a:latin typeface="+mn-lt"/>
              </a:rPr>
              <a:pPr lvl="0" algn="ctr">
                <a:spcBef>
                  <a:spcPct val="0"/>
                </a:spcBef>
                <a:spcAft>
                  <a:spcPct val="0"/>
                </a:spcAft>
              </a:pPr>
              <a:t>2021</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useBgFill="1">
        <p:nvSpPr>
          <p:cNvPr id="309" name="Text Placeholder 3">
            <a:extLst>
              <a:ext uri="{FF2B5EF4-FFF2-40B4-BE49-F238E27FC236}">
                <a16:creationId xmlns:a16="http://schemas.microsoft.com/office/drawing/2014/main" id="{6A08988C-59C6-45DE-CBDF-BAE273001F0B}"/>
              </a:ext>
            </a:extLst>
          </p:cNvPr>
          <p:cNvSpPr>
            <a:spLocks noGrp="1"/>
          </p:cNvSpPr>
          <p:nvPr>
            <p:custDataLst>
              <p:tags r:id="rId7"/>
            </p:custDataLst>
          </p:nvPr>
        </p:nvSpPr>
        <p:spPr bwMode="gray">
          <a:xfrm>
            <a:off x="3271838" y="3465513"/>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29DD4018-2171-4BC6-872C-A1B5E60CB01B}" type="datetime'''''''2'''''''',''''''''1''9''''''''5'''''''''''''''''''''">
              <a:rPr lang="en-GB" altLang="en-US" sz="800" smtClean="0">
                <a:effectLst/>
                <a:latin typeface="+mn-lt"/>
              </a:rPr>
              <a:pPr/>
              <a:t>2,195</a:t>
            </a:fld>
            <a:endParaRPr kumimoji="0" lang="en-GB" sz="800" b="0" i="0" strike="noStrike" kern="1200" cap="none" spc="0" normalizeH="0" baseline="0" noProof="0">
              <a:ln>
                <a:noFill/>
              </a:ln>
              <a:effectLst/>
              <a:uLnTx/>
              <a:uFillTx/>
              <a:latin typeface="+mn-lt"/>
              <a:ea typeface="+mn-ea"/>
              <a:cs typeface="Sakkal Majalla" panose="02000000000000000000" pitchFamily="2" charset="-78"/>
              <a:sym typeface="Trebuchet MS" panose="020B0603020202020204" pitchFamily="34" charset="0"/>
            </a:endParaRPr>
          </a:p>
        </p:txBody>
      </p:sp>
      <p:sp>
        <p:nvSpPr>
          <p:cNvPr id="310" name="Text Placeholder 3">
            <a:extLst>
              <a:ext uri="{FF2B5EF4-FFF2-40B4-BE49-F238E27FC236}">
                <a16:creationId xmlns:a16="http://schemas.microsoft.com/office/drawing/2014/main" id="{7974F19C-71EE-C6D0-2F4C-02724CCA4E87}"/>
              </a:ext>
            </a:extLst>
          </p:cNvPr>
          <p:cNvSpPr>
            <a:spLocks noGrp="1"/>
          </p:cNvSpPr>
          <p:nvPr>
            <p:custDataLst>
              <p:tags r:id="rId8"/>
            </p:custDataLst>
          </p:nvPr>
        </p:nvSpPr>
        <p:spPr bwMode="auto">
          <a:xfrm>
            <a:off x="3276600" y="54895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03E83120-E30F-4750-9EE8-C74D41C8012A}" type="datetime'''''''''''''''2''''''022'''''''''''">
              <a:rPr lang="en-GB" altLang="en-US" sz="1000" smtClean="0">
                <a:latin typeface="+mn-lt"/>
              </a:rPr>
              <a:pPr lvl="0" algn="ctr">
                <a:spcBef>
                  <a:spcPct val="0"/>
                </a:spcBef>
                <a:spcAft>
                  <a:spcPct val="0"/>
                </a:spcAft>
              </a:pPr>
              <a:t>2022</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useBgFill="1">
        <p:nvSpPr>
          <p:cNvPr id="311" name="Text Placeholder 3">
            <a:extLst>
              <a:ext uri="{FF2B5EF4-FFF2-40B4-BE49-F238E27FC236}">
                <a16:creationId xmlns:a16="http://schemas.microsoft.com/office/drawing/2014/main" id="{262AF15F-245F-641E-0C7F-2BBDC55EFA13}"/>
              </a:ext>
            </a:extLst>
          </p:cNvPr>
          <p:cNvSpPr>
            <a:spLocks noGrp="1"/>
          </p:cNvSpPr>
          <p:nvPr>
            <p:custDataLst>
              <p:tags r:id="rId9"/>
            </p:custDataLst>
          </p:nvPr>
        </p:nvSpPr>
        <p:spPr bwMode="gray">
          <a:xfrm>
            <a:off x="3724275" y="3216275"/>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AD46006F-C107-46D1-B7BF-BAAC60846D27}" type="datetime'''''''2'''''''''''''''',''''''''''5''''0''''''''''7'''''''">
              <a:rPr lang="en-GB" altLang="en-US" sz="800" smtClean="0">
                <a:effectLst/>
                <a:latin typeface="+mn-lt"/>
              </a:rPr>
              <a:pPr/>
              <a:t>2,507</a:t>
            </a:fld>
            <a:endParaRPr kumimoji="0" lang="en-GB" sz="800" b="0" i="0" strike="noStrike" kern="1200" cap="none" spc="0" normalizeH="0" baseline="0" noProof="0">
              <a:ln>
                <a:noFill/>
              </a:ln>
              <a:effectLst/>
              <a:uLnTx/>
              <a:uFillTx/>
              <a:latin typeface="+mn-lt"/>
              <a:ea typeface="+mn-ea"/>
              <a:cs typeface="Sakkal Majalla" panose="02000000000000000000" pitchFamily="2" charset="-78"/>
              <a:sym typeface="Trebuchet MS" panose="020B0603020202020204" pitchFamily="34" charset="0"/>
            </a:endParaRPr>
          </a:p>
        </p:txBody>
      </p:sp>
      <p:sp>
        <p:nvSpPr>
          <p:cNvPr id="312" name="Text Placeholder 3">
            <a:extLst>
              <a:ext uri="{FF2B5EF4-FFF2-40B4-BE49-F238E27FC236}">
                <a16:creationId xmlns:a16="http://schemas.microsoft.com/office/drawing/2014/main" id="{2AA68288-2DD7-5A6F-4EB3-566246D23CC1}"/>
              </a:ext>
            </a:extLst>
          </p:cNvPr>
          <p:cNvSpPr>
            <a:spLocks noGrp="1"/>
          </p:cNvSpPr>
          <p:nvPr>
            <p:custDataLst>
              <p:tags r:id="rId10"/>
            </p:custDataLst>
          </p:nvPr>
        </p:nvSpPr>
        <p:spPr bwMode="auto">
          <a:xfrm>
            <a:off x="3729038" y="54895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E23D2BBA-C234-42B5-8C02-CB43250B6F10}" type="datetime'20''''''''''''2''''''''''''''''''3'''''''''''''''''">
              <a:rPr lang="en-GB" altLang="en-US" sz="1000" smtClean="0">
                <a:latin typeface="+mn-lt"/>
              </a:rPr>
              <a:pPr lvl="0" algn="ctr">
                <a:spcBef>
                  <a:spcPct val="0"/>
                </a:spcBef>
                <a:spcAft>
                  <a:spcPct val="0"/>
                </a:spcAft>
              </a:pPr>
              <a:t>2023</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p:nvSpPr>
          <p:cNvPr id="313" name="Text Placeholder 3">
            <a:extLst>
              <a:ext uri="{FF2B5EF4-FFF2-40B4-BE49-F238E27FC236}">
                <a16:creationId xmlns:a16="http://schemas.microsoft.com/office/drawing/2014/main" id="{59D8B287-B499-F8D9-E97E-BE6B9E6B858B}"/>
              </a:ext>
            </a:extLst>
          </p:cNvPr>
          <p:cNvSpPr>
            <a:spLocks noGrp="1"/>
          </p:cNvSpPr>
          <p:nvPr>
            <p:custDataLst>
              <p:tags r:id="rId11"/>
            </p:custDataLst>
          </p:nvPr>
        </p:nvSpPr>
        <p:spPr bwMode="auto">
          <a:xfrm>
            <a:off x="4183063" y="54895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072D3A96-A41C-4FF4-B007-10FEB2689BDE}" type="datetime'''2''''''''''''''''''''0''''''''''''''2''''''''''''4'''''">
              <a:rPr lang="en-GB" altLang="en-US" sz="1000" smtClean="0">
                <a:latin typeface="+mn-lt"/>
              </a:rPr>
              <a:pPr lvl="0" algn="ctr">
                <a:spcBef>
                  <a:spcPct val="0"/>
                </a:spcBef>
                <a:spcAft>
                  <a:spcPct val="0"/>
                </a:spcAft>
              </a:pPr>
              <a:t>2024</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p:nvSpPr>
          <p:cNvPr id="314" name="Text Placeholder 3">
            <a:extLst>
              <a:ext uri="{FF2B5EF4-FFF2-40B4-BE49-F238E27FC236}">
                <a16:creationId xmlns:a16="http://schemas.microsoft.com/office/drawing/2014/main" id="{393C8962-DFC5-D7F9-7B56-7844946A7929}"/>
              </a:ext>
            </a:extLst>
          </p:cNvPr>
          <p:cNvSpPr>
            <a:spLocks noGrp="1"/>
          </p:cNvSpPr>
          <p:nvPr>
            <p:custDataLst>
              <p:tags r:id="rId12"/>
            </p:custDataLst>
          </p:nvPr>
        </p:nvSpPr>
        <p:spPr bwMode="auto">
          <a:xfrm>
            <a:off x="4635500" y="5489575"/>
            <a:ext cx="279400"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552C500D-B6C4-4F53-949F-942A8DDA2EDB}" type="datetime'''2''''''''''0''''25'''''' Q''1'''''''''''''''''''''''''">
              <a:rPr lang="en-GB" altLang="en-US" sz="1000" smtClean="0">
                <a:latin typeface="+mn-lt"/>
              </a:rPr>
              <a:pPr lvl="0" algn="ctr">
                <a:spcBef>
                  <a:spcPct val="0"/>
                </a:spcBef>
                <a:spcAft>
                  <a:spcPct val="0"/>
                </a:spcAft>
              </a:pPr>
              <a:t>2025 Q1</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p:nvSpPr>
          <p:cNvPr id="315" name="Text Placeholder 3">
            <a:extLst>
              <a:ext uri="{FF2B5EF4-FFF2-40B4-BE49-F238E27FC236}">
                <a16:creationId xmlns:a16="http://schemas.microsoft.com/office/drawing/2014/main" id="{A1D89EB0-5CE4-86E0-4296-BE767ACE74C0}"/>
              </a:ext>
            </a:extLst>
          </p:cNvPr>
          <p:cNvSpPr>
            <a:spLocks noGrp="1"/>
          </p:cNvSpPr>
          <p:nvPr>
            <p:custDataLst>
              <p:tags r:id="rId13"/>
            </p:custDataLst>
          </p:nvPr>
        </p:nvSpPr>
        <p:spPr bwMode="auto">
          <a:xfrm>
            <a:off x="5089525" y="5489575"/>
            <a:ext cx="279400"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60DC6260-653C-4FF8-BE0C-20B2601C4AC9}" type="datetime'''''''''''''2''''0''''2''5'''''''''''''''''''' ''Q''''''2'">
              <a:rPr lang="en-GB" altLang="en-US" sz="1000" smtClean="0">
                <a:latin typeface="+mn-lt"/>
              </a:rPr>
              <a:pPr lvl="0" algn="ctr">
                <a:spcBef>
                  <a:spcPct val="0"/>
                </a:spcBef>
                <a:spcAft>
                  <a:spcPct val="0"/>
                </a:spcAft>
              </a:pPr>
              <a:t>2025 Q2</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p:nvSpPr>
          <p:cNvPr id="316" name="Text Placeholder 3">
            <a:extLst>
              <a:ext uri="{FF2B5EF4-FFF2-40B4-BE49-F238E27FC236}">
                <a16:creationId xmlns:a16="http://schemas.microsoft.com/office/drawing/2014/main" id="{67915D5E-798A-C4BC-A364-631FA8E6E236}"/>
              </a:ext>
            </a:extLst>
          </p:cNvPr>
          <p:cNvSpPr>
            <a:spLocks noGrp="1"/>
          </p:cNvSpPr>
          <p:nvPr>
            <p:custDataLst>
              <p:tags r:id="rId14"/>
            </p:custDataLst>
          </p:nvPr>
        </p:nvSpPr>
        <p:spPr bwMode="auto">
          <a:xfrm>
            <a:off x="5543550" y="5489575"/>
            <a:ext cx="279400"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8CCB3D7F-DAC5-45BF-8432-B9AC3B83FA96}" type="datetime'''2''''''0''''2''''''''''''''5'''' ''''''''''''''Q3'">
              <a:rPr lang="en-GB" altLang="en-US" sz="1000" smtClean="0">
                <a:latin typeface="+mn-lt"/>
              </a:rPr>
              <a:pPr lvl="0" algn="ctr">
                <a:spcBef>
                  <a:spcPct val="0"/>
                </a:spcBef>
                <a:spcAft>
                  <a:spcPct val="0"/>
                </a:spcAft>
              </a:pPr>
              <a:t>2025 Q3</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useBgFill="1">
        <p:nvSpPr>
          <p:cNvPr id="317" name="Text Placeholder 3">
            <a:extLst>
              <a:ext uri="{FF2B5EF4-FFF2-40B4-BE49-F238E27FC236}">
                <a16:creationId xmlns:a16="http://schemas.microsoft.com/office/drawing/2014/main" id="{2C77DBF5-22FF-BF22-E929-F67B89627D4C}"/>
              </a:ext>
            </a:extLst>
          </p:cNvPr>
          <p:cNvSpPr>
            <a:spLocks noGrp="1"/>
          </p:cNvSpPr>
          <p:nvPr>
            <p:custDataLst>
              <p:tags r:id="rId15"/>
            </p:custDataLst>
          </p:nvPr>
        </p:nvSpPr>
        <p:spPr bwMode="gray">
          <a:xfrm>
            <a:off x="5991225" y="3025775"/>
            <a:ext cx="288925" cy="133350"/>
          </a:xfrm>
          <a:prstGeom prst="rect">
            <a:avLst/>
          </a:prstGeom>
          <a:ln>
            <a:noFill/>
          </a:ln>
          <a:effectLst/>
        </p:spPr>
        <p:txBody>
          <a:bodyPr vert="horz" wrap="none" lIns="17463" tIns="0" rIns="17463"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C961B65C-B8E0-4B88-BF92-AC4321818C4C}" type="datetime'3'''',''''''''''''0''3''''''''''''''''''''''''''''8'">
              <a:rPr lang="en-GB" altLang="en-US" sz="800" smtClean="0">
                <a:effectLst/>
                <a:latin typeface="+mn-lt"/>
              </a:rPr>
              <a:pPr/>
              <a:t>3,038</a:t>
            </a:fld>
            <a:endParaRPr kumimoji="0" lang="en-GB" sz="800" b="0" i="0" strike="noStrike" kern="1200" cap="none" spc="0" normalizeH="0" baseline="0" noProof="0">
              <a:ln>
                <a:noFill/>
              </a:ln>
              <a:effectLst/>
              <a:uLnTx/>
              <a:uFillTx/>
              <a:latin typeface="+mn-lt"/>
              <a:ea typeface="+mn-ea"/>
              <a:cs typeface="Sakkal Majalla" panose="02000000000000000000" pitchFamily="2" charset="-78"/>
              <a:sym typeface="Trebuchet MS" panose="020B0603020202020204" pitchFamily="34" charset="0"/>
            </a:endParaRPr>
          </a:p>
        </p:txBody>
      </p:sp>
      <p:sp useBgFill="1">
        <p:nvSpPr>
          <p:cNvPr id="318" name="Text Placeholder 3">
            <a:extLst>
              <a:ext uri="{FF2B5EF4-FFF2-40B4-BE49-F238E27FC236}">
                <a16:creationId xmlns:a16="http://schemas.microsoft.com/office/drawing/2014/main" id="{C5CC6A2C-43F2-378E-96A8-259C78589D7A}"/>
              </a:ext>
            </a:extLst>
          </p:cNvPr>
          <p:cNvSpPr>
            <a:spLocks noGrp="1"/>
          </p:cNvSpPr>
          <p:nvPr>
            <p:custDataLst>
              <p:tags r:id="rId16"/>
            </p:custDataLst>
          </p:nvPr>
        </p:nvSpPr>
        <p:spPr bwMode="gray">
          <a:xfrm>
            <a:off x="6186488" y="2827338"/>
            <a:ext cx="288925" cy="133350"/>
          </a:xfrm>
          <a:prstGeom prst="rect">
            <a:avLst/>
          </a:prstGeom>
          <a:ln>
            <a:noFill/>
          </a:ln>
          <a:effectLst/>
        </p:spPr>
        <p:txBody>
          <a:bodyPr vert="horz" wrap="none" lIns="17463" tIns="0" rIns="17463" bIns="0" rtlCol="0" anchor="ctr">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86359621-E0A8-423C-8753-E60ADE0E59D8}" type="datetime'''''''''''''''''''''''''''''''''''3'',13''''''''''''''8'''">
              <a:rPr lang="en-GB" altLang="en-US" sz="800" smtClean="0">
                <a:effectLst/>
                <a:latin typeface="+mn-lt"/>
              </a:rPr>
              <a:pPr/>
              <a:t>3,138</a:t>
            </a:fld>
            <a:endParaRPr kumimoji="0" lang="en-GB" sz="800" b="0" i="0" strike="noStrike" kern="1200" cap="none" spc="0" normalizeH="0" baseline="0" noProof="0">
              <a:ln>
                <a:noFill/>
              </a:ln>
              <a:effectLst/>
              <a:uLnTx/>
              <a:uFillTx/>
              <a:latin typeface="+mn-lt"/>
              <a:ea typeface="+mn-ea"/>
              <a:cs typeface="Sakkal Majalla" panose="02000000000000000000" pitchFamily="2" charset="-78"/>
              <a:sym typeface="Trebuchet MS" panose="020B0603020202020204" pitchFamily="34" charset="0"/>
            </a:endParaRPr>
          </a:p>
        </p:txBody>
      </p:sp>
      <p:sp>
        <p:nvSpPr>
          <p:cNvPr id="319" name="Text Placeholder 3">
            <a:extLst>
              <a:ext uri="{FF2B5EF4-FFF2-40B4-BE49-F238E27FC236}">
                <a16:creationId xmlns:a16="http://schemas.microsoft.com/office/drawing/2014/main" id="{3BC9D965-0825-26F7-A75F-34716CA9F0F2}"/>
              </a:ext>
            </a:extLst>
          </p:cNvPr>
          <p:cNvSpPr>
            <a:spLocks noGrp="1"/>
          </p:cNvSpPr>
          <p:nvPr>
            <p:custDataLst>
              <p:tags r:id="rId17"/>
            </p:custDataLst>
          </p:nvPr>
        </p:nvSpPr>
        <p:spPr bwMode="auto">
          <a:xfrm>
            <a:off x="5995988" y="5489575"/>
            <a:ext cx="279400"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3B1EEE98-DB12-464D-AFFB-C8640990CF5B}" type="datetime'''''''2''''''''0''2''5'''''''' ''''''''''''''Q''''''''4'''''''">
              <a:rPr lang="en-GB" altLang="en-US" sz="1000" smtClean="0">
                <a:latin typeface="+mn-lt"/>
              </a:rPr>
              <a:pPr lvl="0" algn="ctr">
                <a:spcBef>
                  <a:spcPct val="0"/>
                </a:spcBef>
                <a:spcAft>
                  <a:spcPct val="0"/>
                </a:spcAft>
              </a:pPr>
              <a:t>2025 Q4</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useBgFill="1">
        <p:nvSpPr>
          <p:cNvPr id="320" name="Text Placeholder 3">
            <a:extLst>
              <a:ext uri="{FF2B5EF4-FFF2-40B4-BE49-F238E27FC236}">
                <a16:creationId xmlns:a16="http://schemas.microsoft.com/office/drawing/2014/main" id="{71DADE5A-C1D6-17CF-E9C9-27BEF575AED4}"/>
              </a:ext>
            </a:extLst>
          </p:cNvPr>
          <p:cNvSpPr>
            <a:spLocks noGrp="1"/>
          </p:cNvSpPr>
          <p:nvPr>
            <p:custDataLst>
              <p:tags r:id="rId18"/>
            </p:custDataLst>
          </p:nvPr>
        </p:nvSpPr>
        <p:spPr bwMode="gray">
          <a:xfrm>
            <a:off x="6445250" y="3043238"/>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B20EA206-ED30-4A8A-B460-BC92D9E2F81E}" type="datetime'''''''''''2'''''',''''''''''''7''''2''4'''''''">
              <a:rPr lang="en-GB" altLang="en-US" sz="800" smtClean="0">
                <a:effectLst/>
                <a:latin typeface="+mn-lt"/>
              </a:rPr>
              <a:pPr/>
              <a:t>2,724</a:t>
            </a:fld>
            <a:endParaRPr kumimoji="0" lang="en-GB" sz="800" b="0" i="0" strike="noStrike" kern="1200" cap="none" spc="0" normalizeH="0" baseline="0" noProof="0">
              <a:ln>
                <a:noFill/>
              </a:ln>
              <a:effectLst/>
              <a:uLnTx/>
              <a:uFillTx/>
              <a:latin typeface="+mn-lt"/>
              <a:ea typeface="+mn-ea"/>
              <a:cs typeface="Sakkal Majalla" panose="02000000000000000000" pitchFamily="2" charset="-78"/>
              <a:sym typeface="Trebuchet MS" panose="020B0603020202020204" pitchFamily="34" charset="0"/>
            </a:endParaRPr>
          </a:p>
        </p:txBody>
      </p:sp>
      <p:sp>
        <p:nvSpPr>
          <p:cNvPr id="321" name="Text Placeholder 3">
            <a:extLst>
              <a:ext uri="{FF2B5EF4-FFF2-40B4-BE49-F238E27FC236}">
                <a16:creationId xmlns:a16="http://schemas.microsoft.com/office/drawing/2014/main" id="{E9678398-DB9E-02D4-88B5-304BA1A9A422}"/>
              </a:ext>
            </a:extLst>
          </p:cNvPr>
          <p:cNvSpPr>
            <a:spLocks noGrp="1"/>
          </p:cNvSpPr>
          <p:nvPr>
            <p:custDataLst>
              <p:tags r:id="rId19"/>
            </p:custDataLst>
          </p:nvPr>
        </p:nvSpPr>
        <p:spPr bwMode="auto">
          <a:xfrm>
            <a:off x="6450013" y="54895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D85E5685-49BB-4E9D-B3EE-94E7D963BD16}" type="datetime'''''''''''''2''0''''2''''''''''''''''''''''''''''''''''6'">
              <a:rPr lang="en-GB" altLang="en-US" sz="1000" smtClean="0">
                <a:latin typeface="+mn-lt"/>
              </a:rPr>
              <a:pPr lvl="0" algn="ctr">
                <a:spcBef>
                  <a:spcPct val="0"/>
                </a:spcBef>
                <a:spcAft>
                  <a:spcPct val="0"/>
                </a:spcAft>
              </a:pPr>
              <a:t>2026</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useBgFill="1">
        <p:nvSpPr>
          <p:cNvPr id="322" name="Text Placeholder 3">
            <a:extLst>
              <a:ext uri="{FF2B5EF4-FFF2-40B4-BE49-F238E27FC236}">
                <a16:creationId xmlns:a16="http://schemas.microsoft.com/office/drawing/2014/main" id="{C03B38B5-E66D-54E9-E9BB-CA97080AC266}"/>
              </a:ext>
            </a:extLst>
          </p:cNvPr>
          <p:cNvSpPr>
            <a:spLocks noGrp="1"/>
          </p:cNvSpPr>
          <p:nvPr>
            <p:custDataLst>
              <p:tags r:id="rId20"/>
            </p:custDataLst>
          </p:nvPr>
        </p:nvSpPr>
        <p:spPr bwMode="gray">
          <a:xfrm>
            <a:off x="6897688" y="2489200"/>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2B3C1335-A824-4E86-A30E-4D5DA33C4FA6}" type="datetime'3'',''''41''''''''''''''''''''''''''''6'''''''''''''''''">
              <a:rPr lang="en-GB" altLang="en-US" sz="800" smtClean="0">
                <a:effectLst/>
                <a:latin typeface="+mn-lt"/>
              </a:rPr>
              <a:pPr/>
              <a:t>3,416</a:t>
            </a:fld>
            <a:endParaRPr kumimoji="0" lang="en-GB" sz="800" b="0" i="0" strike="noStrike" kern="1200" cap="none" spc="0" normalizeH="0" baseline="0" noProof="0">
              <a:ln>
                <a:noFill/>
              </a:ln>
              <a:effectLst/>
              <a:uLnTx/>
              <a:uFillTx/>
              <a:latin typeface="+mn-lt"/>
              <a:ea typeface="+mn-ea"/>
              <a:cs typeface="Sakkal Majalla" panose="02000000000000000000" pitchFamily="2" charset="-78"/>
              <a:sym typeface="Trebuchet MS" panose="020B0603020202020204" pitchFamily="34" charset="0"/>
            </a:endParaRPr>
          </a:p>
        </p:txBody>
      </p:sp>
      <p:sp>
        <p:nvSpPr>
          <p:cNvPr id="323" name="Text Placeholder 3">
            <a:extLst>
              <a:ext uri="{FF2B5EF4-FFF2-40B4-BE49-F238E27FC236}">
                <a16:creationId xmlns:a16="http://schemas.microsoft.com/office/drawing/2014/main" id="{6DF3B27B-76F3-AD1C-AE4E-AA057228490D}"/>
              </a:ext>
            </a:extLst>
          </p:cNvPr>
          <p:cNvSpPr>
            <a:spLocks noGrp="1"/>
          </p:cNvSpPr>
          <p:nvPr>
            <p:custDataLst>
              <p:tags r:id="rId21"/>
            </p:custDataLst>
          </p:nvPr>
        </p:nvSpPr>
        <p:spPr bwMode="auto">
          <a:xfrm>
            <a:off x="6902450" y="54895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5CFF545B-4035-4B06-B851-9D054F4EE92A}" type="datetime'''''''''''''2''''''''''''''''''''''''''027'''''''''''''''''">
              <a:rPr lang="en-GB" altLang="en-US" sz="1000" smtClean="0">
                <a:latin typeface="+mn-lt"/>
              </a:rPr>
              <a:pPr lvl="0" algn="ctr">
                <a:spcBef>
                  <a:spcPct val="0"/>
                </a:spcBef>
                <a:spcAft>
                  <a:spcPct val="0"/>
                </a:spcAft>
              </a:pPr>
              <a:t>2027</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p:nvSpPr>
          <p:cNvPr id="324" name="Text Placeholder 3">
            <a:extLst>
              <a:ext uri="{FF2B5EF4-FFF2-40B4-BE49-F238E27FC236}">
                <a16:creationId xmlns:a16="http://schemas.microsoft.com/office/drawing/2014/main" id="{A1E592A2-558F-51B8-15DA-9FCDDD334F3C}"/>
              </a:ext>
            </a:extLst>
          </p:cNvPr>
          <p:cNvSpPr>
            <a:spLocks noGrp="1"/>
          </p:cNvSpPr>
          <p:nvPr>
            <p:custDataLst>
              <p:tags r:id="rId22"/>
            </p:custDataLst>
          </p:nvPr>
        </p:nvSpPr>
        <p:spPr bwMode="auto">
          <a:xfrm>
            <a:off x="7356475" y="54895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4E92EA9F-878A-428E-BC7D-2DD5B0201C67}" type="datetime'''''''2''''''''''''''''0''''''''''''''''''''2''8'">
              <a:rPr lang="en-GB" altLang="en-US" sz="1000" smtClean="0">
                <a:latin typeface="+mn-lt"/>
              </a:rPr>
              <a:pPr lvl="0" algn="ctr">
                <a:spcBef>
                  <a:spcPct val="0"/>
                </a:spcBef>
                <a:spcAft>
                  <a:spcPct val="0"/>
                </a:spcAft>
              </a:pPr>
              <a:t>2028</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useBgFill="1">
        <p:nvSpPr>
          <p:cNvPr id="325" name="Text Placeholder 3">
            <a:extLst>
              <a:ext uri="{FF2B5EF4-FFF2-40B4-BE49-F238E27FC236}">
                <a16:creationId xmlns:a16="http://schemas.microsoft.com/office/drawing/2014/main" id="{6DB7D38A-6374-EB80-BACA-03FFF3852ABB}"/>
              </a:ext>
            </a:extLst>
          </p:cNvPr>
          <p:cNvSpPr>
            <a:spLocks noGrp="1"/>
          </p:cNvSpPr>
          <p:nvPr>
            <p:custDataLst>
              <p:tags r:id="rId23"/>
            </p:custDataLst>
          </p:nvPr>
        </p:nvSpPr>
        <p:spPr bwMode="gray">
          <a:xfrm>
            <a:off x="7804150" y="2733675"/>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B764D3EF-027E-4D90-9DED-798131051BDF}" type="datetime'''''''3'',''''''''1''''''''''''''''''''''''1''''''0'''''">
              <a:rPr lang="en-GB" altLang="en-US" sz="800" smtClean="0">
                <a:effectLst/>
                <a:latin typeface="+mn-lt"/>
              </a:rPr>
              <a:pPr/>
              <a:t>3,110</a:t>
            </a:fld>
            <a:endParaRPr kumimoji="0" lang="en-GB" sz="800" b="0" i="0" strike="noStrike" kern="1200" cap="none" spc="0" normalizeH="0" baseline="0" noProof="0">
              <a:ln>
                <a:noFill/>
              </a:ln>
              <a:effectLst/>
              <a:uLnTx/>
              <a:uFillTx/>
              <a:latin typeface="+mn-lt"/>
              <a:ea typeface="+mn-ea"/>
              <a:cs typeface="Sakkal Majalla" panose="02000000000000000000" pitchFamily="2" charset="-78"/>
              <a:sym typeface="Trebuchet MS" panose="020B0603020202020204" pitchFamily="34" charset="0"/>
            </a:endParaRPr>
          </a:p>
        </p:txBody>
      </p:sp>
      <p:sp>
        <p:nvSpPr>
          <p:cNvPr id="326" name="Text Placeholder 3">
            <a:extLst>
              <a:ext uri="{FF2B5EF4-FFF2-40B4-BE49-F238E27FC236}">
                <a16:creationId xmlns:a16="http://schemas.microsoft.com/office/drawing/2014/main" id="{5575C91E-D828-6166-90DF-E5BADCA4F818}"/>
              </a:ext>
            </a:extLst>
          </p:cNvPr>
          <p:cNvSpPr>
            <a:spLocks noGrp="1"/>
          </p:cNvSpPr>
          <p:nvPr>
            <p:custDataLst>
              <p:tags r:id="rId24"/>
            </p:custDataLst>
          </p:nvPr>
        </p:nvSpPr>
        <p:spPr bwMode="auto">
          <a:xfrm>
            <a:off x="7808913" y="54895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02CE1785-A18B-4FDD-8A22-28C04230AA2E}" type="datetime'''''''''''''''''''''''2''''''''''''''''''0''''2''''9'''''''">
              <a:rPr lang="en-GB" altLang="en-US" sz="1000" smtClean="0">
                <a:latin typeface="+mn-lt"/>
              </a:rPr>
              <a:pPr lvl="0" algn="ctr">
                <a:spcBef>
                  <a:spcPct val="0"/>
                </a:spcBef>
                <a:spcAft>
                  <a:spcPct val="0"/>
                </a:spcAft>
              </a:pPr>
              <a:t>2029</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useBgFill="1">
        <p:nvSpPr>
          <p:cNvPr id="327" name="Text Placeholder 3">
            <a:extLst>
              <a:ext uri="{FF2B5EF4-FFF2-40B4-BE49-F238E27FC236}">
                <a16:creationId xmlns:a16="http://schemas.microsoft.com/office/drawing/2014/main" id="{80180D18-4019-04AE-9766-E3114F400E58}"/>
              </a:ext>
            </a:extLst>
          </p:cNvPr>
          <p:cNvSpPr>
            <a:spLocks noGrp="1"/>
          </p:cNvSpPr>
          <p:nvPr>
            <p:custDataLst>
              <p:tags r:id="rId25"/>
            </p:custDataLst>
          </p:nvPr>
        </p:nvSpPr>
        <p:spPr bwMode="gray">
          <a:xfrm>
            <a:off x="8258175" y="3117850"/>
            <a:ext cx="288925" cy="133350"/>
          </a:xfrm>
          <a:prstGeom prst="rect">
            <a:avLst/>
          </a:prstGeom>
          <a:ln>
            <a:noFill/>
          </a:ln>
          <a:effectLst/>
        </p:spPr>
        <p:txBody>
          <a:bodyPr vert="horz" wrap="none" lIns="17463" tIns="0" rIns="17463" bIns="0" rtlCol="0" anchor="b">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006C67"/>
              </a:buClr>
              <a:buSzTx/>
              <a:buFont typeface="Arial" panose="020B0604020202020204" pitchFamily="34" charset="0"/>
              <a:buChar char="​"/>
              <a:tabLst/>
              <a:defRPr/>
            </a:pPr>
            <a:fld id="{7599F82E-06F4-489A-8547-E2082EE5EEC7}" type="datetime'2'''',''''''''''''''''''''''''6''''''''''3''''0'">
              <a:rPr lang="en-GB" altLang="en-US" sz="800" smtClean="0">
                <a:effectLst/>
                <a:latin typeface="+mn-lt"/>
              </a:rPr>
              <a:pPr/>
              <a:t>2,630</a:t>
            </a:fld>
            <a:endParaRPr kumimoji="0" lang="en-GB" sz="800" b="0" i="0" strike="noStrike" kern="1200" cap="none" spc="0" normalizeH="0" baseline="0" noProof="0">
              <a:ln>
                <a:noFill/>
              </a:ln>
              <a:effectLst/>
              <a:uLnTx/>
              <a:uFillTx/>
              <a:latin typeface="+mn-lt"/>
              <a:ea typeface="+mn-ea"/>
              <a:cs typeface="Sakkal Majalla" panose="02000000000000000000" pitchFamily="2" charset="-78"/>
              <a:sym typeface="Trebuchet MS" panose="020B0603020202020204" pitchFamily="34" charset="0"/>
            </a:endParaRPr>
          </a:p>
        </p:txBody>
      </p:sp>
      <p:sp>
        <p:nvSpPr>
          <p:cNvPr id="328" name="Text Placeholder 3">
            <a:extLst>
              <a:ext uri="{FF2B5EF4-FFF2-40B4-BE49-F238E27FC236}">
                <a16:creationId xmlns:a16="http://schemas.microsoft.com/office/drawing/2014/main" id="{6BB4B9D6-3411-1FD6-73FD-62CC2F5F2756}"/>
              </a:ext>
            </a:extLst>
          </p:cNvPr>
          <p:cNvSpPr>
            <a:spLocks noGrp="1"/>
          </p:cNvSpPr>
          <p:nvPr>
            <p:custDataLst>
              <p:tags r:id="rId26"/>
            </p:custDataLst>
          </p:nvPr>
        </p:nvSpPr>
        <p:spPr bwMode="auto">
          <a:xfrm>
            <a:off x="8262938" y="54895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6C67"/>
              </a:buClr>
              <a:buFont typeface="Arial" panose="020B0604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C67"/>
              </a:buClr>
              <a:buFont typeface="Trebuchet MS" panose="020B0603020202020204" pitchFamily="34" charset="0"/>
              <a:buChar char="–"/>
              <a:defRPr lang="en-US" sz="1200" kern="120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6C67"/>
              </a:buClr>
              <a:buFont typeface="Arial" panose="020B0604020202020204" pitchFamily="34" charset="0"/>
              <a:buChar char="​"/>
              <a:defRPr lang="en-US" sz="1600" kern="120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6C67"/>
              </a:buClr>
              <a:buFont typeface="Arial" panose="020B0604020202020204" pitchFamily="34" charset="0"/>
              <a:buChar char="​"/>
              <a:defRPr lang="en-US" sz="1600" b="1"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6C67"/>
              </a:buClr>
              <a:buFont typeface="Arial" panose="020B0604020202020204" pitchFamily="34" charset="0"/>
              <a:buChar char="•"/>
              <a:defRPr lang="en-US" sz="1600" kern="120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6C67"/>
              </a:buClr>
              <a:buFont typeface="Arial" panose="020B0604020202020204" pitchFamily="34" charset="0"/>
              <a:buChar char="​"/>
              <a:defRPr lang="en-US" sz="4400" kern="1200" baseline="0" smtClean="0">
                <a:solidFill>
                  <a:srgbClr val="000000"/>
                </a:solidFill>
                <a:latin typeface="Sakkal Majalla" panose="02000000000000000000" pitchFamily="2" charset="-78"/>
                <a:ea typeface="+mn-ea"/>
                <a:cs typeface="Sakkal Majalla" panose="02000000000000000000" pitchFamily="2" charset="-78"/>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6C67"/>
              </a:buClr>
              <a:buFont typeface="Arial" panose="020B0604020202020204" pitchFamily="34" charset="0"/>
              <a:buChar char="​"/>
              <a:defRPr lang="en-US" sz="5400" kern="1200" baseline="0" smtClean="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6C67"/>
              </a:buClr>
              <a:buFont typeface="Arial" panose="020B0604020202020204" pitchFamily="34" charset="0"/>
              <a:buChar char="​"/>
              <a:defRPr lang="en-US" sz="2400" kern="1200" baseline="0" dirty="0">
                <a:solidFill>
                  <a:srgbClr val="006C67"/>
                </a:solidFill>
                <a:latin typeface="Sakkal Majalla" panose="02000000000000000000" pitchFamily="2" charset="-78"/>
                <a:ea typeface="+mn-ea"/>
                <a:cs typeface="Sakkal Majalla" panose="02000000000000000000" pitchFamily="2" charset="-78"/>
                <a:sym typeface="Trebuchet MS" panose="020B0603020202020204" pitchFamily="34" charset="0"/>
              </a:defRPr>
            </a:lvl9pPr>
          </a:lstStyle>
          <a:p>
            <a:pPr lvl="0" algn="ctr">
              <a:spcBef>
                <a:spcPct val="0"/>
              </a:spcBef>
              <a:spcAft>
                <a:spcPct val="0"/>
              </a:spcAft>
            </a:pPr>
            <a:fld id="{4C55093F-973A-46B1-8933-251EA91C30B5}" type="datetime'2''''''''''''''''''''0''''''''''3''''''''''''''''''0'''''">
              <a:rPr lang="en-GB" altLang="en-US" sz="1000" smtClean="0">
                <a:latin typeface="+mn-lt"/>
              </a:rPr>
              <a:pPr lvl="0" algn="ctr">
                <a:spcBef>
                  <a:spcPct val="0"/>
                </a:spcBef>
                <a:spcAft>
                  <a:spcPct val="0"/>
                </a:spcAft>
              </a:pPr>
              <a:t>2030</a:t>
            </a:fld>
            <a:endParaRPr kumimoji="0" lang="en-GB" sz="1000" b="0" i="0" strike="noStrike" kern="1200" cap="none" spc="0" normalizeH="0" baseline="0" noProof="0">
              <a:ln>
                <a:noFill/>
              </a:ln>
              <a:effectLst/>
              <a:uLnTx/>
              <a:uFillTx/>
              <a:latin typeface="+mn-lt"/>
              <a:sym typeface="Trebuchet MS" panose="020B0603020202020204" pitchFamily="34" charset="0"/>
            </a:endParaRPr>
          </a:p>
        </p:txBody>
      </p:sp>
      <p:sp>
        <p:nvSpPr>
          <p:cNvPr id="329" name="Rectangle 328">
            <a:extLst>
              <a:ext uri="{FF2B5EF4-FFF2-40B4-BE49-F238E27FC236}">
                <a16:creationId xmlns:a16="http://schemas.microsoft.com/office/drawing/2014/main" id="{B9DACC96-AE98-1934-779D-B1156CF61077}"/>
              </a:ext>
            </a:extLst>
          </p:cNvPr>
          <p:cNvSpPr>
            <a:spLocks/>
          </p:cNvSpPr>
          <p:nvPr/>
        </p:nvSpPr>
        <p:spPr>
          <a:xfrm>
            <a:off x="2423480" y="1596695"/>
            <a:ext cx="7210425" cy="3794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4C48"/>
                </a:solidFill>
                <a:effectLst/>
                <a:uLnTx/>
                <a:uFillTx/>
                <a:latin typeface="Trebuchet MS"/>
                <a:ea typeface="+mn-ea"/>
                <a:cs typeface="+mn-cs"/>
              </a:rPr>
              <a:t>Price per square meter, Riyadh, 2021-20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35353"/>
                </a:solidFill>
                <a:effectLst/>
                <a:uLnTx/>
                <a:uFillTx/>
                <a:latin typeface="Trebuchet MS"/>
                <a:ea typeface="+mn-ea"/>
                <a:cs typeface="+mn-cs"/>
              </a:rPr>
              <a:t>[SAR m</a:t>
            </a:r>
            <a:r>
              <a:rPr kumimoji="0" lang="en-GB" sz="1100" b="0" i="0" u="none" strike="noStrike" kern="1200" cap="none" spc="0" normalizeH="0" baseline="30000" noProof="0" dirty="0">
                <a:ln>
                  <a:noFill/>
                </a:ln>
                <a:solidFill>
                  <a:srgbClr val="535353"/>
                </a:solidFill>
                <a:effectLst/>
                <a:uLnTx/>
                <a:uFillTx/>
                <a:latin typeface="Trebuchet MS"/>
                <a:ea typeface="+mn-ea"/>
                <a:cs typeface="+mn-cs"/>
              </a:rPr>
              <a:t>2</a:t>
            </a:r>
            <a:r>
              <a:rPr kumimoji="0" lang="en-GB" sz="1100" b="0" i="0" u="none" strike="noStrike" kern="1200" cap="none" spc="0" normalizeH="0" baseline="0" noProof="0" dirty="0">
                <a:ln>
                  <a:noFill/>
                </a:ln>
                <a:solidFill>
                  <a:srgbClr val="535353"/>
                </a:solidFill>
                <a:effectLst/>
                <a:uLnTx/>
                <a:uFillTx/>
                <a:latin typeface="Trebuchet MS"/>
                <a:ea typeface="+mn-ea"/>
                <a:cs typeface="+mn-cs"/>
              </a:rPr>
              <a:t>]</a:t>
            </a:r>
          </a:p>
        </p:txBody>
      </p:sp>
      <p:sp>
        <p:nvSpPr>
          <p:cNvPr id="331" name="Text Placeholder 2">
            <a:extLst>
              <a:ext uri="{FF2B5EF4-FFF2-40B4-BE49-F238E27FC236}">
                <a16:creationId xmlns:a16="http://schemas.microsoft.com/office/drawing/2014/main" id="{40D96093-D359-5CB2-F1EE-A89522476773}"/>
              </a:ext>
            </a:extLst>
          </p:cNvPr>
          <p:cNvSpPr>
            <a:spLocks noGrp="1"/>
          </p:cNvSpPr>
          <p:nvPr>
            <p:custDataLst>
              <p:tags r:id="rId27"/>
            </p:custDataLst>
          </p:nvPr>
        </p:nvSpPr>
        <p:spPr bwMode="auto">
          <a:xfrm>
            <a:off x="4479478" y="5933125"/>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endParaRPr kumimoji="0" lang="en-GB" sz="800" b="0" i="0" u="none" strike="noStrike" kern="1200" cap="none" spc="0" normalizeH="0" baseline="0" noProof="0">
              <a:ln>
                <a:noFill/>
              </a:ln>
              <a:solidFill>
                <a:srgbClr val="032633"/>
              </a:solidFill>
              <a:effectLst/>
              <a:uLnTx/>
              <a:uFillTx/>
              <a:latin typeface="Trebuchet MS"/>
              <a:ea typeface="+mn-ea"/>
              <a:cs typeface="DIN Next LT Arabic" panose="020B0503020203050203" pitchFamily="34" charset="-78"/>
              <a:sym typeface="DIN Next LT Arabic" panose="020B0503020203050203" pitchFamily="34" charset="-78"/>
            </a:endParaRPr>
          </a:p>
        </p:txBody>
      </p:sp>
      <p:sp>
        <p:nvSpPr>
          <p:cNvPr id="332" name="Rectangle 331">
            <a:extLst>
              <a:ext uri="{FF2B5EF4-FFF2-40B4-BE49-F238E27FC236}">
                <a16:creationId xmlns:a16="http://schemas.microsoft.com/office/drawing/2014/main" id="{71CA641F-C1AB-A9F3-C6DB-FF71DFDC1EA5}"/>
              </a:ext>
            </a:extLst>
          </p:cNvPr>
          <p:cNvSpPr>
            <a:spLocks/>
          </p:cNvSpPr>
          <p:nvPr>
            <p:custDataLst>
              <p:tags r:id="rId28"/>
            </p:custDataLst>
          </p:nvPr>
        </p:nvSpPr>
        <p:spPr bwMode="auto">
          <a:xfrm>
            <a:off x="3143668" y="5973680"/>
            <a:ext cx="130074" cy="136525"/>
          </a:xfrm>
          <a:prstGeom prst="rect">
            <a:avLst/>
          </a:prstGeom>
          <a:solidFill>
            <a:srgbClr val="3E3E3E"/>
          </a:solidFill>
          <a:ln w="9525" cap="flat" cmpd="sng" algn="ctr">
            <a:solidFill>
              <a:srgbClr val="FFFFFF"/>
            </a:solidFill>
            <a:prstDash val="solid"/>
            <a:miter lim="800000"/>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Trebuchet MS"/>
              <a:ea typeface="+mn-ea"/>
              <a:cs typeface="+mn-cs"/>
            </a:endParaRPr>
          </a:p>
        </p:txBody>
      </p:sp>
      <p:sp>
        <p:nvSpPr>
          <p:cNvPr id="333" name="Rectangle 332">
            <a:extLst>
              <a:ext uri="{FF2B5EF4-FFF2-40B4-BE49-F238E27FC236}">
                <a16:creationId xmlns:a16="http://schemas.microsoft.com/office/drawing/2014/main" id="{C33C4BD1-DE91-3F1C-77EA-74409C436F0A}"/>
              </a:ext>
            </a:extLst>
          </p:cNvPr>
          <p:cNvSpPr>
            <a:spLocks/>
          </p:cNvSpPr>
          <p:nvPr>
            <p:custDataLst>
              <p:tags r:id="rId29"/>
            </p:custDataLst>
          </p:nvPr>
        </p:nvSpPr>
        <p:spPr bwMode="auto">
          <a:xfrm>
            <a:off x="4507742" y="5973680"/>
            <a:ext cx="130074" cy="136525"/>
          </a:xfrm>
          <a:prstGeom prst="rect">
            <a:avLst/>
          </a:prstGeom>
          <a:solidFill>
            <a:srgbClr val="009A93"/>
          </a:solidFill>
          <a:ln w="9525" cap="flat" cmpd="sng" algn="ctr">
            <a:solidFill>
              <a:srgbClr val="FFFFFF"/>
            </a:solidFill>
            <a:prstDash val="solid"/>
            <a:miter lim="800000"/>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Trebuchet MS"/>
              <a:ea typeface="+mn-ea"/>
              <a:cs typeface="+mn-cs"/>
            </a:endParaRPr>
          </a:p>
        </p:txBody>
      </p:sp>
      <p:sp>
        <p:nvSpPr>
          <p:cNvPr id="334" name="Text Placeholder 2">
            <a:extLst>
              <a:ext uri="{FF2B5EF4-FFF2-40B4-BE49-F238E27FC236}">
                <a16:creationId xmlns:a16="http://schemas.microsoft.com/office/drawing/2014/main" id="{205F727D-BDD7-C32D-557D-F0AB2C4FAD11}"/>
              </a:ext>
            </a:extLst>
          </p:cNvPr>
          <p:cNvSpPr>
            <a:spLocks noGrp="1"/>
          </p:cNvSpPr>
          <p:nvPr>
            <p:custDataLst>
              <p:tags r:id="rId30"/>
            </p:custDataLst>
          </p:nvPr>
        </p:nvSpPr>
        <p:spPr bwMode="auto">
          <a:xfrm>
            <a:off x="3313655" y="5973680"/>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r>
              <a:rPr kumimoji="0" lang="en-GB" sz="900" b="0" i="0" u="none" strike="noStrike" kern="1200" cap="none" spc="0" normalizeH="0" baseline="0" noProof="0">
                <a:ln>
                  <a:noFill/>
                </a:ln>
                <a:solidFill>
                  <a:srgbClr val="003A37"/>
                </a:solidFill>
                <a:effectLst/>
                <a:uLnTx/>
                <a:uFillTx/>
                <a:latin typeface="Trebuchet MS"/>
                <a:ea typeface="+mn-ea"/>
                <a:cs typeface="DIN Next LT Arabic" panose="020B0503020203050203" pitchFamily="34" charset="-78"/>
                <a:sym typeface="DIN Next LT Arabic" panose="020B0503020203050203" pitchFamily="34" charset="-78"/>
              </a:rPr>
              <a:t>Actual prices</a:t>
            </a:r>
          </a:p>
        </p:txBody>
      </p:sp>
      <p:sp>
        <p:nvSpPr>
          <p:cNvPr id="335" name="Text Placeholder 2">
            <a:extLst>
              <a:ext uri="{FF2B5EF4-FFF2-40B4-BE49-F238E27FC236}">
                <a16:creationId xmlns:a16="http://schemas.microsoft.com/office/drawing/2014/main" id="{6BF374F8-E0AF-4F22-694A-A76DBD9CA3D4}"/>
              </a:ext>
            </a:extLst>
          </p:cNvPr>
          <p:cNvSpPr>
            <a:spLocks noGrp="1"/>
          </p:cNvSpPr>
          <p:nvPr>
            <p:custDataLst>
              <p:tags r:id="rId31"/>
            </p:custDataLst>
          </p:nvPr>
        </p:nvSpPr>
        <p:spPr bwMode="auto">
          <a:xfrm>
            <a:off x="4679959" y="5973680"/>
            <a:ext cx="442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r>
              <a:rPr kumimoji="0" lang="en-GB" sz="900" b="0" i="0" u="none" strike="noStrike" kern="1200" cap="none" spc="0" normalizeH="0" baseline="0" noProof="0" dirty="0">
                <a:ln>
                  <a:noFill/>
                </a:ln>
                <a:solidFill>
                  <a:srgbClr val="003A37"/>
                </a:solidFill>
                <a:effectLst/>
                <a:uLnTx/>
                <a:uFillTx/>
                <a:latin typeface="Trebuchet MS"/>
                <a:ea typeface="+mn-ea"/>
                <a:cs typeface="DIN Next LT Arabic" panose="020B0503020203050203" pitchFamily="34" charset="-78"/>
                <a:sym typeface="DIN Next LT Arabic" panose="020B0503020203050203" pitchFamily="34" charset="-78"/>
              </a:rPr>
              <a:t>Scenario 1</a:t>
            </a:r>
          </a:p>
        </p:txBody>
      </p:sp>
      <p:sp>
        <p:nvSpPr>
          <p:cNvPr id="336" name="Text Placeholder 2">
            <a:extLst>
              <a:ext uri="{FF2B5EF4-FFF2-40B4-BE49-F238E27FC236}">
                <a16:creationId xmlns:a16="http://schemas.microsoft.com/office/drawing/2014/main" id="{5A3D484F-06FD-B218-2AF7-E38A7DC4A6A0}"/>
              </a:ext>
            </a:extLst>
          </p:cNvPr>
          <p:cNvSpPr>
            <a:spLocks noGrp="1"/>
          </p:cNvSpPr>
          <p:nvPr>
            <p:custDataLst>
              <p:tags r:id="rId32"/>
            </p:custDataLst>
          </p:nvPr>
        </p:nvSpPr>
        <p:spPr bwMode="auto">
          <a:xfrm>
            <a:off x="5703405" y="5913281"/>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endParaRPr kumimoji="0" lang="en-GB" sz="800" b="0" i="0" u="none" strike="noStrike" kern="1200" cap="none" spc="0" normalizeH="0" baseline="0" noProof="0">
              <a:ln>
                <a:noFill/>
              </a:ln>
              <a:solidFill>
                <a:srgbClr val="032633"/>
              </a:solidFill>
              <a:effectLst/>
              <a:uLnTx/>
              <a:uFillTx/>
              <a:latin typeface="Trebuchet MS"/>
              <a:ea typeface="+mn-ea"/>
              <a:cs typeface="DIN Next LT Arabic" panose="020B0503020203050203" pitchFamily="34" charset="-78"/>
              <a:sym typeface="DIN Next LT Arabic" panose="020B0503020203050203" pitchFamily="34" charset="-78"/>
            </a:endParaRPr>
          </a:p>
        </p:txBody>
      </p:sp>
      <p:sp>
        <p:nvSpPr>
          <p:cNvPr id="337" name="Rectangle 336">
            <a:extLst>
              <a:ext uri="{FF2B5EF4-FFF2-40B4-BE49-F238E27FC236}">
                <a16:creationId xmlns:a16="http://schemas.microsoft.com/office/drawing/2014/main" id="{5E5D41A3-409C-7CAA-FF65-361012F6A13C}"/>
              </a:ext>
            </a:extLst>
          </p:cNvPr>
          <p:cNvSpPr>
            <a:spLocks/>
          </p:cNvSpPr>
          <p:nvPr>
            <p:custDataLst>
              <p:tags r:id="rId33"/>
            </p:custDataLst>
          </p:nvPr>
        </p:nvSpPr>
        <p:spPr bwMode="auto">
          <a:xfrm>
            <a:off x="5871816" y="5973680"/>
            <a:ext cx="130074" cy="136525"/>
          </a:xfrm>
          <a:prstGeom prst="rect">
            <a:avLst/>
          </a:prstGeom>
          <a:solidFill>
            <a:srgbClr val="20828E"/>
          </a:solidFill>
          <a:ln w="9525" cap="flat" cmpd="sng" algn="ctr">
            <a:solidFill>
              <a:srgbClr val="FFFFFF"/>
            </a:solidFill>
            <a:prstDash val="solid"/>
            <a:miter lim="800000"/>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Trebuchet MS"/>
              <a:ea typeface="+mn-ea"/>
              <a:cs typeface="+mn-cs"/>
            </a:endParaRPr>
          </a:p>
        </p:txBody>
      </p:sp>
      <p:sp>
        <p:nvSpPr>
          <p:cNvPr id="338" name="Text Placeholder 2">
            <a:extLst>
              <a:ext uri="{FF2B5EF4-FFF2-40B4-BE49-F238E27FC236}">
                <a16:creationId xmlns:a16="http://schemas.microsoft.com/office/drawing/2014/main" id="{B1D39007-6C57-3F70-5C14-8183AAAC6DB1}"/>
              </a:ext>
            </a:extLst>
          </p:cNvPr>
          <p:cNvSpPr>
            <a:spLocks noGrp="1"/>
          </p:cNvSpPr>
          <p:nvPr>
            <p:custDataLst>
              <p:tags r:id="rId34"/>
            </p:custDataLst>
          </p:nvPr>
        </p:nvSpPr>
        <p:spPr bwMode="auto">
          <a:xfrm>
            <a:off x="6054162" y="5973680"/>
            <a:ext cx="442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r>
              <a:rPr kumimoji="0" lang="en-GB" sz="900" b="0" i="0" u="none" strike="noStrike" kern="1200" cap="none" spc="0" normalizeH="0" baseline="0" noProof="0" dirty="0">
                <a:ln>
                  <a:noFill/>
                </a:ln>
                <a:solidFill>
                  <a:srgbClr val="003A37"/>
                </a:solidFill>
                <a:effectLst/>
                <a:uLnTx/>
                <a:uFillTx/>
                <a:latin typeface="Trebuchet MS"/>
                <a:ea typeface="+mn-ea"/>
                <a:cs typeface="DIN Next LT Arabic" panose="020B0503020203050203" pitchFamily="34" charset="-78"/>
                <a:sym typeface="DIN Next LT Arabic" panose="020B0503020203050203" pitchFamily="34" charset="-78"/>
              </a:rPr>
              <a:t>Scenario 2</a:t>
            </a:r>
          </a:p>
        </p:txBody>
      </p:sp>
      <p:sp>
        <p:nvSpPr>
          <p:cNvPr id="339" name="Text Placeholder 2">
            <a:extLst>
              <a:ext uri="{FF2B5EF4-FFF2-40B4-BE49-F238E27FC236}">
                <a16:creationId xmlns:a16="http://schemas.microsoft.com/office/drawing/2014/main" id="{9FEDB6BD-1028-21F2-1C29-2370E13A6005}"/>
              </a:ext>
            </a:extLst>
          </p:cNvPr>
          <p:cNvSpPr>
            <a:spLocks noGrp="1"/>
          </p:cNvSpPr>
          <p:nvPr>
            <p:custDataLst>
              <p:tags r:id="rId35"/>
            </p:custDataLst>
          </p:nvPr>
        </p:nvSpPr>
        <p:spPr bwMode="auto">
          <a:xfrm>
            <a:off x="6912193" y="5933124"/>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endParaRPr kumimoji="0" lang="en-GB" sz="800" b="0" i="0" u="none" strike="noStrike" kern="1200" cap="none" spc="0" normalizeH="0" baseline="0" noProof="0">
              <a:ln>
                <a:noFill/>
              </a:ln>
              <a:solidFill>
                <a:srgbClr val="032633"/>
              </a:solidFill>
              <a:effectLst/>
              <a:uLnTx/>
              <a:uFillTx/>
              <a:latin typeface="Trebuchet MS"/>
              <a:ea typeface="+mn-ea"/>
              <a:cs typeface="DIN Next LT Arabic" panose="020B0503020203050203" pitchFamily="34" charset="-78"/>
              <a:sym typeface="DIN Next LT Arabic" panose="020B0503020203050203" pitchFamily="34" charset="-78"/>
            </a:endParaRPr>
          </a:p>
        </p:txBody>
      </p:sp>
      <p:sp>
        <p:nvSpPr>
          <p:cNvPr id="340" name="Rectangle 339">
            <a:extLst>
              <a:ext uri="{FF2B5EF4-FFF2-40B4-BE49-F238E27FC236}">
                <a16:creationId xmlns:a16="http://schemas.microsoft.com/office/drawing/2014/main" id="{6C0E8E59-A45C-2B30-6884-C4EB81DE713C}"/>
              </a:ext>
            </a:extLst>
          </p:cNvPr>
          <p:cNvSpPr>
            <a:spLocks/>
          </p:cNvSpPr>
          <p:nvPr>
            <p:custDataLst>
              <p:tags r:id="rId36"/>
            </p:custDataLst>
          </p:nvPr>
        </p:nvSpPr>
        <p:spPr bwMode="auto">
          <a:xfrm>
            <a:off x="7235890" y="5973680"/>
            <a:ext cx="130074" cy="136525"/>
          </a:xfrm>
          <a:prstGeom prst="rect">
            <a:avLst/>
          </a:prstGeom>
          <a:solidFill>
            <a:srgbClr val="1C6A74"/>
          </a:solidFill>
          <a:ln w="9525" cap="flat" cmpd="sng" algn="ctr">
            <a:solidFill>
              <a:srgbClr val="FFFFFF"/>
            </a:solidFill>
            <a:prstDash val="solid"/>
            <a:miter lim="800000"/>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Trebuchet MS"/>
              <a:ea typeface="+mn-ea"/>
              <a:cs typeface="+mn-cs"/>
            </a:endParaRPr>
          </a:p>
        </p:txBody>
      </p:sp>
      <p:sp>
        <p:nvSpPr>
          <p:cNvPr id="341" name="Text Placeholder 2">
            <a:extLst>
              <a:ext uri="{FF2B5EF4-FFF2-40B4-BE49-F238E27FC236}">
                <a16:creationId xmlns:a16="http://schemas.microsoft.com/office/drawing/2014/main" id="{7CCAC06B-AD7D-0966-6246-715921663C9E}"/>
              </a:ext>
            </a:extLst>
          </p:cNvPr>
          <p:cNvSpPr>
            <a:spLocks noGrp="1"/>
          </p:cNvSpPr>
          <p:nvPr>
            <p:custDataLst>
              <p:tags r:id="rId37"/>
            </p:custDataLst>
          </p:nvPr>
        </p:nvSpPr>
        <p:spPr bwMode="auto">
          <a:xfrm>
            <a:off x="7402656" y="5973680"/>
            <a:ext cx="442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1pPr>
            <a:lvl2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2pPr>
            <a:lvl3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3pPr>
            <a:lvl4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4pPr>
            <a:lvl5pPr marL="88900" marR="0" indent="-88900" algn="l" defTabSz="914400" rtl="0" eaLnBrk="1" fontAlgn="auto" latinLnBrk="0" hangingPunct="1">
              <a:lnSpc>
                <a:spcPct val="90000"/>
              </a:lnSpc>
              <a:spcBef>
                <a:spcPts val="1000"/>
              </a:spcBef>
              <a:spcAft>
                <a:spcPts val="0"/>
              </a:spcAft>
              <a:buClr>
                <a:schemeClr val="tx2"/>
              </a:buClr>
              <a:buSzTx/>
              <a:buFont typeface="Arial" panose="020B0604020202020204" pitchFamily="34" charset="0"/>
              <a:buChar char="•"/>
              <a:tabLst/>
              <a:defRPr kumimoji="0" lang="en-US" sz="1400" b="0" i="0" u="none" strike="noStrike" kern="1200" cap="none" spc="0" normalizeH="0" baseline="0" noProof="0" dirty="0">
                <a:ln>
                  <a:noFill/>
                </a:ln>
                <a:solidFill>
                  <a:schemeClr val="tx2"/>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panose="020B0604020202020204" pitchFamily="34" charset="0"/>
              <a:buNone/>
              <a:tabLst/>
              <a:defRPr/>
            </a:pPr>
            <a:r>
              <a:rPr kumimoji="0" lang="en-GB" sz="900" b="0" i="0" u="none" strike="noStrike" kern="1200" cap="none" spc="0" normalizeH="0" baseline="0" noProof="0" dirty="0">
                <a:ln>
                  <a:noFill/>
                </a:ln>
                <a:solidFill>
                  <a:srgbClr val="003A37"/>
                </a:solidFill>
                <a:effectLst/>
                <a:uLnTx/>
                <a:uFillTx/>
                <a:latin typeface="Trebuchet MS"/>
                <a:ea typeface="+mn-ea"/>
                <a:cs typeface="DIN Next LT Arabic" panose="020B0503020203050203" pitchFamily="34" charset="-78"/>
                <a:sym typeface="DIN Next LT Arabic" panose="020B0503020203050203" pitchFamily="34" charset="-78"/>
              </a:rPr>
              <a:t>Scenario 3</a:t>
            </a:r>
          </a:p>
        </p:txBody>
      </p:sp>
      <p:sp>
        <p:nvSpPr>
          <p:cNvPr id="342" name="Rectangle: Rounded Corners 341">
            <a:extLst>
              <a:ext uri="{FF2B5EF4-FFF2-40B4-BE49-F238E27FC236}">
                <a16:creationId xmlns:a16="http://schemas.microsoft.com/office/drawing/2014/main" id="{3DBAE03A-AAFD-5A17-E20B-0A9ABD8A3297}"/>
              </a:ext>
            </a:extLst>
          </p:cNvPr>
          <p:cNvSpPr>
            <a:spLocks noChangeAspect="1"/>
          </p:cNvSpPr>
          <p:nvPr/>
        </p:nvSpPr>
        <p:spPr>
          <a:xfrm>
            <a:off x="662816" y="2051049"/>
            <a:ext cx="1457175" cy="1162834"/>
          </a:xfrm>
          <a:prstGeom prst="roundRect">
            <a:avLst>
              <a:gd name="adj" fmla="val 9360"/>
            </a:avLst>
          </a:prstGeom>
          <a:solidFill>
            <a:srgbClr val="26A0B0"/>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D5108">
                  <a:lumMod val="75000"/>
                  <a:alpha val="50000"/>
                </a:srgbClr>
              </a:solidFill>
              <a:effectLst/>
              <a:uLnTx/>
              <a:uFillTx/>
              <a:latin typeface="Arial"/>
              <a:ea typeface="+mn-ea"/>
              <a:cs typeface="+mn-cs"/>
              <a:sym typeface="Arial"/>
            </a:endParaRPr>
          </a:p>
        </p:txBody>
      </p:sp>
      <p:sp>
        <p:nvSpPr>
          <p:cNvPr id="343" name="Google Shape;812;p65">
            <a:extLst>
              <a:ext uri="{FF2B5EF4-FFF2-40B4-BE49-F238E27FC236}">
                <a16:creationId xmlns:a16="http://schemas.microsoft.com/office/drawing/2014/main" id="{EE5E9A98-53C7-C8F4-7A44-74E87B3D4A72}"/>
              </a:ext>
            </a:extLst>
          </p:cNvPr>
          <p:cNvSpPr/>
          <p:nvPr/>
        </p:nvSpPr>
        <p:spPr bwMode="gray">
          <a:xfrm>
            <a:off x="834250" y="2558882"/>
            <a:ext cx="1114307" cy="161583"/>
          </a:xfrm>
          <a:prstGeom prst="rect">
            <a:avLst/>
          </a:prstGeom>
          <a:solidFill>
            <a:srgbClr val="26A0B0"/>
          </a:solidFill>
          <a:ln>
            <a:noFill/>
          </a:ln>
        </p:spPr>
        <p:txBody>
          <a:bodyPr spcFirstLastPara="1" wrap="square" lIns="0" tIns="0" rIns="0" bIns="0" anchor="ctr" anchorCtr="0">
            <a:spAutoFit/>
          </a:bodyPr>
          <a:lst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Tx/>
              <a:buFont typeface="Arial"/>
              <a:buNone/>
              <a:tabLst/>
              <a:defRPr/>
            </a:pPr>
            <a:r>
              <a:rPr kumimoji="0" lang="en-GB" sz="1050" b="1" i="0" u="none" strike="noStrike" kern="0" cap="none" spc="0" normalizeH="0" baseline="0" noProof="0" dirty="0">
                <a:ln>
                  <a:noFill/>
                </a:ln>
                <a:solidFill>
                  <a:srgbClr val="FFFFFF"/>
                </a:solidFill>
                <a:effectLst/>
                <a:uLnTx/>
                <a:uFillTx/>
                <a:latin typeface="Arial"/>
                <a:ea typeface="+mn-ea"/>
                <a:cs typeface="+mn-cs"/>
                <a:sym typeface="Arial"/>
              </a:rPr>
              <a:t>Scenario 1</a:t>
            </a:r>
            <a:endParaRPr kumimoji="0" lang="en-GB" sz="900" b="1"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44" name="Rectangle: Rounded Corners 343">
            <a:extLst>
              <a:ext uri="{FF2B5EF4-FFF2-40B4-BE49-F238E27FC236}">
                <a16:creationId xmlns:a16="http://schemas.microsoft.com/office/drawing/2014/main" id="{23372849-9B38-53AC-6C3A-C80FC37C6972}"/>
              </a:ext>
            </a:extLst>
          </p:cNvPr>
          <p:cNvSpPr>
            <a:spLocks noChangeAspect="1"/>
          </p:cNvSpPr>
          <p:nvPr/>
        </p:nvSpPr>
        <p:spPr>
          <a:xfrm>
            <a:off x="662816" y="3287195"/>
            <a:ext cx="1457175" cy="1162834"/>
          </a:xfrm>
          <a:prstGeom prst="roundRect">
            <a:avLst>
              <a:gd name="adj" fmla="val 9360"/>
            </a:avLst>
          </a:prstGeom>
          <a:solidFill>
            <a:srgbClr val="20828E"/>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FD5108">
                  <a:lumMod val="75000"/>
                  <a:alpha val="50000"/>
                </a:srgbClr>
              </a:solidFill>
              <a:effectLst/>
              <a:uLnTx/>
              <a:uFillTx/>
              <a:latin typeface="Arial"/>
              <a:ea typeface="+mn-ea"/>
              <a:cs typeface="+mn-cs"/>
              <a:sym typeface="Arial"/>
            </a:endParaRPr>
          </a:p>
        </p:txBody>
      </p:sp>
      <p:sp>
        <p:nvSpPr>
          <p:cNvPr id="345" name="Google Shape;812;p65">
            <a:extLst>
              <a:ext uri="{FF2B5EF4-FFF2-40B4-BE49-F238E27FC236}">
                <a16:creationId xmlns:a16="http://schemas.microsoft.com/office/drawing/2014/main" id="{B3519608-981B-9207-8330-3A61B8B2C57B}"/>
              </a:ext>
            </a:extLst>
          </p:cNvPr>
          <p:cNvSpPr/>
          <p:nvPr/>
        </p:nvSpPr>
        <p:spPr bwMode="gray">
          <a:xfrm>
            <a:off x="834250" y="3795028"/>
            <a:ext cx="1114307" cy="161583"/>
          </a:xfrm>
          <a:prstGeom prst="rect">
            <a:avLst/>
          </a:prstGeom>
          <a:solidFill>
            <a:srgbClr val="20828E"/>
          </a:solidFill>
          <a:ln>
            <a:noFill/>
          </a:ln>
        </p:spPr>
        <p:txBody>
          <a:bodyPr spcFirstLastPara="1" wrap="square" lIns="0" tIns="0" rIns="0" bIns="0" anchor="ctr" anchorCtr="0">
            <a:spAutoFit/>
          </a:bodyPr>
          <a:lst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Tx/>
              <a:buFont typeface="Arial"/>
              <a:buNone/>
              <a:tabLst/>
              <a:defRPr/>
            </a:pPr>
            <a:r>
              <a:rPr kumimoji="0" lang="en-GB" sz="1050" b="1" i="0" u="none" strike="noStrike" kern="0" cap="none" spc="0" normalizeH="0" baseline="0" noProof="0" dirty="0">
                <a:ln>
                  <a:noFill/>
                </a:ln>
                <a:solidFill>
                  <a:srgbClr val="FFFFFF"/>
                </a:solidFill>
                <a:effectLst/>
                <a:uLnTx/>
                <a:uFillTx/>
                <a:latin typeface="Arial"/>
                <a:ea typeface="+mn-ea"/>
                <a:cs typeface="+mn-cs"/>
                <a:sym typeface="Arial"/>
              </a:rPr>
              <a:t>Scenario 2</a:t>
            </a:r>
            <a:endParaRPr kumimoji="0" lang="en-GB" sz="900" b="1"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46" name="Rectangle: Rounded Corners 345">
            <a:extLst>
              <a:ext uri="{FF2B5EF4-FFF2-40B4-BE49-F238E27FC236}">
                <a16:creationId xmlns:a16="http://schemas.microsoft.com/office/drawing/2014/main" id="{842E2648-B0BE-2D42-AB01-27003CC08D6F}"/>
              </a:ext>
            </a:extLst>
          </p:cNvPr>
          <p:cNvSpPr>
            <a:spLocks noChangeAspect="1"/>
          </p:cNvSpPr>
          <p:nvPr/>
        </p:nvSpPr>
        <p:spPr>
          <a:xfrm>
            <a:off x="662816" y="4531631"/>
            <a:ext cx="1457175" cy="1162834"/>
          </a:xfrm>
          <a:prstGeom prst="roundRect">
            <a:avLst>
              <a:gd name="adj" fmla="val 9360"/>
            </a:avLst>
          </a:prstGeom>
          <a:solidFill>
            <a:srgbClr val="1C6A74"/>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D5108">
                  <a:lumMod val="75000"/>
                  <a:alpha val="50000"/>
                </a:srgbClr>
              </a:solidFill>
              <a:effectLst/>
              <a:uLnTx/>
              <a:uFillTx/>
              <a:latin typeface="Arial"/>
              <a:ea typeface="+mn-ea"/>
              <a:cs typeface="+mn-cs"/>
              <a:sym typeface="Arial"/>
            </a:endParaRPr>
          </a:p>
        </p:txBody>
      </p:sp>
      <p:sp>
        <p:nvSpPr>
          <p:cNvPr id="347" name="Google Shape;812;p65">
            <a:extLst>
              <a:ext uri="{FF2B5EF4-FFF2-40B4-BE49-F238E27FC236}">
                <a16:creationId xmlns:a16="http://schemas.microsoft.com/office/drawing/2014/main" id="{7BFD3203-EA55-D632-EAB9-339096A3633D}"/>
              </a:ext>
            </a:extLst>
          </p:cNvPr>
          <p:cNvSpPr/>
          <p:nvPr/>
        </p:nvSpPr>
        <p:spPr bwMode="gray">
          <a:xfrm>
            <a:off x="834250" y="5039464"/>
            <a:ext cx="1114307" cy="161583"/>
          </a:xfrm>
          <a:prstGeom prst="rect">
            <a:avLst/>
          </a:prstGeom>
          <a:solidFill>
            <a:srgbClr val="1C6A74"/>
          </a:solidFill>
          <a:ln>
            <a:noFill/>
          </a:ln>
        </p:spPr>
        <p:txBody>
          <a:bodyPr spcFirstLastPara="1" wrap="square" lIns="0" tIns="0" rIns="0" bIns="0" anchor="ctr" anchorCtr="0">
            <a:spAutoFit/>
          </a:bodyPr>
          <a:lst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Tx/>
              <a:buFont typeface="Arial"/>
              <a:buNone/>
              <a:tabLst/>
              <a:defRPr/>
            </a:pPr>
            <a:r>
              <a:rPr kumimoji="0" lang="en-GB" sz="1050" b="1" i="0" u="none" strike="noStrike" kern="0" cap="none" spc="0" normalizeH="0" baseline="0" noProof="0" dirty="0">
                <a:ln>
                  <a:noFill/>
                </a:ln>
                <a:solidFill>
                  <a:srgbClr val="FFFFFF"/>
                </a:solidFill>
                <a:effectLst/>
                <a:uLnTx/>
                <a:uFillTx/>
                <a:latin typeface="Arial"/>
                <a:ea typeface="+mn-ea"/>
                <a:cs typeface="+mn-cs"/>
                <a:sym typeface="Arial"/>
              </a:rPr>
              <a:t>Scenario 3</a:t>
            </a:r>
            <a:endParaRPr kumimoji="0" lang="en-GB" sz="900" b="1"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51" name="Rectangle 350">
            <a:extLst>
              <a:ext uri="{FF2B5EF4-FFF2-40B4-BE49-F238E27FC236}">
                <a16:creationId xmlns:a16="http://schemas.microsoft.com/office/drawing/2014/main" id="{33889CC0-39C5-8FA1-751C-571F28453128}"/>
              </a:ext>
            </a:extLst>
          </p:cNvPr>
          <p:cNvSpPr/>
          <p:nvPr/>
        </p:nvSpPr>
        <p:spPr>
          <a:xfrm>
            <a:off x="177375" y="607969"/>
            <a:ext cx="11247106" cy="322093"/>
          </a:xfrm>
          <a:prstGeom prst="rect">
            <a:avLst/>
          </a:prstGeom>
          <a:noFill/>
          <a:ln w="12700" cap="rnd"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3A37"/>
                </a:solidFill>
                <a:effectLst/>
                <a:uLnTx/>
                <a:uFillTx/>
                <a:latin typeface="Trebuchet MS"/>
                <a:ea typeface="+mn-ea"/>
                <a:cs typeface="+mn-cs"/>
              </a:rPr>
              <a:t>Relaxing foreign ownership – expected price impacts</a:t>
            </a:r>
          </a:p>
        </p:txBody>
      </p:sp>
      <p:sp>
        <p:nvSpPr>
          <p:cNvPr id="352" name="Graphic 3">
            <a:hlinkClick r:id="rId45" action="ppaction://hlinksldjump"/>
            <a:extLst>
              <a:ext uri="{FF2B5EF4-FFF2-40B4-BE49-F238E27FC236}">
                <a16:creationId xmlns:a16="http://schemas.microsoft.com/office/drawing/2014/main" id="{CC4D0906-2795-4329-5134-495710124514}"/>
              </a:ext>
            </a:extLst>
          </p:cNvPr>
          <p:cNvSpPr>
            <a:spLocks/>
          </p:cNvSpPr>
          <p:nvPr/>
        </p:nvSpPr>
        <p:spPr>
          <a:xfrm>
            <a:off x="6444975" y="4642678"/>
            <a:ext cx="1969536" cy="623268"/>
          </a:xfrm>
          <a:prstGeom prst="rect">
            <a:avLst/>
          </a:prstGeom>
          <a:solidFill>
            <a:schemeClr val="tx2"/>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200" b="1" i="0" u="none" strike="noStrike" kern="1200" cap="none" spc="0" normalizeH="0" baseline="0" noProof="0" dirty="0">
                <a:solidFill>
                  <a:schemeClr val="bg1"/>
                </a:solidFill>
                <a:effectLst/>
                <a:uLnTx/>
                <a:uFillTx/>
                <a:latin typeface="Trebuchet MS"/>
                <a:ea typeface="+mn-ea"/>
                <a:cs typeface="+mn-cs"/>
              </a:rPr>
              <a:t>Map View</a:t>
            </a:r>
            <a:endParaRPr kumimoji="0" lang="en-US" sz="1200" b="0" i="1" u="none" strike="noStrike" kern="1200" cap="none" spc="0" normalizeH="0" baseline="0" noProof="0" dirty="0">
              <a:solidFill>
                <a:schemeClr val="bg1"/>
              </a:solidFill>
              <a:effectLst/>
              <a:uLnTx/>
              <a:uFillTx/>
              <a:latin typeface="Trebuchet MS"/>
              <a:ea typeface="+mn-ea"/>
              <a:cs typeface="+mn-cs"/>
            </a:endParaRPr>
          </a:p>
        </p:txBody>
      </p:sp>
      <p:sp>
        <p:nvSpPr>
          <p:cNvPr id="353" name="Rectangle 352">
            <a:extLst>
              <a:ext uri="{FF2B5EF4-FFF2-40B4-BE49-F238E27FC236}">
                <a16:creationId xmlns:a16="http://schemas.microsoft.com/office/drawing/2014/main" id="{6A2B9915-2D5C-AD05-3F7E-63C4325D955B}"/>
              </a:ext>
            </a:extLst>
          </p:cNvPr>
          <p:cNvSpPr/>
          <p:nvPr/>
        </p:nvSpPr>
        <p:spPr>
          <a:xfrm>
            <a:off x="0" y="0"/>
            <a:ext cx="12192000" cy="494748"/>
          </a:xfrm>
          <a:prstGeom prst="rect">
            <a:avLst/>
          </a:prstGeom>
          <a:gradFill>
            <a:gsLst>
              <a:gs pos="6322">
                <a:schemeClr val="accent2"/>
              </a:gs>
              <a:gs pos="62000">
                <a:schemeClr val="bg2">
                  <a:lumMod val="50000"/>
                  <a:alpha val="57000"/>
                </a:schemeClr>
              </a:gs>
              <a:gs pos="100000">
                <a:schemeClr val="bg1">
                  <a:alpha val="0"/>
                </a:schemeClr>
              </a:gs>
            </a:gsLst>
            <a:lin ang="0" scaled="1"/>
          </a:gra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274320" tIns="91440" rIns="182880" bIns="91440" numCol="1" spcCol="0" rtlCol="0" fromWordArt="0" anchor="ctr" anchorCtr="0" forceAA="0" compatLnSpc="1">
            <a:prstTxWarp prst="textNoShape">
              <a:avLst/>
            </a:prstTxWarp>
            <a:noAutofit/>
          </a:bodyPr>
          <a:lstStyle/>
          <a:p>
            <a:pPr algn="l">
              <a:buClr>
                <a:srgbClr val="006C67"/>
              </a:buClr>
            </a:pPr>
            <a:r>
              <a:rPr lang="en-GB" sz="1400" b="1" dirty="0">
                <a:solidFill>
                  <a:schemeClr val="bg1"/>
                </a:solidFill>
              </a:rPr>
              <a:t>                 </a:t>
            </a:r>
            <a:r>
              <a:rPr lang="en-GB" sz="1400" b="1" dirty="0" err="1">
                <a:solidFill>
                  <a:schemeClr val="bg1"/>
                </a:solidFill>
              </a:rPr>
              <a:t>MoMAH</a:t>
            </a:r>
            <a:r>
              <a:rPr lang="en-GB" sz="1400" b="1" dirty="0">
                <a:solidFill>
                  <a:schemeClr val="bg1"/>
                </a:solidFill>
              </a:rPr>
              <a:t> - Decision Support System</a:t>
            </a:r>
          </a:p>
        </p:txBody>
      </p:sp>
      <p:pic>
        <p:nvPicPr>
          <p:cNvPr id="354" name="Graphic 353">
            <a:hlinkClick r:id="rId46" action="ppaction://hlinksldjump"/>
            <a:extLst>
              <a:ext uri="{FF2B5EF4-FFF2-40B4-BE49-F238E27FC236}">
                <a16:creationId xmlns:a16="http://schemas.microsoft.com/office/drawing/2014/main" id="{9847F4CA-DDA3-8ABF-6AAF-1CC3B731EC1B}"/>
              </a:ext>
            </a:extLst>
          </p:cNvPr>
          <p:cNvPicPr>
            <a:picLocks noChangeAspect="1"/>
          </p:cNvPicPr>
          <p:nvPr>
            <p:custDataLst>
              <p:tags r:id="rId38"/>
            </p:custDataLst>
          </p:nvPr>
        </p:nvPicPr>
        <p:blipFill>
          <a:blip r:embed="rId47">
            <a:extLst>
              <a:ext uri="{96DAC541-7B7A-43D3-8B79-37D633B846F1}">
                <asvg:svgBlip xmlns:asvg="http://schemas.microsoft.com/office/drawing/2016/SVG/main" r:embed="rId48"/>
              </a:ext>
            </a:extLst>
          </a:blip>
          <a:stretch>
            <a:fillRect/>
          </a:stretch>
        </p:blipFill>
        <p:spPr>
          <a:xfrm>
            <a:off x="99121" y="53075"/>
            <a:ext cx="389863" cy="389863"/>
          </a:xfrm>
          <a:prstGeom prst="rect">
            <a:avLst/>
          </a:prstGeom>
        </p:spPr>
      </p:pic>
      <p:pic>
        <p:nvPicPr>
          <p:cNvPr id="355" name="Graphic 354">
            <a:hlinkClick r:id="rId49" action="ppaction://hlinksldjump"/>
            <a:extLst>
              <a:ext uri="{FF2B5EF4-FFF2-40B4-BE49-F238E27FC236}">
                <a16:creationId xmlns:a16="http://schemas.microsoft.com/office/drawing/2014/main" id="{C273020E-C347-CBE8-EFE1-BD9DB5BBDFCE}"/>
              </a:ext>
            </a:extLst>
          </p:cNvPr>
          <p:cNvPicPr>
            <a:picLocks noChangeAspect="1"/>
          </p:cNvPicPr>
          <p:nvPr>
            <p:custDataLst>
              <p:tags r:id="rId39"/>
            </p:custDataLst>
          </p:nvPr>
        </p:nvPicPr>
        <p:blipFill>
          <a:blip r:embed="rId50">
            <a:extLst>
              <a:ext uri="{96DAC541-7B7A-43D3-8B79-37D633B846F1}">
                <asvg:svgBlip xmlns:asvg="http://schemas.microsoft.com/office/drawing/2016/SVG/main" r:embed="rId51"/>
              </a:ext>
            </a:extLst>
          </a:blip>
          <a:stretch>
            <a:fillRect/>
          </a:stretch>
        </p:blipFill>
        <p:spPr>
          <a:xfrm>
            <a:off x="583217" y="38405"/>
            <a:ext cx="426129" cy="426129"/>
          </a:xfrm>
          <a:prstGeom prst="rect">
            <a:avLst/>
          </a:prstGeom>
        </p:spPr>
      </p:pic>
    </p:spTree>
    <p:extLst>
      <p:ext uri="{BB962C8B-B14F-4D97-AF65-F5344CB8AC3E}">
        <p14:creationId xmlns:p14="http://schemas.microsoft.com/office/powerpoint/2010/main" val="812533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06A50-BFB2-F9B3-D09C-4922FCF6EC8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9220D0-861E-08DB-7BC9-3C72B002EAA9}"/>
              </a:ext>
            </a:extLst>
          </p:cNvPr>
          <p:cNvGraphicFramePr>
            <a:graphicFrameLocks noChangeAspect="1"/>
          </p:cNvGraphicFramePr>
          <p:nvPr>
            <p:custDataLst>
              <p:tags r:id="rId1"/>
            </p:custDataLst>
            <p:extLst>
              <p:ext uri="{D42A27DB-BD31-4B8C-83A1-F6EECF244321}">
                <p14:modId xmlns:p14="http://schemas.microsoft.com/office/powerpoint/2010/main" val="3301421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3" name="think-cell data - do not delete" hidden="1">
                        <a:extLst>
                          <a:ext uri="{FF2B5EF4-FFF2-40B4-BE49-F238E27FC236}">
                            <a16:creationId xmlns:a16="http://schemas.microsoft.com/office/drawing/2014/main" id="{E01B682B-0CC5-2A0B-8836-C71B11E7B9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BE9728B-6C69-720B-AE2F-C24E3E0DC0E4}"/>
              </a:ext>
            </a:extLst>
          </p:cNvPr>
          <p:cNvSpPr/>
          <p:nvPr/>
        </p:nvSpPr>
        <p:spPr>
          <a:xfrm>
            <a:off x="177375" y="607969"/>
            <a:ext cx="11247106" cy="322093"/>
          </a:xfrm>
          <a:prstGeom prst="rect">
            <a:avLst/>
          </a:prstGeom>
          <a:noFill/>
          <a:ln w="12700" cap="rnd"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3A37"/>
                </a:solidFill>
                <a:effectLst/>
                <a:uLnTx/>
                <a:uFillTx/>
                <a:latin typeface="Trebuchet MS"/>
                <a:ea typeface="+mn-ea"/>
                <a:cs typeface="+mn-cs"/>
              </a:rPr>
              <a:t>Relaxing foreign ownership – expected price impacts (map view)</a:t>
            </a:r>
          </a:p>
        </p:txBody>
      </p:sp>
      <p:sp>
        <p:nvSpPr>
          <p:cNvPr id="5" name="Rectangle 4">
            <a:extLst>
              <a:ext uri="{FF2B5EF4-FFF2-40B4-BE49-F238E27FC236}">
                <a16:creationId xmlns:a16="http://schemas.microsoft.com/office/drawing/2014/main" id="{63C863E8-C5BB-1298-C45D-854DB60502C3}"/>
              </a:ext>
            </a:extLst>
          </p:cNvPr>
          <p:cNvSpPr/>
          <p:nvPr/>
        </p:nvSpPr>
        <p:spPr>
          <a:xfrm>
            <a:off x="0" y="0"/>
            <a:ext cx="12192000" cy="494748"/>
          </a:xfrm>
          <a:prstGeom prst="rect">
            <a:avLst/>
          </a:prstGeom>
          <a:gradFill>
            <a:gsLst>
              <a:gs pos="6322">
                <a:schemeClr val="accent2"/>
              </a:gs>
              <a:gs pos="62000">
                <a:schemeClr val="bg2">
                  <a:lumMod val="50000"/>
                  <a:alpha val="57000"/>
                </a:schemeClr>
              </a:gs>
              <a:gs pos="100000">
                <a:schemeClr val="bg1">
                  <a:alpha val="0"/>
                </a:schemeClr>
              </a:gs>
            </a:gsLst>
            <a:lin ang="0" scaled="1"/>
          </a:gra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274320" tIns="91440" rIns="182880" bIns="91440" numCol="1" spcCol="0" rtlCol="0" fromWordArt="0" anchor="ctr" anchorCtr="0" forceAA="0" compatLnSpc="1">
            <a:prstTxWarp prst="textNoShape">
              <a:avLst/>
            </a:prstTxWarp>
            <a:noAutofit/>
          </a:bodyPr>
          <a:lstStyle/>
          <a:p>
            <a:pPr algn="l">
              <a:buClr>
                <a:srgbClr val="006C67"/>
              </a:buClr>
            </a:pPr>
            <a:r>
              <a:rPr lang="en-GB" sz="1400" b="1" dirty="0">
                <a:solidFill>
                  <a:schemeClr val="bg1"/>
                </a:solidFill>
              </a:rPr>
              <a:t>                 </a:t>
            </a:r>
            <a:r>
              <a:rPr lang="en-GB" sz="1400" b="1" dirty="0" err="1">
                <a:solidFill>
                  <a:schemeClr val="bg1"/>
                </a:solidFill>
              </a:rPr>
              <a:t>MoMAH</a:t>
            </a:r>
            <a:r>
              <a:rPr lang="en-GB" sz="1400" b="1" dirty="0">
                <a:solidFill>
                  <a:schemeClr val="bg1"/>
                </a:solidFill>
              </a:rPr>
              <a:t> - Decision Support System</a:t>
            </a:r>
          </a:p>
        </p:txBody>
      </p:sp>
      <p:pic>
        <p:nvPicPr>
          <p:cNvPr id="6" name="Graphic 5">
            <a:extLst>
              <a:ext uri="{FF2B5EF4-FFF2-40B4-BE49-F238E27FC236}">
                <a16:creationId xmlns:a16="http://schemas.microsoft.com/office/drawing/2014/main" id="{774F0223-4343-6A95-35B7-A97C23236FF1}"/>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99121" y="53075"/>
            <a:ext cx="389863" cy="389863"/>
          </a:xfrm>
          <a:prstGeom prst="rect">
            <a:avLst/>
          </a:prstGeom>
        </p:spPr>
      </p:pic>
      <p:pic>
        <p:nvPicPr>
          <p:cNvPr id="10" name="Graphic 9">
            <a:hlinkClick r:id="rId10" action="ppaction://hlinksldjump"/>
            <a:extLst>
              <a:ext uri="{FF2B5EF4-FFF2-40B4-BE49-F238E27FC236}">
                <a16:creationId xmlns:a16="http://schemas.microsoft.com/office/drawing/2014/main" id="{C2E8349E-931E-C13C-5B8F-A1C43400AB12}"/>
              </a:ext>
            </a:extLst>
          </p:cNvPr>
          <p:cNvPicPr>
            <a:picLocks noChangeAspect="1"/>
          </p:cNvPicPr>
          <p:nvPr>
            <p:custDataLst>
              <p:tags r:id="rId3"/>
            </p:custDataLst>
          </p:nvPr>
        </p:nvPicPr>
        <p:blipFill>
          <a:blip r:embed="rId11">
            <a:extLst>
              <a:ext uri="{96DAC541-7B7A-43D3-8B79-37D633B846F1}">
                <asvg:svgBlip xmlns:asvg="http://schemas.microsoft.com/office/drawing/2016/SVG/main" r:embed="rId12"/>
              </a:ext>
            </a:extLst>
          </a:blip>
          <a:stretch>
            <a:fillRect/>
          </a:stretch>
        </p:blipFill>
        <p:spPr>
          <a:xfrm>
            <a:off x="583217" y="38405"/>
            <a:ext cx="426129" cy="426129"/>
          </a:xfrm>
          <a:prstGeom prst="rect">
            <a:avLst/>
          </a:prstGeom>
        </p:spPr>
      </p:pic>
    </p:spTree>
    <p:extLst>
      <p:ext uri="{BB962C8B-B14F-4D97-AF65-F5344CB8AC3E}">
        <p14:creationId xmlns:p14="http://schemas.microsoft.com/office/powerpoint/2010/main" val="1204556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2968A-D4E3-E9CE-DE1D-039780A0576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BB71407-E118-E9E5-489F-2494D00DC009}"/>
              </a:ext>
            </a:extLst>
          </p:cNvPr>
          <p:cNvGraphicFramePr>
            <a:graphicFrameLocks noChangeAspect="1"/>
          </p:cNvGraphicFramePr>
          <p:nvPr>
            <p:custDataLst>
              <p:tags r:id="rId1"/>
            </p:custDataLst>
            <p:extLst>
              <p:ext uri="{D42A27DB-BD31-4B8C-83A1-F6EECF244321}">
                <p14:modId xmlns:p14="http://schemas.microsoft.com/office/powerpoint/2010/main" val="3626280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3" name="think-cell data - do not delete" hidden="1">
                        <a:extLst>
                          <a:ext uri="{FF2B5EF4-FFF2-40B4-BE49-F238E27FC236}">
                            <a16:creationId xmlns:a16="http://schemas.microsoft.com/office/drawing/2014/main" id="{AA9220D0-861E-08DB-7BC9-3C72B002EA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E87B56C-68C5-CC2C-2895-86C9CB5BDA61}"/>
              </a:ext>
            </a:extLst>
          </p:cNvPr>
          <p:cNvSpPr/>
          <p:nvPr/>
        </p:nvSpPr>
        <p:spPr>
          <a:xfrm>
            <a:off x="177375" y="607969"/>
            <a:ext cx="11247106" cy="322093"/>
          </a:xfrm>
          <a:prstGeom prst="rect">
            <a:avLst/>
          </a:prstGeom>
          <a:noFill/>
          <a:ln w="12700" cap="rnd"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3A37"/>
                </a:solidFill>
                <a:effectLst/>
                <a:uLnTx/>
                <a:uFillTx/>
                <a:latin typeface="Trebuchet MS"/>
                <a:ea typeface="+mn-ea"/>
                <a:cs typeface="+mn-cs"/>
              </a:rPr>
              <a:t>Relaxing foreign ownership – </a:t>
            </a:r>
            <a:r>
              <a:rPr lang="en-GB" sz="1200" b="1" dirty="0">
                <a:solidFill>
                  <a:srgbClr val="003A37"/>
                </a:solidFill>
                <a:latin typeface="Trebuchet MS"/>
              </a:rPr>
              <a:t>policy assumptions</a:t>
            </a:r>
            <a:endParaRPr kumimoji="0" lang="en-GB" sz="1200" b="1" i="0" u="none" strike="noStrike" kern="1200" cap="none" spc="0" normalizeH="0" baseline="0" noProof="0" dirty="0">
              <a:ln>
                <a:noFill/>
              </a:ln>
              <a:solidFill>
                <a:srgbClr val="003A37"/>
              </a:solidFill>
              <a:effectLst/>
              <a:uLnTx/>
              <a:uFillTx/>
              <a:latin typeface="Trebuchet MS"/>
              <a:ea typeface="+mn-ea"/>
              <a:cs typeface="+mn-cs"/>
            </a:endParaRPr>
          </a:p>
        </p:txBody>
      </p:sp>
      <p:sp>
        <p:nvSpPr>
          <p:cNvPr id="8" name="TextBox 7">
            <a:extLst>
              <a:ext uri="{FF2B5EF4-FFF2-40B4-BE49-F238E27FC236}">
                <a16:creationId xmlns:a16="http://schemas.microsoft.com/office/drawing/2014/main" id="{B772F3F6-B077-F785-D9E9-3ADB9433A013}"/>
              </a:ext>
            </a:extLst>
          </p:cNvPr>
          <p:cNvSpPr txBox="1"/>
          <p:nvPr/>
        </p:nvSpPr>
        <p:spPr>
          <a:xfrm>
            <a:off x="393148" y="1135270"/>
            <a:ext cx="10504556" cy="77867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buNone/>
            </a:pPr>
            <a:r>
              <a:rPr lang="en-US" sz="1000" b="1" dirty="0">
                <a:solidFill>
                  <a:schemeClr val="tx1"/>
                </a:solidFill>
              </a:rPr>
              <a:t>1) Scope of opening</a:t>
            </a:r>
          </a:p>
          <a:p>
            <a:pPr>
              <a:buFont typeface="Arial" panose="020B0604020202020204" pitchFamily="34" charset="0"/>
              <a:buChar char="•"/>
            </a:pPr>
            <a:r>
              <a:rPr lang="en-US" sz="1000" b="1" dirty="0">
                <a:solidFill>
                  <a:schemeClr val="tx1"/>
                </a:solidFill>
              </a:rPr>
              <a:t>Eligible zones</a:t>
            </a:r>
            <a:r>
              <a:rPr lang="en-US" sz="1000" dirty="0">
                <a:solidFill>
                  <a:schemeClr val="tx1"/>
                </a:solidFill>
              </a:rPr>
              <a:t> (dropdown)</a:t>
            </a:r>
          </a:p>
          <a:p>
            <a:pPr marL="742950" lvl="1" indent="-285750">
              <a:buFont typeface="Arial" panose="020B0604020202020204" pitchFamily="34" charset="0"/>
              <a:buChar char="•"/>
            </a:pPr>
            <a:r>
              <a:rPr lang="en-US" sz="1000" i="1" dirty="0">
                <a:solidFill>
                  <a:schemeClr val="tx1"/>
                </a:solidFill>
              </a:rPr>
              <a:t>Prime-only</a:t>
            </a:r>
            <a:r>
              <a:rPr lang="en-US" sz="1000" dirty="0">
                <a:solidFill>
                  <a:schemeClr val="tx1"/>
                </a:solidFill>
              </a:rPr>
              <a:t> / </a:t>
            </a:r>
            <a:r>
              <a:rPr lang="en-US" sz="1000" i="1" dirty="0">
                <a:solidFill>
                  <a:schemeClr val="tx1"/>
                </a:solidFill>
              </a:rPr>
              <a:t>Prime + selected corridors</a:t>
            </a:r>
            <a:r>
              <a:rPr lang="en-US" sz="1000" dirty="0">
                <a:solidFill>
                  <a:schemeClr val="tx1"/>
                </a:solidFill>
              </a:rPr>
              <a:t> / </a:t>
            </a:r>
            <a:r>
              <a:rPr lang="en-US" sz="1000" i="1" dirty="0">
                <a:solidFill>
                  <a:schemeClr val="tx1"/>
                </a:solidFill>
              </a:rPr>
              <a:t>Citywide</a:t>
            </a:r>
            <a:endParaRPr lang="en-US" sz="1000" dirty="0">
              <a:solidFill>
                <a:schemeClr val="tx1"/>
              </a:solidFill>
            </a:endParaRPr>
          </a:p>
          <a:p>
            <a:pPr>
              <a:buFont typeface="Arial" panose="020B0604020202020204" pitchFamily="34" charset="0"/>
              <a:buChar char="•"/>
            </a:pPr>
            <a:r>
              <a:rPr lang="en-US" sz="1000" b="1" dirty="0">
                <a:solidFill>
                  <a:schemeClr val="tx1"/>
                </a:solidFill>
              </a:rPr>
              <a:t>Eligible asset types</a:t>
            </a:r>
            <a:r>
              <a:rPr lang="en-US" sz="1000" dirty="0">
                <a:solidFill>
                  <a:schemeClr val="tx1"/>
                </a:solidFill>
              </a:rPr>
              <a:t> (multi-select)</a:t>
            </a:r>
          </a:p>
          <a:p>
            <a:pPr marL="742950" lvl="1" indent="-285750">
              <a:buFont typeface="Arial" panose="020B0604020202020204" pitchFamily="34" charset="0"/>
              <a:buChar char="•"/>
            </a:pPr>
            <a:r>
              <a:rPr lang="en-US" sz="1000" i="1" dirty="0">
                <a:solidFill>
                  <a:schemeClr val="tx1"/>
                </a:solidFill>
              </a:rPr>
              <a:t>Apartments</a:t>
            </a:r>
            <a:r>
              <a:rPr lang="en-US" sz="1000" dirty="0">
                <a:solidFill>
                  <a:schemeClr val="tx1"/>
                </a:solidFill>
              </a:rPr>
              <a:t> / </a:t>
            </a:r>
            <a:r>
              <a:rPr lang="en-US" sz="1000" i="1" dirty="0">
                <a:solidFill>
                  <a:schemeClr val="tx1"/>
                </a:solidFill>
              </a:rPr>
              <a:t>Villas</a:t>
            </a:r>
            <a:r>
              <a:rPr lang="en-US" sz="1000" dirty="0">
                <a:solidFill>
                  <a:schemeClr val="tx1"/>
                </a:solidFill>
              </a:rPr>
              <a:t> / </a:t>
            </a:r>
            <a:r>
              <a:rPr lang="en-US" sz="1000" i="1" dirty="0">
                <a:solidFill>
                  <a:schemeClr val="tx1"/>
                </a:solidFill>
              </a:rPr>
              <a:t>Residential land</a:t>
            </a:r>
            <a:r>
              <a:rPr lang="en-US" sz="1000" dirty="0">
                <a:solidFill>
                  <a:schemeClr val="tx1"/>
                </a:solidFill>
              </a:rPr>
              <a:t> / </a:t>
            </a:r>
            <a:r>
              <a:rPr lang="en-US" sz="1000" i="1" dirty="0">
                <a:solidFill>
                  <a:schemeClr val="tx1"/>
                </a:solidFill>
              </a:rPr>
              <a:t>Offices</a:t>
            </a:r>
            <a:r>
              <a:rPr lang="en-US" sz="1000" dirty="0">
                <a:solidFill>
                  <a:schemeClr val="tx1"/>
                </a:solidFill>
              </a:rPr>
              <a:t> / </a:t>
            </a:r>
            <a:r>
              <a:rPr lang="en-US" sz="1000" i="1" dirty="0">
                <a:solidFill>
                  <a:schemeClr val="tx1"/>
                </a:solidFill>
              </a:rPr>
              <a:t>Retail</a:t>
            </a:r>
            <a:r>
              <a:rPr lang="en-US" sz="1000" dirty="0">
                <a:solidFill>
                  <a:schemeClr val="tx1"/>
                </a:solidFill>
              </a:rPr>
              <a:t> / </a:t>
            </a:r>
            <a:r>
              <a:rPr lang="en-US" sz="1000" i="1" dirty="0">
                <a:solidFill>
                  <a:schemeClr val="tx1"/>
                </a:solidFill>
              </a:rPr>
              <a:t>Mixed-use</a:t>
            </a:r>
            <a:endParaRPr lang="en-US" sz="1000" dirty="0">
              <a:solidFill>
                <a:schemeClr val="tx1"/>
              </a:solidFill>
            </a:endParaRPr>
          </a:p>
          <a:p>
            <a:pPr>
              <a:buFont typeface="Arial" panose="020B0604020202020204" pitchFamily="34" charset="0"/>
              <a:buChar char="•"/>
            </a:pPr>
            <a:r>
              <a:rPr lang="en-US" sz="1000" b="1" dirty="0">
                <a:solidFill>
                  <a:schemeClr val="tx1"/>
                </a:solidFill>
              </a:rPr>
              <a:t>Buyer eligibility</a:t>
            </a:r>
            <a:r>
              <a:rPr lang="en-US" sz="1000" dirty="0">
                <a:solidFill>
                  <a:schemeClr val="tx1"/>
                </a:solidFill>
              </a:rPr>
              <a:t> (dropdown)</a:t>
            </a:r>
          </a:p>
          <a:p>
            <a:pPr marL="742950" lvl="1" indent="-285750">
              <a:buFont typeface="Arial" panose="020B0604020202020204" pitchFamily="34" charset="0"/>
              <a:buChar char="•"/>
            </a:pPr>
            <a:r>
              <a:rPr lang="en-US" sz="1000" i="1" dirty="0">
                <a:solidFill>
                  <a:schemeClr val="tx1"/>
                </a:solidFill>
              </a:rPr>
              <a:t>All non-Saudis</a:t>
            </a:r>
            <a:r>
              <a:rPr lang="en-US" sz="1000" dirty="0">
                <a:solidFill>
                  <a:schemeClr val="tx1"/>
                </a:solidFill>
              </a:rPr>
              <a:t> / </a:t>
            </a:r>
            <a:r>
              <a:rPr lang="en-US" sz="1000" i="1" dirty="0">
                <a:solidFill>
                  <a:schemeClr val="tx1"/>
                </a:solidFill>
              </a:rPr>
              <a:t>RHQ-linked &amp; skilled workers</a:t>
            </a:r>
            <a:r>
              <a:rPr lang="en-US" sz="1000" dirty="0">
                <a:solidFill>
                  <a:schemeClr val="tx1"/>
                </a:solidFill>
              </a:rPr>
              <a:t> / </a:t>
            </a:r>
            <a:r>
              <a:rPr lang="en-US" sz="1000" i="1" dirty="0">
                <a:solidFill>
                  <a:schemeClr val="tx1"/>
                </a:solidFill>
              </a:rPr>
              <a:t>Institutional only</a:t>
            </a:r>
            <a:r>
              <a:rPr lang="en-US" sz="1000" dirty="0">
                <a:solidFill>
                  <a:schemeClr val="tx1"/>
                </a:solidFill>
              </a:rPr>
              <a:t> / </a:t>
            </a:r>
            <a:r>
              <a:rPr lang="en-US" sz="1000" i="1" dirty="0">
                <a:solidFill>
                  <a:schemeClr val="tx1"/>
                </a:solidFill>
              </a:rPr>
              <a:t>KSA residents only</a:t>
            </a:r>
          </a:p>
          <a:p>
            <a:pPr marL="742950" lvl="1" indent="-285750">
              <a:buFont typeface="Arial" panose="020B0604020202020204" pitchFamily="34" charset="0"/>
              <a:buChar char="•"/>
            </a:pPr>
            <a:endParaRPr lang="en-US" sz="1000" dirty="0">
              <a:solidFill>
                <a:schemeClr val="tx1"/>
              </a:solidFill>
            </a:endParaRPr>
          </a:p>
          <a:p>
            <a:pPr>
              <a:buNone/>
            </a:pPr>
            <a:r>
              <a:rPr lang="en-US" sz="1000" b="1" dirty="0">
                <a:solidFill>
                  <a:schemeClr val="tx1"/>
                </a:solidFill>
              </a:rPr>
              <a:t>2) Rollout and pacing</a:t>
            </a:r>
          </a:p>
          <a:p>
            <a:pPr>
              <a:buFont typeface="Arial" panose="020B0604020202020204" pitchFamily="34" charset="0"/>
              <a:buChar char="•"/>
            </a:pPr>
            <a:r>
              <a:rPr lang="en-US" sz="1000" b="1" dirty="0">
                <a:solidFill>
                  <a:schemeClr val="tx1"/>
                </a:solidFill>
              </a:rPr>
              <a:t>Start date</a:t>
            </a:r>
            <a:r>
              <a:rPr lang="en-US" sz="1000" dirty="0">
                <a:solidFill>
                  <a:schemeClr val="tx1"/>
                </a:solidFill>
              </a:rPr>
              <a:t> (dropdown): </a:t>
            </a:r>
            <a:r>
              <a:rPr lang="en-US" sz="1000" i="1" dirty="0">
                <a:solidFill>
                  <a:schemeClr val="tx1"/>
                </a:solidFill>
              </a:rPr>
              <a:t>Immediate / 6 months / 12 months</a:t>
            </a:r>
            <a:endParaRPr lang="en-US" sz="1000" dirty="0">
              <a:solidFill>
                <a:schemeClr val="tx1"/>
              </a:solidFill>
            </a:endParaRPr>
          </a:p>
          <a:p>
            <a:pPr>
              <a:buFont typeface="Arial" panose="020B0604020202020204" pitchFamily="34" charset="0"/>
              <a:buChar char="•"/>
            </a:pPr>
            <a:r>
              <a:rPr lang="en-US" sz="1000" b="1" dirty="0">
                <a:solidFill>
                  <a:schemeClr val="tx1"/>
                </a:solidFill>
              </a:rPr>
              <a:t>Phasing approach</a:t>
            </a:r>
            <a:r>
              <a:rPr lang="en-US" sz="1000" dirty="0">
                <a:solidFill>
                  <a:schemeClr val="tx1"/>
                </a:solidFill>
              </a:rPr>
              <a:t> (dropdown)</a:t>
            </a:r>
          </a:p>
          <a:p>
            <a:pPr marL="742950" lvl="1" indent="-285750">
              <a:buFont typeface="Arial" panose="020B0604020202020204" pitchFamily="34" charset="0"/>
              <a:buChar char="•"/>
            </a:pPr>
            <a:r>
              <a:rPr lang="en-US" sz="1000" i="1" dirty="0">
                <a:solidFill>
                  <a:schemeClr val="tx1"/>
                </a:solidFill>
              </a:rPr>
              <a:t>Pilot zones first</a:t>
            </a:r>
            <a:r>
              <a:rPr lang="en-US" sz="1000" dirty="0">
                <a:solidFill>
                  <a:schemeClr val="tx1"/>
                </a:solidFill>
              </a:rPr>
              <a:t> / </a:t>
            </a:r>
            <a:r>
              <a:rPr lang="en-US" sz="1000" i="1" dirty="0">
                <a:solidFill>
                  <a:schemeClr val="tx1"/>
                </a:solidFill>
              </a:rPr>
              <a:t>By asset type first</a:t>
            </a:r>
            <a:r>
              <a:rPr lang="en-US" sz="1000" dirty="0">
                <a:solidFill>
                  <a:schemeClr val="tx1"/>
                </a:solidFill>
              </a:rPr>
              <a:t> / </a:t>
            </a:r>
            <a:r>
              <a:rPr lang="en-US" sz="1000" i="1" dirty="0">
                <a:solidFill>
                  <a:schemeClr val="tx1"/>
                </a:solidFill>
              </a:rPr>
              <a:t>All at once</a:t>
            </a:r>
            <a:endParaRPr lang="en-US" sz="1000" dirty="0">
              <a:solidFill>
                <a:schemeClr val="tx1"/>
              </a:solidFill>
            </a:endParaRPr>
          </a:p>
          <a:p>
            <a:pPr>
              <a:buFont typeface="Arial" panose="020B0604020202020204" pitchFamily="34" charset="0"/>
              <a:buChar char="•"/>
            </a:pPr>
            <a:r>
              <a:rPr lang="en-US" sz="1000" b="1" dirty="0">
                <a:solidFill>
                  <a:schemeClr val="tx1"/>
                </a:solidFill>
              </a:rPr>
              <a:t>Annual cap on transactions</a:t>
            </a:r>
            <a:r>
              <a:rPr lang="en-US" sz="1000" dirty="0">
                <a:solidFill>
                  <a:schemeClr val="tx1"/>
                </a:solidFill>
              </a:rPr>
              <a:t> (slider, % of total city transactions)</a:t>
            </a:r>
          </a:p>
          <a:p>
            <a:pPr marL="742950" lvl="1" indent="-285750">
              <a:buFont typeface="Arial" panose="020B0604020202020204" pitchFamily="34" charset="0"/>
              <a:buChar char="•"/>
            </a:pPr>
            <a:r>
              <a:rPr lang="en-US" sz="1000" b="1" dirty="0">
                <a:solidFill>
                  <a:schemeClr val="tx1"/>
                </a:solidFill>
              </a:rPr>
              <a:t>0%–10%</a:t>
            </a:r>
            <a:r>
              <a:rPr lang="en-US" sz="1000" dirty="0">
                <a:solidFill>
                  <a:schemeClr val="tx1"/>
                </a:solidFill>
              </a:rPr>
              <a:t>, default </a:t>
            </a:r>
            <a:r>
              <a:rPr lang="en-US" sz="1000" b="1" dirty="0">
                <a:solidFill>
                  <a:schemeClr val="tx1"/>
                </a:solidFill>
              </a:rPr>
              <a:t>2%</a:t>
            </a:r>
            <a:endParaRPr lang="en-US" sz="1000" dirty="0">
              <a:solidFill>
                <a:schemeClr val="tx1"/>
              </a:solidFill>
            </a:endParaRPr>
          </a:p>
          <a:p>
            <a:pPr>
              <a:buFont typeface="Arial" panose="020B0604020202020204" pitchFamily="34" charset="0"/>
              <a:buChar char="•"/>
            </a:pPr>
            <a:r>
              <a:rPr lang="en-US" sz="1000" b="1" dirty="0">
                <a:solidFill>
                  <a:schemeClr val="tx1"/>
                </a:solidFill>
              </a:rPr>
              <a:t>Time to expand beyond pilot</a:t>
            </a:r>
            <a:r>
              <a:rPr lang="en-US" sz="1000" dirty="0">
                <a:solidFill>
                  <a:schemeClr val="tx1"/>
                </a:solidFill>
              </a:rPr>
              <a:t> (dropdown): </a:t>
            </a:r>
            <a:r>
              <a:rPr lang="en-US" sz="1000" i="1" dirty="0">
                <a:solidFill>
                  <a:schemeClr val="tx1"/>
                </a:solidFill>
              </a:rPr>
              <a:t>6 / 12 / 18 months</a:t>
            </a:r>
          </a:p>
          <a:p>
            <a:pPr>
              <a:buFont typeface="Arial" panose="020B0604020202020204" pitchFamily="34" charset="0"/>
              <a:buChar char="•"/>
            </a:pPr>
            <a:endParaRPr lang="en-US" sz="1000" dirty="0">
              <a:solidFill>
                <a:schemeClr val="tx1"/>
              </a:solidFill>
            </a:endParaRPr>
          </a:p>
          <a:p>
            <a:pPr>
              <a:buNone/>
            </a:pPr>
            <a:r>
              <a:rPr lang="en-US" sz="1000" b="1" dirty="0">
                <a:solidFill>
                  <a:schemeClr val="tx1"/>
                </a:solidFill>
              </a:rPr>
              <a:t>3) Demand uplift assumptions</a:t>
            </a:r>
          </a:p>
          <a:p>
            <a:pPr>
              <a:buFont typeface="Arial" panose="020B0604020202020204" pitchFamily="34" charset="0"/>
              <a:buChar char="•"/>
            </a:pPr>
            <a:r>
              <a:rPr lang="en-US" sz="1000" b="1" dirty="0">
                <a:solidFill>
                  <a:schemeClr val="tx1"/>
                </a:solidFill>
              </a:rPr>
              <a:t>Incremental foreign buyer share in eligible zones</a:t>
            </a:r>
            <a:r>
              <a:rPr lang="en-US" sz="1000" dirty="0">
                <a:solidFill>
                  <a:schemeClr val="tx1"/>
                </a:solidFill>
              </a:rPr>
              <a:t> (slider, % of transactions in eligible zones)</a:t>
            </a:r>
          </a:p>
          <a:p>
            <a:pPr marL="742950" lvl="1" indent="-285750">
              <a:buFont typeface="Arial" panose="020B0604020202020204" pitchFamily="34" charset="0"/>
              <a:buChar char="•"/>
            </a:pPr>
            <a:r>
              <a:rPr lang="en-US" sz="1000" b="1" dirty="0">
                <a:solidFill>
                  <a:schemeClr val="tx1"/>
                </a:solidFill>
              </a:rPr>
              <a:t>0%–15%</a:t>
            </a:r>
            <a:r>
              <a:rPr lang="en-US" sz="1000" dirty="0">
                <a:solidFill>
                  <a:schemeClr val="tx1"/>
                </a:solidFill>
              </a:rPr>
              <a:t>, default </a:t>
            </a:r>
            <a:r>
              <a:rPr lang="en-US" sz="1000" b="1" dirty="0">
                <a:solidFill>
                  <a:schemeClr val="tx1"/>
                </a:solidFill>
              </a:rPr>
              <a:t>5%</a:t>
            </a:r>
            <a:endParaRPr lang="en-US" sz="1000" dirty="0">
              <a:solidFill>
                <a:schemeClr val="tx1"/>
              </a:solidFill>
            </a:endParaRPr>
          </a:p>
          <a:p>
            <a:pPr>
              <a:buFont typeface="Arial" panose="020B0604020202020204" pitchFamily="34" charset="0"/>
              <a:buChar char="•"/>
            </a:pPr>
            <a:r>
              <a:rPr lang="en-US" sz="1000" b="1" dirty="0">
                <a:solidFill>
                  <a:schemeClr val="tx1"/>
                </a:solidFill>
              </a:rPr>
              <a:t>Capital inflow intensity</a:t>
            </a:r>
            <a:r>
              <a:rPr lang="en-US" sz="1000" dirty="0">
                <a:solidFill>
                  <a:schemeClr val="tx1"/>
                </a:solidFill>
              </a:rPr>
              <a:t> (dropdown)</a:t>
            </a:r>
          </a:p>
          <a:p>
            <a:pPr marL="742950" lvl="1" indent="-285750">
              <a:buFont typeface="Arial" panose="020B0604020202020204" pitchFamily="34" charset="0"/>
              <a:buChar char="•"/>
            </a:pPr>
            <a:r>
              <a:rPr lang="en-US" sz="1000" i="1" dirty="0">
                <a:solidFill>
                  <a:schemeClr val="tx1"/>
                </a:solidFill>
              </a:rPr>
              <a:t>Low / Medium / High</a:t>
            </a:r>
            <a:r>
              <a:rPr lang="en-US" sz="1000" dirty="0">
                <a:solidFill>
                  <a:schemeClr val="tx1"/>
                </a:solidFill>
              </a:rPr>
              <a:t> (maps to the slider above)</a:t>
            </a:r>
          </a:p>
          <a:p>
            <a:pPr>
              <a:buFont typeface="Arial" panose="020B0604020202020204" pitchFamily="34" charset="0"/>
              <a:buChar char="•"/>
            </a:pPr>
            <a:r>
              <a:rPr lang="en-US" sz="1000" b="1" dirty="0">
                <a:solidFill>
                  <a:schemeClr val="tx1"/>
                </a:solidFill>
              </a:rPr>
              <a:t>Speculative share of foreign purchases</a:t>
            </a:r>
            <a:r>
              <a:rPr lang="en-US" sz="1000" dirty="0">
                <a:solidFill>
                  <a:schemeClr val="tx1"/>
                </a:solidFill>
              </a:rPr>
              <a:t> (slider, % of foreign purchases)</a:t>
            </a:r>
          </a:p>
          <a:p>
            <a:pPr marL="742950" lvl="1" indent="-285750">
              <a:buFont typeface="Arial" panose="020B0604020202020204" pitchFamily="34" charset="0"/>
              <a:buChar char="•"/>
            </a:pPr>
            <a:r>
              <a:rPr lang="en-US" sz="1000" b="1" dirty="0">
                <a:solidFill>
                  <a:schemeClr val="tx1"/>
                </a:solidFill>
              </a:rPr>
              <a:t>0%–40%</a:t>
            </a:r>
            <a:r>
              <a:rPr lang="en-US" sz="1000" dirty="0">
                <a:solidFill>
                  <a:schemeClr val="tx1"/>
                </a:solidFill>
              </a:rPr>
              <a:t>, default </a:t>
            </a:r>
            <a:r>
              <a:rPr lang="en-US" sz="1000" b="1" dirty="0">
                <a:solidFill>
                  <a:schemeClr val="tx1"/>
                </a:solidFill>
              </a:rPr>
              <a:t>15%</a:t>
            </a:r>
          </a:p>
          <a:p>
            <a:pPr marL="742950" lvl="1" indent="-285750">
              <a:buFont typeface="Arial" panose="020B0604020202020204" pitchFamily="34" charset="0"/>
              <a:buChar char="•"/>
            </a:pPr>
            <a:endParaRPr lang="en-US" sz="1000" dirty="0">
              <a:solidFill>
                <a:schemeClr val="tx1"/>
              </a:solidFill>
            </a:endParaRPr>
          </a:p>
          <a:p>
            <a:pPr>
              <a:buNone/>
            </a:pPr>
            <a:r>
              <a:rPr lang="en-US" sz="1000" b="1" dirty="0">
                <a:solidFill>
                  <a:schemeClr val="tx1"/>
                </a:solidFill>
              </a:rPr>
              <a:t>4) Safeguards and access conditions</a:t>
            </a:r>
          </a:p>
          <a:p>
            <a:pPr>
              <a:buFont typeface="Arial" panose="020B0604020202020204" pitchFamily="34" charset="0"/>
              <a:buChar char="•"/>
            </a:pPr>
            <a:r>
              <a:rPr lang="en-US" sz="1000" b="1" dirty="0">
                <a:solidFill>
                  <a:schemeClr val="tx1"/>
                </a:solidFill>
              </a:rPr>
              <a:t>Minimum holding period</a:t>
            </a:r>
            <a:r>
              <a:rPr lang="en-US" sz="1000" dirty="0">
                <a:solidFill>
                  <a:schemeClr val="tx1"/>
                </a:solidFill>
              </a:rPr>
              <a:t> (dropdown): </a:t>
            </a:r>
            <a:r>
              <a:rPr lang="en-US" sz="1000" i="1" dirty="0">
                <a:solidFill>
                  <a:schemeClr val="tx1"/>
                </a:solidFill>
              </a:rPr>
              <a:t>None / 1 year / 2 years / 3 years</a:t>
            </a:r>
            <a:endParaRPr lang="en-US" sz="1000" dirty="0">
              <a:solidFill>
                <a:schemeClr val="tx1"/>
              </a:solidFill>
            </a:endParaRPr>
          </a:p>
          <a:p>
            <a:pPr>
              <a:buFont typeface="Arial" panose="020B0604020202020204" pitchFamily="34" charset="0"/>
              <a:buChar char="•"/>
            </a:pPr>
            <a:r>
              <a:rPr lang="en-US" sz="1000" b="1" dirty="0">
                <a:solidFill>
                  <a:schemeClr val="tx1"/>
                </a:solidFill>
              </a:rPr>
              <a:t>Off-plan purchase allowed</a:t>
            </a:r>
            <a:r>
              <a:rPr lang="en-US" sz="1000" dirty="0">
                <a:solidFill>
                  <a:schemeClr val="tx1"/>
                </a:solidFill>
              </a:rPr>
              <a:t> (toggle): </a:t>
            </a:r>
            <a:r>
              <a:rPr lang="en-US" sz="1000" i="1" dirty="0">
                <a:solidFill>
                  <a:schemeClr val="tx1"/>
                </a:solidFill>
              </a:rPr>
              <a:t>Yes/No</a:t>
            </a:r>
            <a:endParaRPr lang="en-US" sz="1000" dirty="0">
              <a:solidFill>
                <a:schemeClr val="tx1"/>
              </a:solidFill>
            </a:endParaRPr>
          </a:p>
          <a:p>
            <a:pPr>
              <a:buFont typeface="Arial" panose="020B0604020202020204" pitchFamily="34" charset="0"/>
              <a:buChar char="•"/>
            </a:pPr>
            <a:r>
              <a:rPr lang="en-US" sz="1000" b="1" dirty="0">
                <a:solidFill>
                  <a:schemeClr val="tx1"/>
                </a:solidFill>
              </a:rPr>
              <a:t>Residency / usage requirement</a:t>
            </a:r>
            <a:r>
              <a:rPr lang="en-US" sz="1000" dirty="0">
                <a:solidFill>
                  <a:schemeClr val="tx1"/>
                </a:solidFill>
              </a:rPr>
              <a:t> (dropdown)</a:t>
            </a:r>
          </a:p>
          <a:p>
            <a:pPr marL="742950" lvl="1" indent="-285750">
              <a:buFont typeface="Arial" panose="020B0604020202020204" pitchFamily="34" charset="0"/>
              <a:buChar char="•"/>
            </a:pPr>
            <a:r>
              <a:rPr lang="en-US" sz="1000" i="1" dirty="0">
                <a:solidFill>
                  <a:schemeClr val="tx1"/>
                </a:solidFill>
              </a:rPr>
              <a:t>None</a:t>
            </a:r>
            <a:r>
              <a:rPr lang="en-US" sz="1000" dirty="0">
                <a:solidFill>
                  <a:schemeClr val="tx1"/>
                </a:solidFill>
              </a:rPr>
              <a:t> / </a:t>
            </a:r>
            <a:r>
              <a:rPr lang="en-US" sz="1000" i="1" dirty="0">
                <a:solidFill>
                  <a:schemeClr val="tx1"/>
                </a:solidFill>
              </a:rPr>
              <a:t>Primary residence</a:t>
            </a:r>
            <a:r>
              <a:rPr lang="en-US" sz="1000" dirty="0">
                <a:solidFill>
                  <a:schemeClr val="tx1"/>
                </a:solidFill>
              </a:rPr>
              <a:t> / </a:t>
            </a:r>
            <a:r>
              <a:rPr lang="en-US" sz="1000" i="1" dirty="0">
                <a:solidFill>
                  <a:schemeClr val="tx1"/>
                </a:solidFill>
              </a:rPr>
              <a:t>Owner-occupier share threshold</a:t>
            </a:r>
            <a:endParaRPr lang="en-US" sz="1000" dirty="0">
              <a:solidFill>
                <a:schemeClr val="tx1"/>
              </a:solidFill>
            </a:endParaRPr>
          </a:p>
          <a:p>
            <a:pPr>
              <a:buFont typeface="Arial" panose="020B0604020202020204" pitchFamily="34" charset="0"/>
              <a:buChar char="•"/>
            </a:pPr>
            <a:r>
              <a:rPr lang="en-US" sz="1000" b="1" dirty="0">
                <a:solidFill>
                  <a:schemeClr val="tx1"/>
                </a:solidFill>
              </a:rPr>
              <a:t>Anti-flip measures</a:t>
            </a:r>
            <a:r>
              <a:rPr lang="en-US" sz="1000" dirty="0">
                <a:solidFill>
                  <a:schemeClr val="tx1"/>
                </a:solidFill>
              </a:rPr>
              <a:t> (toggle): </a:t>
            </a:r>
            <a:r>
              <a:rPr lang="en-US" sz="1000" i="1" dirty="0">
                <a:solidFill>
                  <a:schemeClr val="tx1"/>
                </a:solidFill>
              </a:rPr>
              <a:t>On/Off</a:t>
            </a:r>
            <a:endParaRPr lang="en-US" sz="1000" dirty="0">
              <a:solidFill>
                <a:schemeClr val="tx1"/>
              </a:solidFill>
            </a:endParaRPr>
          </a:p>
          <a:p>
            <a:pPr marL="742950" lvl="1" indent="-285750">
              <a:buFont typeface="Arial" panose="020B0604020202020204" pitchFamily="34" charset="0"/>
              <a:buChar char="•"/>
            </a:pPr>
            <a:r>
              <a:rPr lang="en-US" sz="1000" dirty="0">
                <a:solidFill>
                  <a:schemeClr val="tx1"/>
                </a:solidFill>
              </a:rPr>
              <a:t>If On, set </a:t>
            </a:r>
            <a:r>
              <a:rPr lang="en-US" sz="1000" b="1" dirty="0">
                <a:solidFill>
                  <a:schemeClr val="tx1"/>
                </a:solidFill>
              </a:rPr>
              <a:t>flip tax / resale restriction</a:t>
            </a:r>
            <a:r>
              <a:rPr lang="en-US" sz="1000" dirty="0">
                <a:solidFill>
                  <a:schemeClr val="tx1"/>
                </a:solidFill>
              </a:rPr>
              <a:t> (dropdown): </a:t>
            </a:r>
            <a:r>
              <a:rPr lang="en-US" sz="1000" i="1" dirty="0">
                <a:solidFill>
                  <a:schemeClr val="tx1"/>
                </a:solidFill>
              </a:rPr>
              <a:t>Light / Standard / Strong</a:t>
            </a:r>
          </a:p>
          <a:p>
            <a:pPr marL="742950" lvl="1" indent="-285750">
              <a:buFont typeface="Arial" panose="020B0604020202020204" pitchFamily="34" charset="0"/>
              <a:buChar char="•"/>
            </a:pPr>
            <a:endParaRPr lang="en-US" sz="1000" dirty="0">
              <a:solidFill>
                <a:schemeClr val="tx1"/>
              </a:solidFill>
            </a:endParaRPr>
          </a:p>
          <a:p>
            <a:pPr>
              <a:buNone/>
            </a:pPr>
            <a:r>
              <a:rPr lang="en-US" sz="1000" b="1" dirty="0">
                <a:solidFill>
                  <a:schemeClr val="tx1"/>
                </a:solidFill>
              </a:rPr>
              <a:t>5) Supply response settings (the key driver)</a:t>
            </a:r>
          </a:p>
          <a:p>
            <a:pPr>
              <a:buFont typeface="Arial" panose="020B0604020202020204" pitchFamily="34" charset="0"/>
              <a:buChar char="•"/>
            </a:pPr>
            <a:r>
              <a:rPr lang="en-US" sz="1000" b="1" dirty="0">
                <a:solidFill>
                  <a:schemeClr val="tx1"/>
                </a:solidFill>
              </a:rPr>
              <a:t>Supply responsiveness in opened zones</a:t>
            </a:r>
            <a:r>
              <a:rPr lang="en-US" sz="1000" dirty="0">
                <a:solidFill>
                  <a:schemeClr val="tx1"/>
                </a:solidFill>
              </a:rPr>
              <a:t> (dropdown)</a:t>
            </a:r>
          </a:p>
          <a:p>
            <a:pPr marL="742950" lvl="1" indent="-285750">
              <a:buFont typeface="Arial" panose="020B0604020202020204" pitchFamily="34" charset="0"/>
              <a:buChar char="•"/>
            </a:pPr>
            <a:r>
              <a:rPr lang="en-US" sz="1000" i="1" dirty="0">
                <a:solidFill>
                  <a:schemeClr val="tx1"/>
                </a:solidFill>
              </a:rPr>
              <a:t>Slow / Medium / Fast</a:t>
            </a:r>
            <a:endParaRPr lang="en-US" sz="1000" dirty="0">
              <a:solidFill>
                <a:schemeClr val="tx1"/>
              </a:solidFill>
            </a:endParaRPr>
          </a:p>
          <a:p>
            <a:pPr>
              <a:buFont typeface="Arial" panose="020B0604020202020204" pitchFamily="34" charset="0"/>
              <a:buChar char="•"/>
            </a:pPr>
            <a:r>
              <a:rPr lang="en-US" sz="1000" b="1" dirty="0">
                <a:solidFill>
                  <a:schemeClr val="tx1"/>
                </a:solidFill>
              </a:rPr>
              <a:t>Permitting/approvals acceleration</a:t>
            </a:r>
            <a:r>
              <a:rPr lang="en-US" sz="1000" dirty="0">
                <a:solidFill>
                  <a:schemeClr val="tx1"/>
                </a:solidFill>
              </a:rPr>
              <a:t> (slider, % reduction in cycle time)</a:t>
            </a:r>
          </a:p>
          <a:p>
            <a:pPr marL="742950" lvl="1" indent="-285750">
              <a:buFont typeface="Arial" panose="020B0604020202020204" pitchFamily="34" charset="0"/>
              <a:buChar char="•"/>
            </a:pPr>
            <a:r>
              <a:rPr lang="en-US" sz="1000" b="1" dirty="0">
                <a:solidFill>
                  <a:schemeClr val="tx1"/>
                </a:solidFill>
              </a:rPr>
              <a:t>0%–30%</a:t>
            </a:r>
            <a:r>
              <a:rPr lang="en-US" sz="1000" dirty="0">
                <a:solidFill>
                  <a:schemeClr val="tx1"/>
                </a:solidFill>
              </a:rPr>
              <a:t>, default </a:t>
            </a:r>
            <a:r>
              <a:rPr lang="en-US" sz="1000" b="1" dirty="0">
                <a:solidFill>
                  <a:schemeClr val="tx1"/>
                </a:solidFill>
              </a:rPr>
              <a:t>10%</a:t>
            </a:r>
            <a:endParaRPr lang="en-US" sz="1000" dirty="0">
              <a:solidFill>
                <a:schemeClr val="tx1"/>
              </a:solidFill>
            </a:endParaRPr>
          </a:p>
          <a:p>
            <a:pPr>
              <a:buFont typeface="Arial" panose="020B0604020202020204" pitchFamily="34" charset="0"/>
              <a:buChar char="•"/>
            </a:pPr>
            <a:r>
              <a:rPr lang="en-US" sz="1000" b="1" dirty="0">
                <a:solidFill>
                  <a:schemeClr val="tx1"/>
                </a:solidFill>
              </a:rPr>
              <a:t>Land activation effectiveness (WLF / planning reforms active?)</a:t>
            </a:r>
            <a:r>
              <a:rPr lang="en-US" sz="1000" dirty="0">
                <a:solidFill>
                  <a:schemeClr val="tx1"/>
                </a:solidFill>
              </a:rPr>
              <a:t> (multi-toggle)</a:t>
            </a:r>
          </a:p>
          <a:p>
            <a:pPr marL="742950" lvl="1" indent="-285750">
              <a:buFont typeface="Arial" panose="020B0604020202020204" pitchFamily="34" charset="0"/>
              <a:buChar char="•"/>
            </a:pPr>
            <a:r>
              <a:rPr lang="en-US" sz="1000" i="1" dirty="0">
                <a:solidFill>
                  <a:schemeClr val="tx1"/>
                </a:solidFill>
              </a:rPr>
              <a:t>WLF strengthened (On/Off)</a:t>
            </a:r>
            <a:endParaRPr lang="en-US" sz="1000" dirty="0">
              <a:solidFill>
                <a:schemeClr val="tx1"/>
              </a:solidFill>
            </a:endParaRPr>
          </a:p>
          <a:p>
            <a:pPr marL="742950" lvl="1" indent="-285750">
              <a:buFont typeface="Arial" panose="020B0604020202020204" pitchFamily="34" charset="0"/>
              <a:buChar char="•"/>
            </a:pPr>
            <a:r>
              <a:rPr lang="en-US" sz="1000" i="1" dirty="0">
                <a:solidFill>
                  <a:schemeClr val="tx1"/>
                </a:solidFill>
              </a:rPr>
              <a:t>Planning/transaction reform (On/Off)</a:t>
            </a:r>
            <a:endParaRPr lang="en-US" sz="1000" dirty="0">
              <a:solidFill>
                <a:schemeClr val="tx1"/>
              </a:solidFill>
            </a:endParaRPr>
          </a:p>
          <a:p>
            <a:pPr marL="742950" lvl="1" indent="-285750">
              <a:buFont typeface="Arial" panose="020B0604020202020204" pitchFamily="34" charset="0"/>
              <a:buChar char="•"/>
            </a:pPr>
            <a:r>
              <a:rPr lang="en-US" sz="1000" i="1" dirty="0">
                <a:solidFill>
                  <a:schemeClr val="tx1"/>
                </a:solidFill>
              </a:rPr>
              <a:t>Vacancy activation (On/Off)</a:t>
            </a:r>
            <a:endParaRPr lang="en-US" sz="1000" dirty="0">
              <a:solidFill>
                <a:schemeClr val="tx1"/>
              </a:solidFill>
            </a:endParaRPr>
          </a:p>
          <a:p>
            <a:pPr>
              <a:buFont typeface="Arial" panose="020B0604020202020204" pitchFamily="34" charset="0"/>
              <a:buChar char="•"/>
            </a:pPr>
            <a:r>
              <a:rPr lang="en-US" sz="1000" b="1" dirty="0">
                <a:solidFill>
                  <a:schemeClr val="tx1"/>
                </a:solidFill>
              </a:rPr>
              <a:t>New completions uplift from added capital</a:t>
            </a:r>
            <a:r>
              <a:rPr lang="en-US" sz="1000" dirty="0">
                <a:solidFill>
                  <a:schemeClr val="tx1"/>
                </a:solidFill>
              </a:rPr>
              <a:t> (slider, % by year 3–5)</a:t>
            </a:r>
          </a:p>
          <a:p>
            <a:pPr marL="742950" lvl="1" indent="-285750">
              <a:buFont typeface="Arial" panose="020B0604020202020204" pitchFamily="34" charset="0"/>
              <a:buChar char="•"/>
            </a:pPr>
            <a:r>
              <a:rPr lang="en-US" sz="1000" b="1" dirty="0">
                <a:solidFill>
                  <a:schemeClr val="tx1"/>
                </a:solidFill>
              </a:rPr>
              <a:t>0%–20%</a:t>
            </a:r>
            <a:r>
              <a:rPr lang="en-US" sz="1000" dirty="0">
                <a:solidFill>
                  <a:schemeClr val="tx1"/>
                </a:solidFill>
              </a:rPr>
              <a:t>, default </a:t>
            </a:r>
            <a:r>
              <a:rPr lang="en-US" sz="1000" b="1" dirty="0">
                <a:solidFill>
                  <a:schemeClr val="tx1"/>
                </a:solidFill>
              </a:rPr>
              <a:t>5%</a:t>
            </a:r>
            <a:endParaRPr lang="en-US" sz="1000" dirty="0">
              <a:solidFill>
                <a:schemeClr val="tx1"/>
              </a:solidFill>
            </a:endParaRPr>
          </a:p>
          <a:p>
            <a:pPr>
              <a:buNone/>
            </a:pPr>
            <a:endParaRPr lang="en-US" sz="1000" b="1" dirty="0">
              <a:solidFill>
                <a:schemeClr val="tx1"/>
              </a:solidFill>
            </a:endParaRPr>
          </a:p>
          <a:p>
            <a:pPr>
              <a:buNone/>
            </a:pPr>
            <a:r>
              <a:rPr lang="en-US" sz="1000" b="1" dirty="0">
                <a:solidFill>
                  <a:schemeClr val="tx1"/>
                </a:solidFill>
              </a:rPr>
              <a:t>6) Implementation strength</a:t>
            </a:r>
          </a:p>
          <a:p>
            <a:pPr>
              <a:buFont typeface="Arial" panose="020B0604020202020204" pitchFamily="34" charset="0"/>
              <a:buChar char="•"/>
            </a:pPr>
            <a:r>
              <a:rPr lang="en-US" sz="1000" b="1" dirty="0">
                <a:solidFill>
                  <a:schemeClr val="tx1"/>
                </a:solidFill>
              </a:rPr>
              <a:t>Compliance &amp; enforcement strength</a:t>
            </a:r>
            <a:r>
              <a:rPr lang="en-US" sz="1000" dirty="0">
                <a:solidFill>
                  <a:schemeClr val="tx1"/>
                </a:solidFill>
              </a:rPr>
              <a:t> (dropdown)</a:t>
            </a:r>
          </a:p>
          <a:p>
            <a:pPr marL="742950" lvl="1" indent="-285750">
              <a:buFont typeface="Arial" panose="020B0604020202020204" pitchFamily="34" charset="0"/>
              <a:buChar char="•"/>
            </a:pPr>
            <a:r>
              <a:rPr lang="en-US" sz="1000" i="1" dirty="0">
                <a:solidFill>
                  <a:schemeClr val="tx1"/>
                </a:solidFill>
              </a:rPr>
              <a:t>Low / Medium / High</a:t>
            </a:r>
            <a:endParaRPr lang="en-US" sz="1000" dirty="0">
              <a:solidFill>
                <a:schemeClr val="tx1"/>
              </a:solidFill>
            </a:endParaRPr>
          </a:p>
          <a:p>
            <a:pPr>
              <a:buFont typeface="Arial" panose="020B0604020202020204" pitchFamily="34" charset="0"/>
              <a:buChar char="•"/>
            </a:pPr>
            <a:r>
              <a:rPr lang="en-US" sz="1000" b="1" dirty="0">
                <a:solidFill>
                  <a:schemeClr val="tx1"/>
                </a:solidFill>
              </a:rPr>
              <a:t>Registry data quality / transparency</a:t>
            </a:r>
            <a:r>
              <a:rPr lang="en-US" sz="1000" dirty="0">
                <a:solidFill>
                  <a:schemeClr val="tx1"/>
                </a:solidFill>
              </a:rPr>
              <a:t> (dropdown)</a:t>
            </a:r>
          </a:p>
          <a:p>
            <a:pPr marL="742950" lvl="1" indent="-285750">
              <a:buFont typeface="Arial" panose="020B0604020202020204" pitchFamily="34" charset="0"/>
              <a:buChar char="•"/>
            </a:pPr>
            <a:r>
              <a:rPr lang="en-US" sz="1000" i="1" dirty="0">
                <a:solidFill>
                  <a:schemeClr val="tx1"/>
                </a:solidFill>
              </a:rPr>
              <a:t>Basic / Good / Best-in-class</a:t>
            </a:r>
            <a:endParaRPr lang="en-US" sz="1000" dirty="0">
              <a:solidFill>
                <a:schemeClr val="tx1"/>
              </a:solidFill>
            </a:endParaRPr>
          </a:p>
          <a:p>
            <a:pPr>
              <a:buFont typeface="Arial" panose="020B0604020202020204" pitchFamily="34" charset="0"/>
              <a:buChar char="•"/>
            </a:pPr>
            <a:r>
              <a:rPr lang="en-US" sz="1000" b="1" dirty="0">
                <a:solidFill>
                  <a:schemeClr val="tx1"/>
                </a:solidFill>
              </a:rPr>
              <a:t>Time to full </a:t>
            </a:r>
            <a:r>
              <a:rPr lang="en-US" sz="1000" b="1" dirty="0" err="1">
                <a:solidFill>
                  <a:schemeClr val="tx1"/>
                </a:solidFill>
              </a:rPr>
              <a:t>operationalisation</a:t>
            </a:r>
            <a:r>
              <a:rPr lang="en-US" sz="1000" dirty="0">
                <a:solidFill>
                  <a:schemeClr val="tx1"/>
                </a:solidFill>
              </a:rPr>
              <a:t> (dropdown): </a:t>
            </a:r>
            <a:r>
              <a:rPr lang="en-US" sz="1000" i="1" dirty="0">
                <a:solidFill>
                  <a:schemeClr val="tx1"/>
                </a:solidFill>
              </a:rPr>
              <a:t>3 / 6 / 12 months</a:t>
            </a:r>
            <a:endParaRPr lang="en-US" sz="1000" dirty="0">
              <a:solidFill>
                <a:schemeClr val="tx1"/>
              </a:solidFill>
            </a:endParaRPr>
          </a:p>
        </p:txBody>
      </p:sp>
      <p:sp>
        <p:nvSpPr>
          <p:cNvPr id="10" name="Graphic 3">
            <a:extLst>
              <a:ext uri="{FF2B5EF4-FFF2-40B4-BE49-F238E27FC236}">
                <a16:creationId xmlns:a16="http://schemas.microsoft.com/office/drawing/2014/main" id="{F46D0F0E-809B-B756-E6DC-6F8DCE8E4D6B}"/>
              </a:ext>
            </a:extLst>
          </p:cNvPr>
          <p:cNvSpPr>
            <a:spLocks/>
          </p:cNvSpPr>
          <p:nvPr/>
        </p:nvSpPr>
        <p:spPr>
          <a:xfrm>
            <a:off x="6084268" y="923374"/>
            <a:ext cx="1755775" cy="296863"/>
          </a:xfrm>
          <a:prstGeom prst="rect">
            <a:avLst/>
          </a:prstGeom>
          <a:solidFill>
            <a:schemeClr val="accent4"/>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solidFill>
                  <a:schemeClr val="bg1"/>
                </a:solidFill>
                <a:effectLst/>
                <a:uLnTx/>
                <a:uFillTx/>
                <a:latin typeface="Trebuchet MS"/>
                <a:ea typeface="+mn-ea"/>
                <a:cs typeface="+mn-cs"/>
              </a:rPr>
              <a:t>Scenario 1</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11" name="Graphic 3">
            <a:extLst>
              <a:ext uri="{FF2B5EF4-FFF2-40B4-BE49-F238E27FC236}">
                <a16:creationId xmlns:a16="http://schemas.microsoft.com/office/drawing/2014/main" id="{3128DEA0-CB32-E2D9-15D1-31C23EC639E9}"/>
              </a:ext>
            </a:extLst>
          </p:cNvPr>
          <p:cNvSpPr>
            <a:spLocks/>
          </p:cNvSpPr>
          <p:nvPr/>
        </p:nvSpPr>
        <p:spPr>
          <a:xfrm>
            <a:off x="7947993" y="923374"/>
            <a:ext cx="1755775" cy="296863"/>
          </a:xfrm>
          <a:prstGeom prst="rect">
            <a:avLst/>
          </a:prstGeom>
          <a:solidFill>
            <a:schemeClr val="accent6">
              <a:lumMod val="60000"/>
              <a:lumOff val="40000"/>
            </a:schemeClr>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solidFill>
                  <a:schemeClr val="bg1"/>
                </a:solidFill>
                <a:effectLst/>
                <a:uLnTx/>
                <a:uFillTx/>
                <a:latin typeface="Trebuchet MS"/>
                <a:ea typeface="+mn-ea"/>
                <a:cs typeface="+mn-cs"/>
              </a:rPr>
              <a:t>Scenario 2</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12" name="Graphic 3">
            <a:extLst>
              <a:ext uri="{FF2B5EF4-FFF2-40B4-BE49-F238E27FC236}">
                <a16:creationId xmlns:a16="http://schemas.microsoft.com/office/drawing/2014/main" id="{776E28F2-92AF-B188-672B-0AB982A6B73F}"/>
              </a:ext>
            </a:extLst>
          </p:cNvPr>
          <p:cNvSpPr>
            <a:spLocks/>
          </p:cNvSpPr>
          <p:nvPr/>
        </p:nvSpPr>
        <p:spPr>
          <a:xfrm>
            <a:off x="9787837" y="930000"/>
            <a:ext cx="1755775" cy="296863"/>
          </a:xfrm>
          <a:prstGeom prst="rect">
            <a:avLst/>
          </a:prstGeom>
          <a:solidFill>
            <a:schemeClr val="accent6">
              <a:lumMod val="60000"/>
              <a:lumOff val="40000"/>
            </a:schemeClr>
          </a:solidFill>
          <a:ln w="0" cap="flat">
            <a:noFill/>
            <a:prstDash val="solid"/>
            <a:miter/>
          </a:ln>
          <a:scene3d>
            <a:camera prst="orthographicFront"/>
            <a:lightRig rig="threePt" dir="t"/>
          </a:scene3d>
          <a:sp3d>
            <a:bevelT prst="angle"/>
          </a:sp3d>
        </p:spPr>
        <p:txBody>
          <a:bodyPr lIns="182880" tIns="0" rIns="182880" rtlCol="0" anchor="ctr"/>
          <a:lstStyle/>
          <a:p>
            <a:pPr marL="0" marR="0" lvl="0" indent="0" algn="ctr" defTabSz="914400" rtl="0" eaLnBrk="1" fontAlgn="auto" latinLnBrk="0" hangingPunct="1">
              <a:lnSpc>
                <a:spcPct val="100000"/>
              </a:lnSpc>
              <a:spcBef>
                <a:spcPts val="0"/>
              </a:spcBef>
              <a:spcAft>
                <a:spcPts val="200"/>
              </a:spcAft>
              <a:buClr>
                <a:srgbClr val="006C67"/>
              </a:buClr>
              <a:buSzTx/>
              <a:buFontTx/>
              <a:buNone/>
              <a:tabLst/>
              <a:defRPr/>
            </a:pPr>
            <a:r>
              <a:rPr kumimoji="0" lang="en-US" sz="1000" b="1" i="0" u="none" strike="noStrike" kern="1200" cap="none" spc="0" normalizeH="0" baseline="0" noProof="0" dirty="0">
                <a:solidFill>
                  <a:schemeClr val="bg1"/>
                </a:solidFill>
                <a:effectLst/>
                <a:uLnTx/>
                <a:uFillTx/>
                <a:latin typeface="Trebuchet MS"/>
                <a:ea typeface="+mn-ea"/>
                <a:cs typeface="+mn-cs"/>
              </a:rPr>
              <a:t>Scenario 3</a:t>
            </a:r>
            <a:endParaRPr kumimoji="0" lang="en-US" sz="1000" b="0" i="1" u="none" strike="noStrike" kern="1200" cap="none" spc="0" normalizeH="0" baseline="0" noProof="0" dirty="0">
              <a:solidFill>
                <a:schemeClr val="bg1"/>
              </a:solidFill>
              <a:effectLst/>
              <a:uLnTx/>
              <a:uFillTx/>
              <a:latin typeface="Trebuchet MS"/>
              <a:ea typeface="+mn-ea"/>
              <a:cs typeface="+mn-cs"/>
            </a:endParaRPr>
          </a:p>
        </p:txBody>
      </p:sp>
      <p:sp>
        <p:nvSpPr>
          <p:cNvPr id="13" name="Rectangle 12">
            <a:extLst>
              <a:ext uri="{FF2B5EF4-FFF2-40B4-BE49-F238E27FC236}">
                <a16:creationId xmlns:a16="http://schemas.microsoft.com/office/drawing/2014/main" id="{255A47DA-D41B-5B77-6516-F7C0B3549C38}"/>
              </a:ext>
            </a:extLst>
          </p:cNvPr>
          <p:cNvSpPr/>
          <p:nvPr/>
        </p:nvSpPr>
        <p:spPr>
          <a:xfrm>
            <a:off x="0" y="0"/>
            <a:ext cx="12192000" cy="494748"/>
          </a:xfrm>
          <a:prstGeom prst="rect">
            <a:avLst/>
          </a:prstGeom>
          <a:gradFill>
            <a:gsLst>
              <a:gs pos="6322">
                <a:schemeClr val="accent2"/>
              </a:gs>
              <a:gs pos="62000">
                <a:schemeClr val="bg2">
                  <a:lumMod val="50000"/>
                  <a:alpha val="57000"/>
                </a:schemeClr>
              </a:gs>
              <a:gs pos="100000">
                <a:schemeClr val="bg1">
                  <a:alpha val="0"/>
                </a:schemeClr>
              </a:gs>
            </a:gsLst>
            <a:lin ang="0" scaled="1"/>
          </a:gradFill>
          <a:ln w="12700" cap="rnd" cmpd="sng" algn="ctr">
            <a:noFill/>
            <a:prstDash val="solid"/>
            <a:round/>
            <a:headEnd type="none" w="med" len="med"/>
            <a:tailEnd type="none" w="med" len="med"/>
          </a:ln>
          <a:effectLst>
            <a:outerShdw blurRad="50800" dist="38100" dir="8100000" algn="tr" rotWithShape="0">
              <a:prstClr val="black">
                <a:alpha val="40000"/>
              </a:prstClr>
            </a:outerShdw>
          </a:effectLst>
        </p:spPr>
        <p:txBody>
          <a:bodyPr rot="0" spcFirstLastPara="0" vertOverflow="overflow" horzOverflow="overflow" vert="horz" wrap="square" lIns="274320" tIns="91440" rIns="182880" bIns="91440" numCol="1" spcCol="0" rtlCol="0" fromWordArt="0" anchor="ctr" anchorCtr="0" forceAA="0" compatLnSpc="1">
            <a:prstTxWarp prst="textNoShape">
              <a:avLst/>
            </a:prstTxWarp>
            <a:noAutofit/>
          </a:bodyPr>
          <a:lstStyle/>
          <a:p>
            <a:pPr algn="l">
              <a:buClr>
                <a:srgbClr val="006C67"/>
              </a:buClr>
            </a:pPr>
            <a:r>
              <a:rPr lang="en-GB" sz="1400" b="1" dirty="0">
                <a:solidFill>
                  <a:schemeClr val="bg1"/>
                </a:solidFill>
              </a:rPr>
              <a:t>                 </a:t>
            </a:r>
            <a:r>
              <a:rPr lang="en-GB" sz="1400" b="1" dirty="0" err="1">
                <a:solidFill>
                  <a:schemeClr val="bg1"/>
                </a:solidFill>
              </a:rPr>
              <a:t>MoMAH</a:t>
            </a:r>
            <a:r>
              <a:rPr lang="en-GB" sz="1400" b="1" dirty="0">
                <a:solidFill>
                  <a:schemeClr val="bg1"/>
                </a:solidFill>
              </a:rPr>
              <a:t> - Decision Support System</a:t>
            </a:r>
          </a:p>
        </p:txBody>
      </p:sp>
      <p:pic>
        <p:nvPicPr>
          <p:cNvPr id="14" name="Graphic 13">
            <a:hlinkClick r:id="rId8" action="ppaction://hlinksldjump"/>
            <a:extLst>
              <a:ext uri="{FF2B5EF4-FFF2-40B4-BE49-F238E27FC236}">
                <a16:creationId xmlns:a16="http://schemas.microsoft.com/office/drawing/2014/main" id="{65F1DF77-5204-C732-76ED-D81E60228C9E}"/>
              </a:ext>
            </a:extLst>
          </p:cNvPr>
          <p:cNvPicPr>
            <a:picLocks noChangeAspect="1"/>
          </p:cNvPicPr>
          <p:nvPr>
            <p:custDataLst>
              <p:tags r:id="rId2"/>
            </p:custDataLst>
          </p:nvPr>
        </p:nvPicPr>
        <p:blipFill>
          <a:blip r:embed="rId9">
            <a:extLst>
              <a:ext uri="{96DAC541-7B7A-43D3-8B79-37D633B846F1}">
                <asvg:svgBlip xmlns:asvg="http://schemas.microsoft.com/office/drawing/2016/SVG/main" r:embed="rId10"/>
              </a:ext>
            </a:extLst>
          </a:blip>
          <a:stretch>
            <a:fillRect/>
          </a:stretch>
        </p:blipFill>
        <p:spPr>
          <a:xfrm>
            <a:off x="99121" y="53075"/>
            <a:ext cx="389863" cy="389863"/>
          </a:xfrm>
          <a:prstGeom prst="rect">
            <a:avLst/>
          </a:prstGeom>
        </p:spPr>
      </p:pic>
      <p:pic>
        <p:nvPicPr>
          <p:cNvPr id="15" name="Graphic 14">
            <a:hlinkClick r:id="rId11" action="ppaction://hlinksldjump"/>
            <a:extLst>
              <a:ext uri="{FF2B5EF4-FFF2-40B4-BE49-F238E27FC236}">
                <a16:creationId xmlns:a16="http://schemas.microsoft.com/office/drawing/2014/main" id="{0D30B957-713A-1D68-52F0-1E11EB2E4E8F}"/>
              </a:ext>
            </a:extLst>
          </p:cNvPr>
          <p:cNvPicPr>
            <a:picLocks noChangeAspect="1"/>
          </p:cNvPicPr>
          <p:nvPr>
            <p:custDataLst>
              <p:tags r:id="rId3"/>
            </p:custDataLst>
          </p:nvPr>
        </p:nvPicPr>
        <p:blipFill>
          <a:blip r:embed="rId12">
            <a:extLst>
              <a:ext uri="{96DAC541-7B7A-43D3-8B79-37D633B846F1}">
                <asvg:svgBlip xmlns:asvg="http://schemas.microsoft.com/office/drawing/2016/SVG/main" r:embed="rId13"/>
              </a:ext>
            </a:extLst>
          </a:blip>
          <a:stretch>
            <a:fillRect/>
          </a:stretch>
        </p:blipFill>
        <p:spPr>
          <a:xfrm>
            <a:off x="583217" y="38405"/>
            <a:ext cx="426129" cy="426129"/>
          </a:xfrm>
          <a:prstGeom prst="rect">
            <a:avLst/>
          </a:prstGeom>
        </p:spPr>
      </p:pic>
    </p:spTree>
    <p:extLst>
      <p:ext uri="{BB962C8B-B14F-4D97-AF65-F5344CB8AC3E}">
        <p14:creationId xmlns:p14="http://schemas.microsoft.com/office/powerpoint/2010/main" val="31973593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EE4P_STYLE_NAME" val="MoMH English Grid 16:9"/>
  <p:tag name="THINKCELLUNDODONOTDELETE" val="0"/>
  <p:tag name="EE4P_STYLE_ID" val="6cd991bf-f022-4378-96e7-2c338aeb3f5a"/>
  <p:tag name="THINKCELLPRESENTATIONDONOTDELETE" val="&lt;?xml version=&quot;1.0&quot; encoding=&quot;UTF-16&quot; standalone=&quot;yes&quot;?&gt;&lt;root reqver=&quot;28224&quot;&gt;&lt;version val=&quot;3582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2.28829690000000018912E+00&quot;&gt;&lt;m_msothmcolidx val=&quot;0&quot;/&gt;&lt;m_rgb r=&quot;19&quot; g=&quot;79&quot; b=&quot;74&quot;/&gt;&lt;/elem&gt;&lt;elem m_fUsage=&quot;1.91654100000000005011E+00&quot;&gt;&lt;m_msothmcolidx val=&quot;0&quot;/&gt;&lt;m_rgb r=&quot;00&quot; g=&quot;7D&quot; b=&quot;6C&quot;/&gt;&lt;/elem&gt;&lt;elem m_fUsage=&quot;1.02095721000000017042E+00&quot;&gt;&lt;m_msothmcolidx val=&quot;0&quot;/&gt;&lt;m_rgb r=&quot;1C&quot; g=&quot;4B&quot; b=&quot;5D&quot;/&gt;&lt;/elem&gt;&lt;elem m_fUsage=&quot;9.00000000000000022204E-01&quot;&gt;&lt;m_msothmcolidx val=&quot;0&quot;/&gt;&lt;m_rgb r=&quot;2B&quot; g=&quot;5E&quot; b=&quot;68&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i5t3RpyT.9Ii9mKp40hv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DBIimNU9VpQmlbcUojI64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fPTN8G65VsbYWvoQebG9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JZM_N2TNnUKNcUD0_rS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tyyESPl37CCcoY.rcgJD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tYEboVnuG.kRQLGlAVJPU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5P5Y2LTSx8xfAFs36QBII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lrYkuEpAfh_HaQHTgTjaK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yIsdSahdL85VPVw8m5xu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bTVKq8rwfGacojIY5B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xtqq5LHTB0QX0Gx46hr1e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Z3_n2Z35wHP3e2rEYKsB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i8bw1eP3L3XPoHKfh.MD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lPL96Be_Nq.P1VpV2XbJ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9dUNcDrXeQlhtdLde1BC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tRm23hjt91esv8MkhsbX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nNSe_cd7awy.ha26Ceoo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eH3AmmqO2vOUZ8pnZx4jA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W_ACwQE3YzaHmqQfbnbc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DbRwHds30P_1KCfF7uCJ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Ofmvfm3hAfbJW7hcC_Ad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F_gZzKcJYGB28CqFGG4Rl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6hO9F7kFKNLmbAGA5tYz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zohxG8Gmy9hlu7jf_2R4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47eqWeWYOAf_sxkf9Hq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m0ibM.jAa_Li2eGHvYdE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lVeUXv4LG23v4vwrdny5H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9ed1xmQNZ_c5SA0Ycf5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k9Tk8Qb3si5W.rWZaL4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3FgJC.QWIbaoahvTtzukX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kJQjEfv.5GkSv22Ex9bE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RgHwui3BNi6Rs.Ov7erfh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ihrm7tWFbAph29winZ3Bz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IVMFCzonG9HFXXPN9hEir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_6IKp.q_xXe8bBfA9FUz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8Czy59sSyqILSM6KjgtuN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uJMTKOWzeTBMx6lDFAnZn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1oFxDxKEa3RzWdr9IT4E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Bv3BsRl8_IslVlVF_Juoa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9J9KJK23kEt5fb9sfMVNA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j_a0hg6J.vsrs39Lzm7PN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_njs4xPr9DYHxasbG3OtB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QKV5orEp9OqY69WEEFdr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VpmDBKiaDOgoghoWj6khQ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WGgDFL1.ZO7L4HCBmeOE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jRPXUGiO5.5RWJxv1Oj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vq43u.yk.rudv36kv1Hv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X_BRRITvHQFZDM5HErdxo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_Gvj7GbLar1EScAZDQYBT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_Gvj7GbLar1EScAZDQYB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229.xml><?xml version="1.0" encoding="utf-8"?>
<p:tagLst xmlns:a="http://schemas.openxmlformats.org/drawingml/2006/main" xmlns:r="http://schemas.openxmlformats.org/officeDocument/2006/relationships" xmlns:p="http://schemas.openxmlformats.org/presentationml/2006/main">
  <p:tag name="AUXI_ICONS" val="[]"/>
  <p:tag name="AUXI_INDEX" val="11"/>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AUXI_ICONS" val="[]"/>
  <p:tag name="AUXI_INDEX" val="6"/>
  <p:tag name="NAME" val="CustomIcon"/>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lrYkuEpAfh_HaQHTgTjaK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DBIimNU9VpQmlbcUojI64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i5t3RpyT.9Ii9mKp40hvr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bTVKq8rwfGacojIY5B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oZ3_n2Z35wHP3e2rEYKsB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tyyESPl37CCcoY.rcgJD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5P5Y2LTSx8xfAFs36QBII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xtqq5LHTB0QX0Gx46hr1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YEboVnuG.kRQLGlAVJPU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yIsdSahdL85VPVw8m5xu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VfPTN8G65VsbYWvoQebG9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hm80Dbedsx.PMgyls2_i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SvWwCJK3ZNIxHFTNIFTXA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Rm23hjt91esv8MkhsbXt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9ed1xmQNZ_c5SA0Ycf5i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tkJQjEfv.5GkSv22Ex9bE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Sk9Tk8Qb3si5W.rWZaL4L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OnNSe_cd7awy.ha26Ceo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H3AmmqO2vOUZ8pnZx4jA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W_ACwQE3YzaHmqQfbnbcS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LDbRwHds30P_1KCfF7uCJ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Ofmvfm3hAfbJW7hcC_Ad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KzohxG8Gmy9hlu7jf_2R4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F_gZzKcJYGB28CqFGG4Rl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6hO9F7kFKNLmbAGA5tYz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CsQEz.1EFLcwFGJSPfMjM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uz_B98J8HDLaWRcWtZeL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RgHwui3BNi6Rs.Ov7erf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ihrm7tWFbAph29winZ3Bz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IVMFCzonG9HFXXPN9hEir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YfOkeoLXeXt_RAUGAD4G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p4h5dvaryRTa0s_YCZsQf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_njs4xPr9DYHxasbG3OtB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pmDBKiaDOgoghoWj6khQ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GgDFL1.ZO7L4HCBmeOEr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_6IKp.q_xXe8bBfA9FUzI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8Czy59sSyqILSM6KjgtuN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uJMTKOWzeTBMx6lDFAnZ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Bv3BsRl8_IslVlVF_Juoa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R1oFxDxKEa3RzWdr9IT4E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jRPXUGiO5.5RWJxv1Oj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9J9KJK23kEt5fb9sfMVNA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j_a0hg6J.vsrs39Lzm7PN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QKV5orEp9OqY69WEEFdr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vq43u.yk.rudv36kv1H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X_BRRITvHQFZDM5HErdxo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_Gvj7GbLar1EScAZDQYBT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_Gvj7GbLar1EScAZDQYBT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284.xml><?xml version="1.0" encoding="utf-8"?>
<p:tagLst xmlns:a="http://schemas.openxmlformats.org/drawingml/2006/main" xmlns:r="http://schemas.openxmlformats.org/officeDocument/2006/relationships" xmlns:p="http://schemas.openxmlformats.org/presentationml/2006/main">
  <p:tag name="AUXI_ICONS" val="[]"/>
  <p:tag name="AUXI_INDEX" val="11"/>
  <p:tag name="NAME" val="CustomIcon"/>
</p:tagLst>
</file>

<file path=ppt/tags/tag285.xml><?xml version="1.0" encoding="utf-8"?>
<p:tagLst xmlns:a="http://schemas.openxmlformats.org/drawingml/2006/main" xmlns:r="http://schemas.openxmlformats.org/officeDocument/2006/relationships" xmlns:p="http://schemas.openxmlformats.org/presentationml/2006/main">
  <p:tag name="AUXI_ICONS" val="[]"/>
  <p:tag name="AUXI_INDEX" val="6"/>
  <p:tag name="NAME" val="CustomIcon"/>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aBNMqK1L_cp6ZdyIe3GIQ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f9ZHzfP9CP8X1Obg6G_SE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1nOnvCNgiIvBzia_287a_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Zl.dnYriN0_mGoO3ahBWo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mPev.GUL_bY4SwGQP4LeG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d4wkP2Wml2TgwgTPvlt6m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MOrkvlP_RcdIMThvcz0JM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iJcrI6HOm4OQ3r7KBWw6W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ZACduRNZnIXT9G5bcdpk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MHs1y.Sx4YHbYerzGuZH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6neF1fZbh.lNAH6RZoHvC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CTD1xcucIogxO0g7U94z8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PtNsdwDto613A0HiAe.L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Rx40rrlGDgd7zKqLTrMLu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iKniEkWXLfEoo5.ga2lFu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lPqu.IXDXRHE2zPRFHBTG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9kOgqenFhFgdU1fJXK6_E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KU.41ZXrmuqHMeEEeYEc0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uJ6GdfI5haMmL9XeJI34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H5bQVuIvvLM6AdAr7sgo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jx20Lx2MItKlDeoaPcjTT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HZaL2HX3MrctXqj2jGU.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ciK4C4iCH4kooCxn4udn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uQK_KLW8esysFSdvsSr7fA"/>
</p:tagLst>
</file>

<file path=ppt/tags/tag311.xml><?xml version="1.0" encoding="utf-8"?>
<p:tagLst xmlns:a="http://schemas.openxmlformats.org/drawingml/2006/main" xmlns:r="http://schemas.openxmlformats.org/officeDocument/2006/relationships" xmlns:p="http://schemas.openxmlformats.org/presentationml/2006/main">
  <p:tag name="AUXI_ICONS" val="[]"/>
  <p:tag name="AUXI_INDEX" val="11"/>
  <p:tag name="NAME" val="CustomIcon"/>
</p:tagLst>
</file>

<file path=ppt/tags/tag312.xml><?xml version="1.0" encoding="utf-8"?>
<p:tagLst xmlns:a="http://schemas.openxmlformats.org/drawingml/2006/main" xmlns:r="http://schemas.openxmlformats.org/officeDocument/2006/relationships" xmlns:p="http://schemas.openxmlformats.org/presentationml/2006/main">
  <p:tag name="AUXI_ICONS" val="[]"/>
  <p:tag name="AUXI_INDEX" val="6"/>
  <p:tag name="NAME" val="CustomIcon"/>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AUXI_ICONS" val="[]"/>
  <p:tag name="AUXI_INDEX" val="11"/>
  <p:tag name="NAME" val="CustomIcon"/>
</p:tagLst>
</file>

<file path=ppt/tags/tag315.xml><?xml version="1.0" encoding="utf-8"?>
<p:tagLst xmlns:a="http://schemas.openxmlformats.org/drawingml/2006/main" xmlns:r="http://schemas.openxmlformats.org/officeDocument/2006/relationships" xmlns:p="http://schemas.openxmlformats.org/presentationml/2006/main">
  <p:tag name="AUXI_ICONS" val="[]"/>
  <p:tag name="AUXI_INDEX" val="6"/>
  <p:tag name="NAME" val="CustomIcon"/>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AUXI_ICONS" val="[]"/>
  <p:tag name="AUXI_INDEX" val="11"/>
  <p:tag name="NAME" val="CustomIcon"/>
</p:tagLst>
</file>

<file path=ppt/tags/tag318.xml><?xml version="1.0" encoding="utf-8"?>
<p:tagLst xmlns:a="http://schemas.openxmlformats.org/drawingml/2006/main" xmlns:r="http://schemas.openxmlformats.org/officeDocument/2006/relationships" xmlns:p="http://schemas.openxmlformats.org/presentationml/2006/main">
  <p:tag name="AUXI_ICONS" val="[]"/>
  <p:tag name="AUXI_INDEX" val="6"/>
  <p:tag name="NAME" val="CustomIcon"/>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AUXI_ICONS" val="[]"/>
  <p:tag name="AUXI_INDEX" val="11"/>
  <p:tag name="NAME" val="CustomIcon"/>
</p:tagLst>
</file>

<file path=ppt/tags/tag321.xml><?xml version="1.0" encoding="utf-8"?>
<p:tagLst xmlns:a="http://schemas.openxmlformats.org/drawingml/2006/main" xmlns:r="http://schemas.openxmlformats.org/officeDocument/2006/relationships" xmlns:p="http://schemas.openxmlformats.org/presentationml/2006/main">
  <p:tag name="AUXI_ICONS" val="[]"/>
  <p:tag name="AUXI_INDEX" val="6"/>
  <p:tag name="NAME" val="CustomIcon"/>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XGhxW4fZdG.YdijNJcPAB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OcY7qALu46tiS99wJTDe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M8K5_ugSMkLEYVArxHBpN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L7q_bjEizeuAFowBO5zvk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KUvcTDwb2KM9rPMyD6Rk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3Npg3g4JfYgXahBBYUQ2S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OMtdEIfol2tlCNcuRyTW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tHf2g.1neHyP5L.tfXigl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XZANwi8lJJLufIsKqqpZf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Xexb9UIbhqBCZCsBhgvIu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gi9C0oacMsC_uFsDGOAdZ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8TjDwT89H5vPptyqrwBV0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a7pHNamIKfQAdSIDlsJnT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tIQ5A9.dhz69Jh_7A8N9c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ZFGOHcjgXuacwxPApXtNl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3FNSvUBrksJruwPAES2ta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nIBQcGEt1Msypu3kueui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WW_BiLQGTjo6tqw1haRl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x96CvWh_ZRfKZIJqEuXxU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0hCnAF96kQyWN.qNKmnmV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cUxTML_BdxoK9Pq660Whx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_b9yDPlp2EGP019UmIxF2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cwJojY7J4gEDaulGHQP7r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iI.b.BdD5QY2cVVz.7E1n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u114kHDVaoaRKzK7grGx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Bvq43u.yk.rudv36kv1H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X_BRRITvHQFZDM5HErdxo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_Gvj7GbLar1EScAZDQYBT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_BRRITvHQFZDM5HErdxo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_Gvj7GbLar1EScAZDQYBT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munLO.VrPqRnj4HboUdk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X_BRRITvHQFZDM5HErdxo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_Gvj7GbLar1EScAZDQYBTw"/>
</p:tagLst>
</file>

<file path=ppt/tags/tag359.xml><?xml version="1.0" encoding="utf-8"?>
<p:tagLst xmlns:a="http://schemas.openxmlformats.org/drawingml/2006/main" xmlns:r="http://schemas.openxmlformats.org/officeDocument/2006/relationships" xmlns:p="http://schemas.openxmlformats.org/presentationml/2006/main">
  <p:tag name="AUXI_ICONS" val="[]"/>
  <p:tag name="AUXI_INDEX" val="11"/>
  <p:tag name="NAME" val="CustomIc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AUXI_ICONS" val="[]"/>
  <p:tag name="AUXI_INDEX" val="6"/>
  <p:tag name="NAME" val="CustomIcon"/>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AUXI_ICONS" val="[]"/>
  <p:tag name="AUXI_INDEX" val="11"/>
  <p:tag name="NAME" val="CustomIcon"/>
</p:tagLst>
</file>

<file path=ppt/tags/tag363.xml><?xml version="1.0" encoding="utf-8"?>
<p:tagLst xmlns:a="http://schemas.openxmlformats.org/drawingml/2006/main" xmlns:r="http://schemas.openxmlformats.org/officeDocument/2006/relationships" xmlns:p="http://schemas.openxmlformats.org/presentationml/2006/main">
  <p:tag name="AUXI_ICONS" val="[]"/>
  <p:tag name="AUXI_INDEX" val="6"/>
  <p:tag name="NAME" val="CustomIcon"/>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AUXI_ICONS" val="[]"/>
  <p:tag name="AUXI_INDEX" val="11"/>
  <p:tag name="NAME" val="CustomIcon"/>
</p:tagLst>
</file>

<file path=ppt/tags/tag366.xml><?xml version="1.0" encoding="utf-8"?>
<p:tagLst xmlns:a="http://schemas.openxmlformats.org/drawingml/2006/main" xmlns:r="http://schemas.openxmlformats.org/officeDocument/2006/relationships" xmlns:p="http://schemas.openxmlformats.org/presentationml/2006/main">
  <p:tag name="AUXI_ICONS" val="[]"/>
  <p:tag name="AUXI_INDEX" val="6"/>
  <p:tag name="NAME" val="CustomIcon"/>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MH English Grid 16:9 - 22552">
  <a:themeElements>
    <a:clrScheme name="Grid MoMRAH">
      <a:dk1>
        <a:srgbClr val="000000"/>
      </a:dk1>
      <a:lt1>
        <a:sysClr val="window" lastClr="FFFFFF"/>
      </a:lt1>
      <a:dk2>
        <a:srgbClr val="006C67"/>
      </a:dk2>
      <a:lt2>
        <a:srgbClr val="F2F2F2"/>
      </a:lt2>
      <a:accent1>
        <a:srgbClr val="003A37"/>
      </a:accent1>
      <a:accent2>
        <a:srgbClr val="004C48"/>
      </a:accent2>
      <a:accent3>
        <a:srgbClr val="9BC73E"/>
      </a:accent3>
      <a:accent4>
        <a:srgbClr val="009A93"/>
      </a:accent4>
      <a:accent5>
        <a:srgbClr val="535353"/>
      </a:accent5>
      <a:accent6>
        <a:srgbClr val="2DC5D9"/>
      </a:accent6>
      <a:hlink>
        <a:srgbClr val="EB641B"/>
      </a:hlink>
      <a:folHlink>
        <a:srgbClr val="FF00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6C67"/>
        </a:solidFill>
        <a:ln w="9525" cap="rnd" cmpd="sng" algn="ctr">
          <a:solidFill>
            <a:srgbClr val="006C67"/>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MoMH English Grid 16:9 - 22552">
  <a:themeElements>
    <a:clrScheme name="Grid MoMRAH">
      <a:dk1>
        <a:srgbClr val="000000"/>
      </a:dk1>
      <a:lt1>
        <a:sysClr val="window" lastClr="FFFFFF"/>
      </a:lt1>
      <a:dk2>
        <a:srgbClr val="006C67"/>
      </a:dk2>
      <a:lt2>
        <a:srgbClr val="F2F2F2"/>
      </a:lt2>
      <a:accent1>
        <a:srgbClr val="003A37"/>
      </a:accent1>
      <a:accent2>
        <a:srgbClr val="004C48"/>
      </a:accent2>
      <a:accent3>
        <a:srgbClr val="9BC73E"/>
      </a:accent3>
      <a:accent4>
        <a:srgbClr val="009A93"/>
      </a:accent4>
      <a:accent5>
        <a:srgbClr val="535353"/>
      </a:accent5>
      <a:accent6>
        <a:srgbClr val="2DC5D9"/>
      </a:accent6>
      <a:hlink>
        <a:srgbClr val="EB641B"/>
      </a:hlink>
      <a:folHlink>
        <a:srgbClr val="FF00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6C67"/>
        </a:solidFill>
        <a:ln w="9525" cap="rnd" cmpd="sng" algn="ctr">
          <a:solidFill>
            <a:srgbClr val="006C67"/>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4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Sakkal Majalla"/>
        <a:ea typeface=""/>
        <a:cs typeface=""/>
      </a:majorFont>
      <a:minorFont>
        <a:latin typeface="Sakkal Majalla"/>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sz="1600" dirty="0" err="1"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16x9 PowerPoint.potx" id="{D4DCA9A9-A671-44E4-915A-C83629F99A90}" vid="{6074E35A-D868-441C-8EFF-8DE4FA24430B}"/>
    </a:ext>
  </a:extLst>
</a:theme>
</file>

<file path=ppt/theme/theme4.xml><?xml version="1.0" encoding="utf-8"?>
<a:theme xmlns:a="http://schemas.openxmlformats.org/drawingml/2006/main" name="2_MoMH English Grid 16:9 - 22552">
  <a:themeElements>
    <a:clrScheme name="Grid MoMRAH">
      <a:dk1>
        <a:srgbClr val="000000"/>
      </a:dk1>
      <a:lt1>
        <a:sysClr val="window" lastClr="FFFFFF"/>
      </a:lt1>
      <a:dk2>
        <a:srgbClr val="006C67"/>
      </a:dk2>
      <a:lt2>
        <a:srgbClr val="F2F2F2"/>
      </a:lt2>
      <a:accent1>
        <a:srgbClr val="003A37"/>
      </a:accent1>
      <a:accent2>
        <a:srgbClr val="004C48"/>
      </a:accent2>
      <a:accent3>
        <a:srgbClr val="9BC73E"/>
      </a:accent3>
      <a:accent4>
        <a:srgbClr val="009A93"/>
      </a:accent4>
      <a:accent5>
        <a:srgbClr val="535353"/>
      </a:accent5>
      <a:accent6>
        <a:srgbClr val="2DC5D9"/>
      </a:accent6>
      <a:hlink>
        <a:srgbClr val="EB641B"/>
      </a:hlink>
      <a:folHlink>
        <a:srgbClr val="FF00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12700" cap="rnd" cmpd="sng" algn="ctr">
          <a:solidFill>
            <a:srgbClr val="006C67"/>
          </a:solidFill>
          <a:prstDash val="solid"/>
          <a:round/>
          <a:headEnd type="none" w="med" len="med"/>
          <a:tailEnd type="none" w="med" len="med"/>
        </a:ln>
        <a:effectLst>
          <a:outerShdw blurRad="50800" dist="38100" dir="8100000" algn="tr" rotWithShape="0">
            <a:prstClr val="black">
              <a:alpha val="40000"/>
            </a:prstClr>
          </a:outerShdw>
        </a:effectLst>
      </a:spPr>
      <a:bodyPr rot="0" spcFirstLastPara="0" vertOverflow="overflow" horzOverflow="overflow" vert="horz" wrap="square" lIns="91440" tIns="274320" rIns="182880" bIns="45720" numCol="1" spcCol="0" rtlCol="0" fromWordArt="0" anchor="ctr" anchorCtr="0" forceAA="0" compatLnSpc="1">
        <a:prstTxWarp prst="textNoShape">
          <a:avLst/>
        </a:prstTxWarp>
        <a:noAutofit/>
      </a:bodyPr>
      <a:lstStyle>
        <a:defPPr marL="171450" indent="-171450" algn="l">
          <a:buClr>
            <a:srgbClr val="006C67"/>
          </a:buClr>
          <a:buFont typeface="Wingdings" panose="05000000000000000000" pitchFamily="2" charset="2"/>
          <a:buChar char="§"/>
          <a:defRPr sz="1200" dirty="0">
            <a:solidFill>
              <a:srgbClr val="000000"/>
            </a:solidFill>
          </a:defRPr>
        </a:defPPr>
      </a:lst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DAF35F9-3FE6-4A34-97BA-C7E5835646F7}">
  <we:reference id="6bb0fabe-aef4-4e3d-874a-99b48edaaa91" version="1.0.0.1"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da1ec09-2f5b-4b05-884e-4b35cebaab4d" xsi:nil="true"/>
    <lcf76f155ced4ddcb4097134ff3c332f xmlns="1a936742-dcdc-4305-be47-c9a61891f09d">
      <Terms xmlns="http://schemas.microsoft.com/office/infopath/2007/PartnerControls"/>
    </lcf76f155ced4ddcb4097134ff3c332f>
    <Details xmlns="1a936742-dcdc-4305-be47-c9a61891f09d" xsi:nil="true"/>
    <_dlc_DocId xmlns="7da1ec09-2f5b-4b05-884e-4b35cebaab4d">WX55CPHRC5MK-662759329-46668</_dlc_DocId>
    <_dlc_DocIdUrl xmlns="7da1ec09-2f5b-4b05-884e-4b35cebaab4d">
      <Url>https://pwceur.sharepoint.com/sites/ae-GSD-0ABaRBUVII0OEUk9PVA/_layouts/15/DocIdRedir.aspx?ID=WX55CPHRC5MK-662759329-46668</Url>
      <Description>WX55CPHRC5MK-662759329-46668</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A4CF5F4E0A2F5468D9503876DFF2596" ma:contentTypeVersion="16" ma:contentTypeDescription="Create a new document." ma:contentTypeScope="" ma:versionID="3ba723835396b16a22292c15b940ad1b">
  <xsd:schema xmlns:xsd="http://www.w3.org/2001/XMLSchema" xmlns:xs="http://www.w3.org/2001/XMLSchema" xmlns:p="http://schemas.microsoft.com/office/2006/metadata/properties" xmlns:ns2="7da1ec09-2f5b-4b05-884e-4b35cebaab4d" xmlns:ns3="1a936742-dcdc-4305-be47-c9a61891f09d" targetNamespace="http://schemas.microsoft.com/office/2006/metadata/properties" ma:root="true" ma:fieldsID="0b0c3f2d10eabbd26cd01e976e4a7b17" ns2:_="" ns3:_="">
    <xsd:import namespace="7da1ec09-2f5b-4b05-884e-4b35cebaab4d"/>
    <xsd:import namespace="1a936742-dcdc-4305-be47-c9a61891f09d"/>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2:TaxCatchAll" minOccurs="0"/>
                <xsd:element ref="ns3:MediaServiceOCR" minOccurs="0"/>
                <xsd:element ref="ns3:MediaServiceLocation" minOccurs="0"/>
                <xsd:element ref="ns3:MediaServiceBillingMetadata" minOccurs="0"/>
                <xsd:element ref="ns3: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a1ec09-2f5b-4b05-884e-4b35cebaab4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21" nillable="true" ma:displayName="Taxonomy Catch All Column" ma:hidden="true" ma:list="{3989b43f-0991-421c-adc0-79fd3ffd7eef}" ma:internalName="TaxCatchAll" ma:showField="CatchAllData" ma:web="7da1ec09-2f5b-4b05-884e-4b35cebaab4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a936742-dcdc-4305-be47-c9a61891f09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Location" ma:index="23" nillable="true" ma:displayName="Location" ma:indexed="true" ma:internalName="MediaServiceLocation" ma:readOnly="true">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element name="Details" ma:index="25" nillable="true" ma:displayName="Details" ma:format="Dropdown" ma:internalName="Details">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F3DD52F-710C-4253-BADA-D423F8A93336}">
  <ds:schemaRefs>
    <ds:schemaRef ds:uri="1a936742-dcdc-4305-be47-c9a61891f09d"/>
    <ds:schemaRef ds:uri="7da1ec09-2f5b-4b05-884e-4b35cebaab4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5B561E3-88CD-4B11-AF78-B22F22DCB07B}">
  <ds:schemaRefs>
    <ds:schemaRef ds:uri="1a936742-dcdc-4305-be47-c9a61891f09d"/>
    <ds:schemaRef ds:uri="7da1ec09-2f5b-4b05-884e-4b35cebaab4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46919BB-79BD-46DC-B9BD-FB284AAFAA76}">
  <ds:schemaRefs>
    <ds:schemaRef ds:uri="http://schemas.microsoft.com/sharepoint/events"/>
  </ds:schemaRefs>
</ds:datastoreItem>
</file>

<file path=customXml/itemProps4.xml><?xml version="1.0" encoding="utf-8"?>
<ds:datastoreItem xmlns:ds="http://schemas.openxmlformats.org/officeDocument/2006/customXml" ds:itemID="{FA9117F6-F96F-4B70-B447-2054537870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59</TotalTime>
  <Words>2317</Words>
  <Application>Microsoft Office PowerPoint</Application>
  <PresentationFormat>Widescreen</PresentationFormat>
  <Paragraphs>521</Paragraphs>
  <Slides>9</Slides>
  <Notes>9</Notes>
  <HiddenSlides>0</HiddenSlides>
  <MMClips>0</MMClips>
  <ScaleCrop>false</ScaleCrop>
  <HeadingPairs>
    <vt:vector size="10"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21" baseType="lpstr">
      <vt:lpstr>Arial</vt:lpstr>
      <vt:lpstr>DIN Next LT Arabic</vt:lpstr>
      <vt:lpstr>Fund Light</vt:lpstr>
      <vt:lpstr>Sakkal Majalla</vt:lpstr>
      <vt:lpstr>Trebuchet MS</vt:lpstr>
      <vt:lpstr>Wingdings</vt:lpstr>
      <vt:lpstr>MoMH English Grid 16:9 - 22552</vt:lpstr>
      <vt:lpstr>1_MoMH English Grid 16:9 - 22552</vt:lpstr>
      <vt:lpstr>4_PwC</vt:lpstr>
      <vt:lpstr>2_MoMH English Grid 16:9 - 2255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Kahfeel Hussain (MiddleEast)</cp:lastModifiedBy>
  <cp:revision>12</cp:revision>
  <cp:lastPrinted>2000-01-01T00:00:00Z</cp:lastPrinted>
  <dcterms:created xsi:type="dcterms:W3CDTF">2025-05-28T09:05:13Z</dcterms:created>
  <dcterms:modified xsi:type="dcterms:W3CDTF">2026-01-07T06:5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05-28T10:04:09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9bcae4be-2d14-4ea1-bb58-ebbe285bfda4</vt:lpwstr>
  </property>
  <property fmtid="{D5CDD505-2E9C-101B-9397-08002B2CF9AE}" pid="13" name="MSIP_Label_b0d5c4f4-7a29-4385-b7a5-afbe2154ae6f_ContentBits">
    <vt:lpwstr>0</vt:lpwstr>
  </property>
  <property fmtid="{D5CDD505-2E9C-101B-9397-08002B2CF9AE}" pid="14" name="MSIP_Label_b0d5c4f4-7a29-4385-b7a5-afbe2154ae6f_Tag">
    <vt:lpwstr>10, 3, 0, 1</vt:lpwstr>
  </property>
  <property fmtid="{D5CDD505-2E9C-101B-9397-08002B2CF9AE}" pid="15" name="MediaServiceImageTags">
    <vt:lpwstr/>
  </property>
  <property fmtid="{D5CDD505-2E9C-101B-9397-08002B2CF9AE}" pid="16" name="ContentTypeId">
    <vt:lpwstr>0x0101006A4CF5F4E0A2F5468D9503876DFF2596</vt:lpwstr>
  </property>
  <property fmtid="{D5CDD505-2E9C-101B-9397-08002B2CF9AE}" pid="17" name="_dlc_DocIdItemGuid">
    <vt:lpwstr>b936707f-e424-46bc-a51b-022d5763b9c0</vt:lpwstr>
  </property>
</Properties>
</file>